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fntdata" ContentType="application/x-fontdata"/>
  <Default Extension="wdp" ContentType="image/vnd.ms-photo"/>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ags/tag3.xml" ContentType="application/vnd.openxmlformats-officedocument.presentationml.tags+xml"/>
  <Override PartName="/ppt/notesSlides/notesSlide1.xml" ContentType="application/vnd.openxmlformats-officedocument.presentationml.notesSlide+xml"/>
  <Override PartName="/ppt/tags/tag4.xml" ContentType="application/vnd.openxmlformats-officedocument.presentationml.tags+xml"/>
  <Override PartName="/ppt/notesSlides/notesSlide2.xml" ContentType="application/vnd.openxmlformats-officedocument.presentationml.notesSlide+xml"/>
  <Override PartName="/ppt/tags/tag5.xml" ContentType="application/vnd.openxmlformats-officedocument.presentationml.tags+xml"/>
  <Override PartName="/ppt/notesSlides/notesSlide3.xml" ContentType="application/vnd.openxmlformats-officedocument.presentationml.notesSlide+xml"/>
  <Override PartName="/ppt/tags/tag6.xml" ContentType="application/vnd.openxmlformats-officedocument.presentationml.tags+xml"/>
  <Override PartName="/ppt/notesSlides/notesSlide4.xml" ContentType="application/vnd.openxmlformats-officedocument.presentationml.notesSlide+xml"/>
  <Override PartName="/ppt/tags/tag7.xml" ContentType="application/vnd.openxmlformats-officedocument.presentationml.tags+xml"/>
  <Override PartName="/ppt/notesSlides/notesSlide5.xml" ContentType="application/vnd.openxmlformats-officedocument.presentationml.notesSlide+xml"/>
  <Override PartName="/ppt/tags/tag8.xml" ContentType="application/vnd.openxmlformats-officedocument.presentationml.tags+xml"/>
  <Override PartName="/ppt/notesSlides/notesSlide6.xml" ContentType="application/vnd.openxmlformats-officedocument.presentationml.notesSlide+xml"/>
  <Override PartName="/ppt/tags/tag9.xml" ContentType="application/vnd.openxmlformats-officedocument.presentationml.tags+xml"/>
  <Override PartName="/ppt/notesSlides/notesSlide7.xml" ContentType="application/vnd.openxmlformats-officedocument.presentationml.notesSlide+xml"/>
  <Override PartName="/ppt/tags/tag10.xml" ContentType="application/vnd.openxmlformats-officedocument.presentationml.tags+xml"/>
  <Override PartName="/ppt/notesSlides/notesSlide8.xml" ContentType="application/vnd.openxmlformats-officedocument.presentationml.notesSlide+xml"/>
  <Override PartName="/ppt/tags/tag11.xml" ContentType="application/vnd.openxmlformats-officedocument.presentationml.tags+xml"/>
  <Override PartName="/ppt/notesSlides/notesSlide9.xml" ContentType="application/vnd.openxmlformats-officedocument.presentationml.notesSlide+xml"/>
  <Override PartName="/ppt/tags/tag12.xml" ContentType="application/vnd.openxmlformats-officedocument.presentationml.tags+xml"/>
  <Override PartName="/ppt/notesSlides/notesSlide10.xml" ContentType="application/vnd.openxmlformats-officedocument.presentationml.notesSlide+xml"/>
  <Override PartName="/ppt/tags/tag13.xml" ContentType="application/vnd.openxmlformats-officedocument.presentationml.tags+xml"/>
  <Override PartName="/ppt/notesSlides/notesSlide1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saveSubsetFonts="1">
  <p:sldMasterIdLst>
    <p:sldMasterId id="2147483648" r:id="rId1"/>
  </p:sldMasterIdLst>
  <p:notesMasterIdLst>
    <p:notesMasterId r:id="rId13"/>
  </p:notesMasterIdLst>
  <p:sldIdLst>
    <p:sldId id="265" r:id="rId2"/>
    <p:sldId id="271" r:id="rId3"/>
    <p:sldId id="274" r:id="rId4"/>
    <p:sldId id="259" r:id="rId5"/>
    <p:sldId id="257" r:id="rId6"/>
    <p:sldId id="260" r:id="rId7"/>
    <p:sldId id="263" r:id="rId8"/>
    <p:sldId id="269" r:id="rId9"/>
    <p:sldId id="283" r:id="rId10"/>
    <p:sldId id="267" r:id="rId11"/>
    <p:sldId id="282" r:id="rId12"/>
  </p:sldIdLst>
  <p:sldSz cx="9144000" cy="5143500" type="screen16x9"/>
  <p:notesSz cx="6858000" cy="9144000"/>
  <p:embeddedFontLst>
    <p:embeddedFont>
      <p:font typeface="Calibri" panose="020F0502020204030204" pitchFamily="34" charset="0"/>
      <p:regular r:id="rId14"/>
      <p:bold r:id="rId15"/>
      <p:italic r:id="rId16"/>
      <p:boldItalic r:id="rId17"/>
    </p:embeddedFont>
    <p:embeddedFont>
      <p:font typeface="Bookman Old Style" panose="02050604050505020204" pitchFamily="18" charset="0"/>
      <p:regular r:id="rId18"/>
      <p:bold r:id="rId19"/>
      <p:italic r:id="rId20"/>
      <p:boldItalic r:id="rId21"/>
    </p:embeddedFont>
  </p:embeddedFontLst>
  <p:custDataLst>
    <p:tags r:id="rId22"/>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620">
          <p15:clr>
            <a:srgbClr val="A4A3A4"/>
          </p15:clr>
        </p15:guide>
        <p15:guide id="2" pos="288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3300"/>
    <a:srgbClr val="C00000"/>
    <a:srgbClr val="92D050"/>
    <a:srgbClr val="00B050"/>
    <a:srgbClr val="CCFFFF"/>
    <a:srgbClr val="9BBB59"/>
    <a:srgbClr val="0000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notesView">
  <p:normalViewPr vertBarState="maximized">
    <p:restoredLeft sz="12042" autoAdjust="0"/>
    <p:restoredTop sz="88571" autoAdjust="0"/>
  </p:normalViewPr>
  <p:slideViewPr>
    <p:cSldViewPr>
      <p:cViewPr varScale="1">
        <p:scale>
          <a:sx n="136" d="100"/>
          <a:sy n="136" d="100"/>
        </p:scale>
        <p:origin x="516" y="120"/>
      </p:cViewPr>
      <p:guideLst>
        <p:guide orient="horz" pos="1620"/>
        <p:guide pos="2880"/>
      </p:guideLst>
    </p:cSldViewPr>
  </p:slideViewPr>
  <p:notesTextViewPr>
    <p:cViewPr>
      <p:scale>
        <a:sx n="1" d="1"/>
        <a:sy n="1" d="1"/>
      </p:scale>
      <p:origin x="0" y="0"/>
    </p:cViewPr>
  </p:notesTextViewPr>
  <p:sorterViewPr>
    <p:cViewPr>
      <p:scale>
        <a:sx n="100" d="100"/>
        <a:sy n="100" d="100"/>
      </p:scale>
      <p:origin x="0" y="0"/>
    </p:cViewPr>
  </p:sorterViewPr>
  <p:notesViewPr>
    <p:cSldViewPr>
      <p:cViewPr varScale="1">
        <p:scale>
          <a:sx n="88" d="100"/>
          <a:sy n="88" d="100"/>
        </p:scale>
        <p:origin x="3822" y="108"/>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notesMaster" Target="notesMasters/notesMaster1.xml"/><Relationship Id="rId18" Type="http://schemas.openxmlformats.org/officeDocument/2006/relationships/font" Target="fonts/font5.fntdata"/><Relationship Id="rId26" Type="http://schemas.openxmlformats.org/officeDocument/2006/relationships/tableStyles" Target="tableStyles.xml"/><Relationship Id="rId3" Type="http://schemas.openxmlformats.org/officeDocument/2006/relationships/slide" Target="slides/slide2.xml"/><Relationship Id="rId21" Type="http://schemas.openxmlformats.org/officeDocument/2006/relationships/font" Target="fonts/font8.fntdata"/><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font" Target="fonts/font4.fntdata"/><Relationship Id="rId25" Type="http://schemas.openxmlformats.org/officeDocument/2006/relationships/theme" Target="theme/theme1.xml"/><Relationship Id="rId2" Type="http://schemas.openxmlformats.org/officeDocument/2006/relationships/slide" Target="slides/slide1.xml"/><Relationship Id="rId16" Type="http://schemas.openxmlformats.org/officeDocument/2006/relationships/font" Target="fonts/font3.fntdata"/><Relationship Id="rId20" Type="http://schemas.openxmlformats.org/officeDocument/2006/relationships/font" Target="fonts/font7.fntdata"/><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viewProps" Target="viewProps.xml"/><Relationship Id="rId5" Type="http://schemas.openxmlformats.org/officeDocument/2006/relationships/slide" Target="slides/slide4.xml"/><Relationship Id="rId15" Type="http://schemas.openxmlformats.org/officeDocument/2006/relationships/font" Target="fonts/font2.fntdata"/><Relationship Id="rId23" Type="http://schemas.openxmlformats.org/officeDocument/2006/relationships/presProps" Target="presProps.xml"/><Relationship Id="rId10" Type="http://schemas.openxmlformats.org/officeDocument/2006/relationships/slide" Target="slides/slide9.xml"/><Relationship Id="rId19" Type="http://schemas.openxmlformats.org/officeDocument/2006/relationships/font" Target="fonts/font6.fntdata"/><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font" Target="fonts/font1.fntdata"/><Relationship Id="rId22" Type="http://schemas.openxmlformats.org/officeDocument/2006/relationships/tags" Target="tags/tag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7CEB82EE-7859-43C3-BD1F-7B4F0DAB0F46}" type="datetimeFigureOut">
              <a:rPr lang="en-US" smtClean="0"/>
              <a:t>4/16/2015</a:t>
            </a:fld>
            <a:endParaRPr lang="en-US"/>
          </a:p>
        </p:txBody>
      </p:sp>
      <p:sp>
        <p:nvSpPr>
          <p:cNvPr id="4" name="Slide Image Placeholder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5ED5DB85-51F6-4F8B-9C9B-239CB5AE9C49}" type="slidenum">
              <a:rPr lang="en-US" smtClean="0"/>
              <a:t>‹#›</a:t>
            </a:fld>
            <a:endParaRPr lang="en-US"/>
          </a:p>
        </p:txBody>
      </p:sp>
    </p:spTree>
    <p:extLst>
      <p:ext uri="{BB962C8B-B14F-4D97-AF65-F5344CB8AC3E}">
        <p14:creationId xmlns:p14="http://schemas.microsoft.com/office/powerpoint/2010/main" val="181119169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u="sng" kern="1200" dirty="0" smtClean="0">
                <a:solidFill>
                  <a:schemeClr val="tx1"/>
                </a:solidFill>
                <a:effectLst/>
                <a:latin typeface="+mn-lt"/>
                <a:ea typeface="+mn-ea"/>
                <a:cs typeface="+mn-cs"/>
              </a:rPr>
              <a:t>Clean Energy Grid</a:t>
            </a:r>
            <a:endParaRPr lang="en-US" sz="1200" b="1" kern="1200" dirty="0" smtClean="0">
              <a:solidFill>
                <a:schemeClr val="tx1"/>
              </a:solidFill>
              <a:effectLst/>
              <a:latin typeface="+mn-lt"/>
              <a:ea typeface="+mn-ea"/>
              <a:cs typeface="+mn-cs"/>
            </a:endParaRPr>
          </a:p>
          <a:p>
            <a:r>
              <a:rPr lang="en-US" sz="1200" i="1" kern="1200" dirty="0" smtClean="0">
                <a:solidFill>
                  <a:schemeClr val="tx1"/>
                </a:solidFill>
                <a:effectLst/>
                <a:latin typeface="+mn-lt"/>
                <a:ea typeface="+mn-ea"/>
                <a:cs typeface="+mn-cs"/>
              </a:rPr>
              <a:t>(Presentation to the </a:t>
            </a:r>
            <a:r>
              <a:rPr lang="en-US" sz="1200" i="1" kern="1200" dirty="0" err="1" smtClean="0">
                <a:solidFill>
                  <a:schemeClr val="tx1"/>
                </a:solidFill>
                <a:effectLst/>
                <a:latin typeface="+mn-lt"/>
                <a:ea typeface="+mn-ea"/>
                <a:cs typeface="+mn-cs"/>
              </a:rPr>
              <a:t>Raab</a:t>
            </a:r>
            <a:r>
              <a:rPr lang="en-US" sz="1200" i="1" kern="1200" dirty="0" smtClean="0">
                <a:solidFill>
                  <a:schemeClr val="tx1"/>
                </a:solidFill>
                <a:effectLst/>
                <a:latin typeface="+mn-lt"/>
                <a:ea typeface="+mn-ea"/>
                <a:cs typeface="+mn-cs"/>
              </a:rPr>
              <a:t> Round Table)</a:t>
            </a:r>
            <a:endParaRPr lang="en-US" sz="1200" kern="1200" dirty="0" smtClean="0">
              <a:solidFill>
                <a:schemeClr val="tx1"/>
              </a:solidFill>
              <a:effectLst/>
              <a:latin typeface="+mn-lt"/>
              <a:ea typeface="+mn-ea"/>
              <a:cs typeface="+mn-cs"/>
            </a:endParaRPr>
          </a:p>
          <a:p>
            <a:r>
              <a:rPr lang="en-US" sz="1200" b="1" i="1" kern="1200" dirty="0" smtClean="0">
                <a:solidFill>
                  <a:schemeClr val="tx1"/>
                </a:solidFill>
                <a:effectLst/>
                <a:latin typeface="+mn-lt"/>
                <a:ea typeface="+mn-ea"/>
                <a:cs typeface="+mn-cs"/>
              </a:rPr>
              <a:t>Ed </a:t>
            </a:r>
            <a:r>
              <a:rPr lang="en-US" sz="1200" b="1" i="1" kern="1200" dirty="0" err="1" smtClean="0">
                <a:solidFill>
                  <a:schemeClr val="tx1"/>
                </a:solidFill>
                <a:effectLst/>
                <a:latin typeface="+mn-lt"/>
                <a:ea typeface="+mn-ea"/>
                <a:cs typeface="+mn-cs"/>
              </a:rPr>
              <a:t>Krapels</a:t>
            </a:r>
            <a:r>
              <a:rPr lang="en-US" sz="1200" b="1" i="1" kern="1200" dirty="0" smtClean="0">
                <a:solidFill>
                  <a:schemeClr val="tx1"/>
                </a:solidFill>
                <a:effectLst/>
                <a:latin typeface="+mn-lt"/>
                <a:ea typeface="+mn-ea"/>
                <a:cs typeface="+mn-cs"/>
              </a:rPr>
              <a:t>, </a:t>
            </a:r>
            <a:r>
              <a:rPr lang="en-US" sz="1200" b="1" i="1" kern="1200" dirty="0" err="1" smtClean="0">
                <a:solidFill>
                  <a:schemeClr val="tx1"/>
                </a:solidFill>
                <a:effectLst/>
                <a:latin typeface="+mn-lt"/>
                <a:ea typeface="+mn-ea"/>
                <a:cs typeface="+mn-cs"/>
              </a:rPr>
              <a:t>Anbaric</a:t>
            </a:r>
            <a:r>
              <a:rPr lang="en-US" sz="1200" b="1" i="1" kern="1200" dirty="0" smtClean="0">
                <a:solidFill>
                  <a:schemeClr val="tx1"/>
                </a:solidFill>
                <a:effectLst/>
                <a:latin typeface="+mn-lt"/>
                <a:ea typeface="+mn-ea"/>
                <a:cs typeface="+mn-cs"/>
              </a:rPr>
              <a:t>  April 17, 2015</a:t>
            </a:r>
            <a:endParaRPr lang="en-US" sz="1200" kern="1200" dirty="0" smtClean="0">
              <a:solidFill>
                <a:schemeClr val="tx1"/>
              </a:solidFill>
              <a:effectLst/>
              <a:latin typeface="+mn-lt"/>
              <a:ea typeface="+mn-ea"/>
              <a:cs typeface="+mn-cs"/>
            </a:endParaRPr>
          </a:p>
          <a:p>
            <a:endParaRPr lang="en-US" dirty="0"/>
          </a:p>
        </p:txBody>
      </p:sp>
      <p:sp>
        <p:nvSpPr>
          <p:cNvPr id="4" name="Slide Number Placeholder 3"/>
          <p:cNvSpPr>
            <a:spLocks noGrp="1"/>
          </p:cNvSpPr>
          <p:nvPr>
            <p:ph type="sldNum" sz="quarter" idx="10"/>
          </p:nvPr>
        </p:nvSpPr>
        <p:spPr/>
        <p:txBody>
          <a:bodyPr/>
          <a:lstStyle/>
          <a:p>
            <a:fld id="{5ED5DB85-51F6-4F8B-9C9B-239CB5AE9C49}" type="slidenum">
              <a:rPr lang="en-US" smtClean="0"/>
              <a:t>1</a:t>
            </a:fld>
            <a:endParaRPr lang="en-US"/>
          </a:p>
        </p:txBody>
      </p:sp>
    </p:spTree>
    <p:extLst>
      <p:ext uri="{BB962C8B-B14F-4D97-AF65-F5344CB8AC3E}">
        <p14:creationId xmlns:p14="http://schemas.microsoft.com/office/powerpoint/2010/main" val="207160763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381000" y="4343400"/>
            <a:ext cx="6096000" cy="4114800"/>
          </a:xfrm>
        </p:spPr>
        <p:txBody>
          <a:bodyPr/>
          <a:lstStyle/>
          <a:p>
            <a:r>
              <a:rPr lang="en-US" b="1" dirty="0"/>
              <a:t>This, then, is the key question: why build one transmission system for hydro, and another for wind?  That is why the Green Line Infrastructure Alliance to which my company belongs with National Grid will respond to the upcoming clean energy solicitations with transmission proposals that harvest the onshore wind in northern Maine and New York, and – since the wind doesn’t blow all the time – offer hydro producers a chance to fill the line when the wind isn’t blowing.</a:t>
            </a:r>
            <a:endParaRPr lang="en-US" dirty="0"/>
          </a:p>
          <a:p>
            <a:r>
              <a:rPr lang="en-US" b="1" dirty="0"/>
              <a:t> </a:t>
            </a:r>
            <a:endParaRPr lang="en-US" dirty="0"/>
          </a:p>
          <a:p>
            <a:r>
              <a:rPr lang="en-US" b="1" dirty="0"/>
              <a:t>Remember, in Massachusetts, Connecticut and Rhode Island, wind is the primary REC-eligible renewable resource, while hydro is a welcome resource. If the two work together, the states and their customers are the winners. They get a “two-</a:t>
            </a:r>
            <a:r>
              <a:rPr lang="en-US" b="1" dirty="0" err="1"/>
              <a:t>fer</a:t>
            </a:r>
            <a:r>
              <a:rPr lang="en-US" b="1" dirty="0"/>
              <a:t>:” REC-eligible wind, carbon-free hydro, both affordable. Together, wind and hydro are a formidable combination.</a:t>
            </a:r>
            <a:endParaRPr lang="en-US" dirty="0"/>
          </a:p>
          <a:p>
            <a:endParaRPr lang="en-US" b="1" dirty="0"/>
          </a:p>
          <a:p>
            <a:r>
              <a:rPr lang="en-US" b="1" dirty="0"/>
              <a:t>It stands to reason that a compromise between “all hydro imports” and “all wind” is the right selection at this time: wind-plus-hydro will be the Green Line Infrastructure Alliance’s entry into the competitive procurement process that is getting started in 2015 with the 400MW procurement that will be issued soon by the utilities of Massachusetts, Connecticut and Rhode Island.  Our Vermont Green Line is “just right” for this initial, welcome step towards a substantially cleaner energy future.  </a:t>
            </a:r>
            <a:endParaRPr lang="en-US" dirty="0"/>
          </a:p>
          <a:p>
            <a:r>
              <a:rPr lang="en-US" b="1" dirty="0"/>
              <a:t> </a:t>
            </a:r>
            <a:endParaRPr lang="en-US" dirty="0"/>
          </a:p>
          <a:p>
            <a:r>
              <a:rPr lang="en-US" b="1" dirty="0"/>
              <a:t>Our Maine Green Line will be “just right” when the much larger clean energy procurements come after the required legislation is passed here in Massachusetts. With that, the Green Line Infrastructure Alliance will offer to develop transmission projects that provide access to up to 2800MW of wind-plus-hydro.</a:t>
            </a:r>
            <a:endParaRPr lang="en-US" dirty="0"/>
          </a:p>
          <a:p>
            <a:endParaRPr lang="en-US" sz="1200" kern="1200" dirty="0" smtClean="0">
              <a:solidFill>
                <a:schemeClr val="tx1"/>
              </a:solidFill>
              <a:effectLst/>
              <a:latin typeface="+mn-lt"/>
              <a:ea typeface="+mn-ea"/>
              <a:cs typeface="+mn-cs"/>
            </a:endParaRPr>
          </a:p>
          <a:p>
            <a:endParaRPr lang="en-US" dirty="0"/>
          </a:p>
        </p:txBody>
      </p:sp>
      <p:sp>
        <p:nvSpPr>
          <p:cNvPr id="4" name="Slide Number Placeholder 3"/>
          <p:cNvSpPr>
            <a:spLocks noGrp="1"/>
          </p:cNvSpPr>
          <p:nvPr>
            <p:ph type="sldNum" sz="quarter" idx="10"/>
          </p:nvPr>
        </p:nvSpPr>
        <p:spPr/>
        <p:txBody>
          <a:bodyPr/>
          <a:lstStyle/>
          <a:p>
            <a:fld id="{5ED5DB85-51F6-4F8B-9C9B-239CB5AE9C49}" type="slidenum">
              <a:rPr lang="en-US" smtClean="0"/>
              <a:t>10</a:t>
            </a:fld>
            <a:endParaRPr lang="en-US"/>
          </a:p>
        </p:txBody>
      </p:sp>
    </p:spTree>
    <p:extLst>
      <p:ext uri="{BB962C8B-B14F-4D97-AF65-F5344CB8AC3E}">
        <p14:creationId xmlns:p14="http://schemas.microsoft.com/office/powerpoint/2010/main" val="120118399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In conclusion, the need to build out the Grid for clean energy is clear. Remember that we, the ratepayers, collectively paid for the grid to which coal, oil, nuclear, and natural gas plant conveniently connect. It’s time to extend the same courtesy to clean energy.</a:t>
            </a:r>
            <a:endParaRPr lang="en-US" dirty="0"/>
          </a:p>
          <a:p>
            <a:r>
              <a:rPr lang="en-US" b="1" dirty="0"/>
              <a:t> </a:t>
            </a:r>
            <a:endParaRPr lang="en-US" dirty="0"/>
          </a:p>
          <a:p>
            <a:r>
              <a:rPr lang="en-US" b="1" dirty="0"/>
              <a:t>I know it’s inconvenient to build infrastructure to enable clean energy to meet the next 3000MW of our electric supply needs. But if we do it right, we can build it efficiently, with one system for both wind and hydro. If we do it right, it can be economic</a:t>
            </a:r>
            <a:r>
              <a:rPr lang="en-US" b="1" dirty="0" smtClean="0"/>
              <a:t>. If we do it right, New England States and Eastern Canadian Provinces can develop infrastructure that provides economic, energy, and environmental benefits to all, at the most efficient cost. </a:t>
            </a:r>
          </a:p>
          <a:p>
            <a:endParaRPr lang="en-US" b="1" dirty="0"/>
          </a:p>
          <a:p>
            <a:r>
              <a:rPr lang="en-US" b="1" dirty="0" smtClean="0"/>
              <a:t>If </a:t>
            </a:r>
            <a:r>
              <a:rPr lang="en-US" b="1" dirty="0"/>
              <a:t>we do it right, infrastructure can be permittable and buildable and not the locus for conflict. It’s never easy, but I still get chills down my spine when I remember the words of John F. Kennedy, in reference to another challenging project, “we do this not because it’s easy. We do this because it’s hard.”</a:t>
            </a:r>
            <a:endParaRPr lang="en-US" dirty="0"/>
          </a:p>
          <a:p>
            <a:endParaRPr lang="en-US" sz="1200" kern="1200" dirty="0" smtClean="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fld id="{5ED5DB85-51F6-4F8B-9C9B-239CB5AE9C49}" type="slidenum">
              <a:rPr lang="en-US" smtClean="0"/>
              <a:t>11</a:t>
            </a:fld>
            <a:endParaRPr lang="en-US"/>
          </a:p>
        </p:txBody>
      </p:sp>
    </p:spTree>
    <p:extLst>
      <p:ext uri="{BB962C8B-B14F-4D97-AF65-F5344CB8AC3E}">
        <p14:creationId xmlns:p14="http://schemas.microsoft.com/office/powerpoint/2010/main" val="292663406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Despite the record-setting snowfall we’ve had here in the Boston area, the National Oceanic and Atmospheric Administration reported that “the year 2014 was the warmest year across global land and ocean surfaces since records began in 1880. This also marks the 38</a:t>
            </a:r>
            <a:r>
              <a:rPr lang="en-US" b="1" baseline="30000" dirty="0"/>
              <a:t>th</a:t>
            </a:r>
            <a:r>
              <a:rPr lang="en-US" b="1" dirty="0"/>
              <a:t> consecutive year that the global temperature was above average. Including 2014, 9 of the 10 warmest years in the 135-year period of record have occurred in the 21</a:t>
            </a:r>
            <a:r>
              <a:rPr lang="en-US" b="1" baseline="30000" dirty="0"/>
              <a:t>st</a:t>
            </a:r>
            <a:r>
              <a:rPr lang="en-US" b="1" dirty="0"/>
              <a:t> century.”</a:t>
            </a:r>
            <a:endParaRPr lang="en-US" dirty="0"/>
          </a:p>
          <a:p>
            <a:endParaRPr lang="en-US" dirty="0"/>
          </a:p>
        </p:txBody>
      </p:sp>
      <p:sp>
        <p:nvSpPr>
          <p:cNvPr id="4" name="Slide Number Placeholder 3"/>
          <p:cNvSpPr>
            <a:spLocks noGrp="1"/>
          </p:cNvSpPr>
          <p:nvPr>
            <p:ph type="sldNum" sz="quarter" idx="10"/>
          </p:nvPr>
        </p:nvSpPr>
        <p:spPr/>
        <p:txBody>
          <a:bodyPr/>
          <a:lstStyle/>
          <a:p>
            <a:fld id="{5ED5DB85-51F6-4F8B-9C9B-239CB5AE9C49}" type="slidenum">
              <a:rPr lang="en-US" smtClean="0"/>
              <a:t>2</a:t>
            </a:fld>
            <a:endParaRPr lang="en-US"/>
          </a:p>
        </p:txBody>
      </p:sp>
    </p:spTree>
    <p:extLst>
      <p:ext uri="{BB962C8B-B14F-4D97-AF65-F5344CB8AC3E}">
        <p14:creationId xmlns:p14="http://schemas.microsoft.com/office/powerpoint/2010/main" val="251221258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I’m pleased that we live in a region whose citizens are not, by and large, climate change deniers. Our states have committed to renewable portfolio standards that will transition the region from dirty to cleaner electric energy. </a:t>
            </a:r>
            <a:endParaRPr lang="en-US" b="1" dirty="0" smtClean="0"/>
          </a:p>
          <a:p>
            <a:endParaRPr lang="en-US" b="1" dirty="0"/>
          </a:p>
          <a:p>
            <a:r>
              <a:rPr lang="en-US" b="1" dirty="0" smtClean="0"/>
              <a:t>We all know that as a region we made commitments to promote energy efficiency, and to develop clean energy supplies, in large quantities. Using Massachusetts as an example, we’re supposed to get 15% of our electric energy from renewable sources by 2020. </a:t>
            </a:r>
          </a:p>
          <a:p>
            <a:endParaRPr lang="en-US" b="1" dirty="0"/>
          </a:p>
          <a:p>
            <a:r>
              <a:rPr lang="en-US" b="1" dirty="0" smtClean="0"/>
              <a:t>While we’ve made a lot of progress on solar energy, we need substantial amounts of wind energy too. And here is where we are falling behind. </a:t>
            </a:r>
            <a:endParaRPr lang="en-US" dirty="0"/>
          </a:p>
        </p:txBody>
      </p:sp>
      <p:sp>
        <p:nvSpPr>
          <p:cNvPr id="4" name="Slide Number Placeholder 3"/>
          <p:cNvSpPr>
            <a:spLocks noGrp="1"/>
          </p:cNvSpPr>
          <p:nvPr>
            <p:ph type="sldNum" sz="quarter" idx="10"/>
          </p:nvPr>
        </p:nvSpPr>
        <p:spPr/>
        <p:txBody>
          <a:bodyPr/>
          <a:lstStyle/>
          <a:p>
            <a:fld id="{5ED5DB85-51F6-4F8B-9C9B-239CB5AE9C49}" type="slidenum">
              <a:rPr lang="en-US" smtClean="0"/>
              <a:t>3</a:t>
            </a:fld>
            <a:endParaRPr lang="en-US"/>
          </a:p>
        </p:txBody>
      </p:sp>
    </p:spTree>
    <p:extLst>
      <p:ext uri="{BB962C8B-B14F-4D97-AF65-F5344CB8AC3E}">
        <p14:creationId xmlns:p14="http://schemas.microsoft.com/office/powerpoint/2010/main" val="89189616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While definitions of what counts as clean energy differ from state to state, we’re all in agreement that wind and solar energy are in a class by themselves– “fuels from heaven.”  </a:t>
            </a:r>
            <a:endParaRPr lang="en-US" b="1" dirty="0" smtClean="0"/>
          </a:p>
          <a:p>
            <a:endParaRPr lang="en-US" b="1" dirty="0"/>
          </a:p>
          <a:p>
            <a:r>
              <a:rPr lang="en-US" b="1" dirty="0" smtClean="0"/>
              <a:t>Heavenly </a:t>
            </a:r>
            <a:r>
              <a:rPr lang="en-US" b="1" dirty="0"/>
              <a:t>as it may be, Off-shore wind at a large scale </a:t>
            </a:r>
            <a:r>
              <a:rPr lang="en-US" b="1" dirty="0" smtClean="0"/>
              <a:t>appears </a:t>
            </a:r>
            <a:r>
              <a:rPr lang="en-US" b="1" dirty="0"/>
              <a:t>for the moment to be </a:t>
            </a:r>
            <a:r>
              <a:rPr lang="en-US" b="1" dirty="0" smtClean="0"/>
              <a:t>uneconomical. The Cape Wind project appears to have lost its contracts, and smaller scale projects indicate the cost of offshore is 2 to 3 times the cost of onshore wind. </a:t>
            </a:r>
          </a:p>
          <a:p>
            <a:endParaRPr lang="en-US" b="1" dirty="0"/>
          </a:p>
          <a:p>
            <a:r>
              <a:rPr lang="en-US" b="1" dirty="0" smtClean="0"/>
              <a:t>Meanwhile, </a:t>
            </a:r>
            <a:r>
              <a:rPr lang="en-US" b="1" dirty="0"/>
              <a:t> </a:t>
            </a:r>
            <a:r>
              <a:rPr lang="en-US" b="1" dirty="0" smtClean="0"/>
              <a:t>the cost of onshore wind is a much brighter story. The </a:t>
            </a:r>
            <a:r>
              <a:rPr lang="en-US" b="1" dirty="0"/>
              <a:t>last procurements (by Massachusetts and Connecticut utilities in 2013) showed there are affordable wind projects in Maine and New York. </a:t>
            </a:r>
            <a:endParaRPr lang="en-US" b="1" dirty="0" smtClean="0"/>
          </a:p>
          <a:p>
            <a:endParaRPr lang="en-US" b="1" dirty="0"/>
          </a:p>
          <a:p>
            <a:r>
              <a:rPr lang="en-US" b="1" dirty="0" smtClean="0"/>
              <a:t>If </a:t>
            </a:r>
            <a:r>
              <a:rPr lang="en-US" b="1" dirty="0"/>
              <a:t>we want thousands of MWs, however, there are transmission bottlenecks that are very difficult to resolve with normal AC transmission upgrades</a:t>
            </a:r>
            <a:endParaRPr lang="en-US" dirty="0"/>
          </a:p>
          <a:p>
            <a:endParaRPr lang="en-US" dirty="0"/>
          </a:p>
          <a:p>
            <a:endParaRPr lang="en-US" b="1" dirty="0"/>
          </a:p>
        </p:txBody>
      </p:sp>
      <p:sp>
        <p:nvSpPr>
          <p:cNvPr id="4" name="Slide Number Placeholder 3"/>
          <p:cNvSpPr>
            <a:spLocks noGrp="1"/>
          </p:cNvSpPr>
          <p:nvPr>
            <p:ph type="sldNum" sz="quarter" idx="10"/>
          </p:nvPr>
        </p:nvSpPr>
        <p:spPr/>
        <p:txBody>
          <a:bodyPr/>
          <a:lstStyle/>
          <a:p>
            <a:fld id="{5ED5DB85-51F6-4F8B-9C9B-239CB5AE9C49}" type="slidenum">
              <a:rPr lang="en-US" smtClean="0"/>
              <a:t>4</a:t>
            </a:fld>
            <a:endParaRPr lang="en-US"/>
          </a:p>
        </p:txBody>
      </p:sp>
    </p:spTree>
    <p:extLst>
      <p:ext uri="{BB962C8B-B14F-4D97-AF65-F5344CB8AC3E}">
        <p14:creationId xmlns:p14="http://schemas.microsoft.com/office/powerpoint/2010/main" val="137311427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381000" y="4343400"/>
            <a:ext cx="6096000" cy="4114800"/>
          </a:xfrm>
        </p:spPr>
        <p:txBody>
          <a:bodyPr/>
          <a:lstStyle/>
          <a:p>
            <a:r>
              <a:rPr lang="en-US" b="1" dirty="0" smtClean="0"/>
              <a:t>The hydro story is a bit more complex. Some New England states put hydro in the same renewables category as wind and solar, others </a:t>
            </a:r>
            <a:r>
              <a:rPr lang="en-US" b="1" dirty="0"/>
              <a:t>do not, reflecting a conundrum in which we have been stuck for </a:t>
            </a:r>
            <a:r>
              <a:rPr lang="en-US" b="1" dirty="0" smtClean="0"/>
              <a:t>many </a:t>
            </a:r>
            <a:r>
              <a:rPr lang="en-US" b="1" dirty="0"/>
              <a:t>years</a:t>
            </a:r>
            <a:r>
              <a:rPr lang="en-US" b="1" dirty="0" smtClean="0"/>
              <a:t>.</a:t>
            </a:r>
          </a:p>
          <a:p>
            <a:endParaRPr lang="en-US" b="1" dirty="0"/>
          </a:p>
          <a:p>
            <a:r>
              <a:rPr lang="en-US" b="1" dirty="0"/>
              <a:t>Nevertheless, M. Vandal has confirmed once again that HQ has hydro power. There’s a number of MWs available for which the capital has been sunk, and there’s more where new capital would have to be deployed.  Similarly, the development of both Muskrat Falls and Gull Island in Labrador is – like the development of Churchill Falls by HQ 50 years ago – not child’s play. It’s a major undertaking and we are fortunate that NALCOR and its partner </a:t>
            </a:r>
            <a:r>
              <a:rPr lang="en-US" b="1" dirty="0" err="1"/>
              <a:t>Emera</a:t>
            </a:r>
            <a:r>
              <a:rPr lang="en-US" b="1" dirty="0"/>
              <a:t> have taken it on. In the long run, I’m sure New England consumers would benefit from access to that resource, too</a:t>
            </a:r>
            <a:r>
              <a:rPr lang="en-US" b="1" dirty="0" smtClean="0"/>
              <a:t>.</a:t>
            </a:r>
          </a:p>
          <a:p>
            <a:endParaRPr lang="en-US" b="1" dirty="0"/>
          </a:p>
          <a:p>
            <a:r>
              <a:rPr lang="en-US" b="1" dirty="0" smtClean="0"/>
              <a:t>It is reasonable, therefore, to believe that we can import several thousand MWs of hydro into New England, if we have the will to do so and can structure a deal that works both for us and for our Canadian neighbors.</a:t>
            </a:r>
          </a:p>
          <a:p>
            <a:endParaRPr lang="en-US" b="1" dirty="0"/>
          </a:p>
          <a:p>
            <a:r>
              <a:rPr lang="en-US" b="1" dirty="0" smtClean="0"/>
              <a:t>In this setting here at the Raab Round Table today, I would say to both Quebec and to Newfoundland/Labrador: we want your hydro, we’ll structure a fair deal, let’s work together to optimize the value of both our wind and your hydro.  </a:t>
            </a:r>
            <a:endParaRPr lang="en-US" dirty="0"/>
          </a:p>
          <a:p>
            <a:endParaRPr lang="en-US" b="1" dirty="0"/>
          </a:p>
        </p:txBody>
      </p:sp>
      <p:sp>
        <p:nvSpPr>
          <p:cNvPr id="4" name="Slide Number Placeholder 3"/>
          <p:cNvSpPr>
            <a:spLocks noGrp="1"/>
          </p:cNvSpPr>
          <p:nvPr>
            <p:ph type="sldNum" sz="quarter" idx="10"/>
          </p:nvPr>
        </p:nvSpPr>
        <p:spPr/>
        <p:txBody>
          <a:bodyPr/>
          <a:lstStyle/>
          <a:p>
            <a:fld id="{5ED5DB85-51F6-4F8B-9C9B-239CB5AE9C49}" type="slidenum">
              <a:rPr lang="en-US" smtClean="0"/>
              <a:t>5</a:t>
            </a:fld>
            <a:endParaRPr lang="en-US"/>
          </a:p>
        </p:txBody>
      </p:sp>
    </p:spTree>
    <p:extLst>
      <p:ext uri="{BB962C8B-B14F-4D97-AF65-F5344CB8AC3E}">
        <p14:creationId xmlns:p14="http://schemas.microsoft.com/office/powerpoint/2010/main" val="330378198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381000" y="4343400"/>
            <a:ext cx="6096000" cy="4114800"/>
          </a:xfrm>
        </p:spPr>
        <p:txBody>
          <a:bodyPr/>
          <a:lstStyle/>
          <a:p>
            <a:r>
              <a:rPr lang="en-US" b="1" dirty="0"/>
              <a:t>Meanwhile, existing environmental regulations and market forces are shutting down oil, coal, and nuclear plants, and we have become more and more dependent on natural gas. So, we’re faced with the urgent question of how to increase the supply of clean energy, and in so doing, contain the region’s ever-growing dependence on natural gas. It’s not unreasonable to say that in order to meet our RPS obligations, and our desire to reduce the carbon footprint of the electric sector, we need to talk in terms of big numbers – 3,000MW or more.</a:t>
            </a:r>
          </a:p>
          <a:p>
            <a:endParaRPr lang="en-US" b="1" dirty="0"/>
          </a:p>
          <a:p>
            <a:r>
              <a:rPr lang="en-US" b="1" dirty="0"/>
              <a:t>As environmental concerns close down coal and oil plants, we’re quickly becoming more dependent on natural gas. From a carbon perspective, gas is an improvement over oil and coal, but there is a consensus among those who run and regulate the power system that we must diversify New England’s sources of power supply. Just as a family should not rely on </a:t>
            </a:r>
            <a:r>
              <a:rPr lang="en-US" b="1" i="1" dirty="0"/>
              <a:t>one </a:t>
            </a:r>
            <a:r>
              <a:rPr lang="en-US" b="1" dirty="0"/>
              <a:t>stock in its retirement portfolio, New England should not depend on just </a:t>
            </a:r>
            <a:r>
              <a:rPr lang="en-US" b="1" i="1" dirty="0"/>
              <a:t>one</a:t>
            </a:r>
            <a:r>
              <a:rPr lang="en-US" b="1" dirty="0"/>
              <a:t> energy resource.</a:t>
            </a:r>
            <a:endParaRPr lang="en-US" dirty="0"/>
          </a:p>
          <a:p>
            <a:r>
              <a:rPr lang="en-US" b="1" dirty="0"/>
              <a:t> </a:t>
            </a:r>
            <a:endParaRPr lang="en-US" dirty="0"/>
          </a:p>
          <a:p>
            <a:r>
              <a:rPr lang="en-US" b="1" dirty="0"/>
              <a:t>In facing this challenge, we have to tackle something even </a:t>
            </a:r>
            <a:r>
              <a:rPr lang="en-US" b="1" i="1" dirty="0"/>
              <a:t>more</a:t>
            </a:r>
            <a:r>
              <a:rPr lang="en-US" b="1" dirty="0"/>
              <a:t> esoteric than electricity itself, and that’s its </a:t>
            </a:r>
            <a:r>
              <a:rPr lang="en-US" b="1" u="sng" dirty="0"/>
              <a:t>infrastructure</a:t>
            </a:r>
            <a:r>
              <a:rPr lang="en-US" b="1" dirty="0"/>
              <a:t>.   And that, of course, includes transmission. Large-scale wind and hydro resources are available to New Englanders, but they’re a good distance away from our large urban and suburban areas.</a:t>
            </a:r>
            <a:endParaRPr lang="en-US" dirty="0"/>
          </a:p>
          <a:p>
            <a:r>
              <a:rPr lang="en-US" b="1" dirty="0"/>
              <a:t> </a:t>
            </a:r>
            <a:endParaRPr lang="en-US" dirty="0"/>
          </a:p>
          <a:p>
            <a:r>
              <a:rPr lang="en-US" b="1" dirty="0"/>
              <a:t>It’s clear to me that, in the past, we built a grid for dirty power. But we’ve learned so much in recent decades, and  now we must build a grid for clean energy.</a:t>
            </a:r>
            <a:endParaRPr lang="en-US" dirty="0"/>
          </a:p>
          <a:p>
            <a:endParaRPr lang="en-US" dirty="0"/>
          </a:p>
        </p:txBody>
      </p:sp>
      <p:sp>
        <p:nvSpPr>
          <p:cNvPr id="4" name="Slide Number Placeholder 3"/>
          <p:cNvSpPr>
            <a:spLocks noGrp="1"/>
          </p:cNvSpPr>
          <p:nvPr>
            <p:ph type="sldNum" sz="quarter" idx="10"/>
          </p:nvPr>
        </p:nvSpPr>
        <p:spPr/>
        <p:txBody>
          <a:bodyPr/>
          <a:lstStyle/>
          <a:p>
            <a:fld id="{5ED5DB85-51F6-4F8B-9C9B-239CB5AE9C49}" type="slidenum">
              <a:rPr lang="en-US" smtClean="0"/>
              <a:t>6</a:t>
            </a:fld>
            <a:endParaRPr lang="en-US"/>
          </a:p>
        </p:txBody>
      </p:sp>
    </p:spTree>
    <p:extLst>
      <p:ext uri="{BB962C8B-B14F-4D97-AF65-F5344CB8AC3E}">
        <p14:creationId xmlns:p14="http://schemas.microsoft.com/office/powerpoint/2010/main" val="256567070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381000" y="4343400"/>
            <a:ext cx="6096000" cy="4114800"/>
          </a:xfrm>
        </p:spPr>
        <p:txBody>
          <a:bodyPr/>
          <a:lstStyle/>
          <a:p>
            <a:pPr>
              <a:defRPr/>
            </a:pPr>
            <a:r>
              <a:rPr lang="en-US" b="1" dirty="0"/>
              <a:t>It’s time, I believe, to take action to meet these commitment to clean energy. It’s time to THINK BIG… and, in the next ten minutes, I’d like to propose a GRAND BARGAIN that allows us to transcend old arguments about wind versus hydro and talk instead of an historic coordination of wind </a:t>
            </a:r>
            <a:r>
              <a:rPr lang="en-US" b="1" u="sng" dirty="0"/>
              <a:t>plus hydro.</a:t>
            </a:r>
            <a:r>
              <a:rPr lang="en-US" b="1" dirty="0"/>
              <a:t> </a:t>
            </a:r>
          </a:p>
          <a:p>
            <a:endParaRPr lang="en-US" dirty="0"/>
          </a:p>
        </p:txBody>
      </p:sp>
      <p:sp>
        <p:nvSpPr>
          <p:cNvPr id="4" name="Slide Number Placeholder 3"/>
          <p:cNvSpPr>
            <a:spLocks noGrp="1"/>
          </p:cNvSpPr>
          <p:nvPr>
            <p:ph type="sldNum" sz="quarter" idx="10"/>
          </p:nvPr>
        </p:nvSpPr>
        <p:spPr/>
        <p:txBody>
          <a:bodyPr/>
          <a:lstStyle/>
          <a:p>
            <a:fld id="{5ED5DB85-51F6-4F8B-9C9B-239CB5AE9C49}" type="slidenum">
              <a:rPr lang="en-US" smtClean="0"/>
              <a:t>7</a:t>
            </a:fld>
            <a:endParaRPr lang="en-US"/>
          </a:p>
        </p:txBody>
      </p:sp>
    </p:spTree>
    <p:extLst>
      <p:ext uri="{BB962C8B-B14F-4D97-AF65-F5344CB8AC3E}">
        <p14:creationId xmlns:p14="http://schemas.microsoft.com/office/powerpoint/2010/main" val="387205665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381000" y="4343400"/>
            <a:ext cx="6096000" cy="4114800"/>
          </a:xfrm>
        </p:spPr>
        <p:txBody>
          <a:bodyPr/>
          <a:lstStyle/>
          <a:p>
            <a:r>
              <a:rPr lang="en-US" b="1" dirty="0"/>
              <a:t>Given that energy projects appear to be stuck in permitting hell, what can actually get built? The landscape is littered with failed energy and infrastructure projects. So which infrastructure projects or strategies should we select to take on these questions as efficiently as possible? </a:t>
            </a:r>
          </a:p>
          <a:p>
            <a:endParaRPr lang="en-US" b="1" dirty="0"/>
          </a:p>
          <a:p>
            <a:r>
              <a:rPr lang="en-US" b="1" dirty="0"/>
              <a:t>Let’s review the landscape. In New England, four strategies have been proposed to bring substantial new clean energy into the New England grid: </a:t>
            </a:r>
            <a:endParaRPr lang="en-US" dirty="0"/>
          </a:p>
          <a:p>
            <a:r>
              <a:rPr lang="en-US" b="1" dirty="0"/>
              <a:t> </a:t>
            </a:r>
            <a:endParaRPr lang="en-US" dirty="0"/>
          </a:p>
          <a:p>
            <a:r>
              <a:rPr lang="en-US" b="1" dirty="0"/>
              <a:t>(1) Develop offshore wind.</a:t>
            </a:r>
          </a:p>
          <a:p>
            <a:r>
              <a:rPr lang="en-US" b="1" dirty="0"/>
              <a:t>(2) Rely on Canadian large-scale hydro; </a:t>
            </a:r>
            <a:endParaRPr lang="en-US" dirty="0"/>
          </a:p>
          <a:p>
            <a:r>
              <a:rPr lang="en-US" b="1" dirty="0"/>
              <a:t>(3) Develop onshore wind; </a:t>
            </a:r>
            <a:endParaRPr lang="en-US" dirty="0"/>
          </a:p>
          <a:p>
            <a:r>
              <a:rPr lang="en-US" b="1" dirty="0"/>
              <a:t> (4) Combine onshore wind and hydro </a:t>
            </a:r>
            <a:r>
              <a:rPr lang="en-US" b="1" i="1" dirty="0"/>
              <a:t>together; </a:t>
            </a:r>
            <a:r>
              <a:rPr lang="en-US" b="1" dirty="0"/>
              <a:t> </a:t>
            </a:r>
            <a:endParaRPr lang="en-US" dirty="0"/>
          </a:p>
          <a:p>
            <a:endParaRPr lang="en-US" b="1" dirty="0"/>
          </a:p>
          <a:p>
            <a:r>
              <a:rPr lang="en-US" b="1" dirty="0" smtClean="0"/>
              <a:t>Offshore wind for the moment appears to be a more distant, albeit very promising, prospect.</a:t>
            </a:r>
          </a:p>
          <a:p>
            <a:endParaRPr lang="en-US" b="1" dirty="0"/>
          </a:p>
          <a:p>
            <a:r>
              <a:rPr lang="en-US" b="1" dirty="0"/>
              <a:t>Canadian Hydro can be imported via the Northern Pass or the New England Clean Power Link</a:t>
            </a:r>
            <a:r>
              <a:rPr lang="en-US" b="1" dirty="0" smtClean="0"/>
              <a:t>.</a:t>
            </a:r>
          </a:p>
          <a:p>
            <a:endParaRPr lang="en-US" b="1" dirty="0"/>
          </a:p>
          <a:p>
            <a:r>
              <a:rPr lang="en-US" b="1" dirty="0" smtClean="0"/>
              <a:t>Onshore wind is available in large quantities and </a:t>
            </a:r>
            <a:r>
              <a:rPr lang="en-US" b="1" dirty="0" smtClean="0"/>
              <a:t>at affordable prices in places to which we have to build major new transmission facilities. </a:t>
            </a:r>
            <a:endParaRPr lang="en-US" dirty="0"/>
          </a:p>
        </p:txBody>
      </p:sp>
      <p:sp>
        <p:nvSpPr>
          <p:cNvPr id="4" name="Slide Number Placeholder 3"/>
          <p:cNvSpPr>
            <a:spLocks noGrp="1"/>
          </p:cNvSpPr>
          <p:nvPr>
            <p:ph type="sldNum" sz="quarter" idx="10"/>
          </p:nvPr>
        </p:nvSpPr>
        <p:spPr/>
        <p:txBody>
          <a:bodyPr/>
          <a:lstStyle/>
          <a:p>
            <a:fld id="{5ED5DB85-51F6-4F8B-9C9B-239CB5AE9C49}" type="slidenum">
              <a:rPr lang="en-US" smtClean="0"/>
              <a:t>8</a:t>
            </a:fld>
            <a:endParaRPr lang="en-US"/>
          </a:p>
        </p:txBody>
      </p:sp>
    </p:spTree>
    <p:extLst>
      <p:ext uri="{BB962C8B-B14F-4D97-AF65-F5344CB8AC3E}">
        <p14:creationId xmlns:p14="http://schemas.microsoft.com/office/powerpoint/2010/main" val="184908789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381000" y="4343400"/>
            <a:ext cx="6096000" cy="4114800"/>
          </a:xfrm>
        </p:spPr>
        <p:txBody>
          <a:bodyPr/>
          <a:lstStyle/>
          <a:p>
            <a:r>
              <a:rPr lang="en-US" b="1" dirty="0"/>
              <a:t>Finally, my company and others are proposing projects that combine onshore wind and hydro together into a strategy that could bring up to 3000MW of clean energy into the region.</a:t>
            </a:r>
          </a:p>
          <a:p>
            <a:endParaRPr lang="en-US" b="1" dirty="0"/>
          </a:p>
          <a:p>
            <a:r>
              <a:rPr lang="en-US" b="1" dirty="0" smtClean="0"/>
              <a:t>Onshore </a:t>
            </a:r>
            <a:r>
              <a:rPr lang="en-US" b="1" dirty="0"/>
              <a:t>wind costs have declined dramatically over the last decade. In New England, recent awards in competitive RFPs for large scale wind were given to projects at $70-$80 per MWh. Future RFPs for even larger wind procurements may result in prices even lower than that. But, new large-scale wind from northern Maine or upstate New York must be brought to market with new transmission lines, and their cost must be factored into the equation. Moreover, wind in Maine and New York blows best in the winter and worst in the summer, which interestingly is the mirror image of the situation with Canadian </a:t>
            </a:r>
            <a:r>
              <a:rPr lang="en-US" b="1" dirty="0" smtClean="0"/>
              <a:t>hydro, where high winter demand puts pressure on supply! </a:t>
            </a:r>
            <a:endParaRPr lang="en-US" dirty="0"/>
          </a:p>
          <a:p>
            <a:r>
              <a:rPr lang="en-US" b="1" dirty="0"/>
              <a:t> </a:t>
            </a:r>
            <a:endParaRPr lang="en-US" dirty="0"/>
          </a:p>
          <a:p>
            <a:r>
              <a:rPr lang="en-US" b="1" dirty="0"/>
              <a:t>Based on this review, you won’t be surprised to hear that I </a:t>
            </a:r>
            <a:r>
              <a:rPr lang="en-US" b="1" dirty="0" smtClean="0"/>
              <a:t>have been </a:t>
            </a:r>
            <a:r>
              <a:rPr lang="en-US" b="1" dirty="0"/>
              <a:t>an advocate of developing wind and hydro together. My friends in the utility business point out that in Massachusetts, hydro doesn’t qualify for Renewable Energy Credits.  As a result, if an all-hydro transmission line were selected and financed by the ratepayers, </a:t>
            </a:r>
            <a:r>
              <a:rPr lang="en-US" b="1" u="sng" dirty="0"/>
              <a:t>a separate large-scale wind transmission line would still have to be built</a:t>
            </a:r>
            <a:r>
              <a:rPr lang="en-US" b="1" dirty="0"/>
              <a:t>.  That seems grossly inefficient. Moreover, as you may have noticed, it’s not easy to permit large transmission projects, so why do twice as much of it if you don’t have to?     </a:t>
            </a:r>
          </a:p>
        </p:txBody>
      </p:sp>
      <p:sp>
        <p:nvSpPr>
          <p:cNvPr id="4" name="Slide Number Placeholder 3"/>
          <p:cNvSpPr>
            <a:spLocks noGrp="1"/>
          </p:cNvSpPr>
          <p:nvPr>
            <p:ph type="sldNum" sz="quarter" idx="10"/>
          </p:nvPr>
        </p:nvSpPr>
        <p:spPr/>
        <p:txBody>
          <a:bodyPr/>
          <a:lstStyle/>
          <a:p>
            <a:fld id="{5ED5DB85-51F6-4F8B-9C9B-239CB5AE9C49}" type="slidenum">
              <a:rPr lang="en-US" smtClean="0"/>
              <a:t>9</a:t>
            </a:fld>
            <a:endParaRPr lang="en-US"/>
          </a:p>
        </p:txBody>
      </p:sp>
    </p:spTree>
    <p:extLst>
      <p:ext uri="{BB962C8B-B14F-4D97-AF65-F5344CB8AC3E}">
        <p14:creationId xmlns:p14="http://schemas.microsoft.com/office/powerpoint/2010/main" val="68553753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1597819"/>
            <a:ext cx="7772400" cy="1102519"/>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2914650"/>
            <a:ext cx="6400800" cy="131445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sp>
        <p:nvSpPr>
          <p:cNvPr id="4" name="Date Placeholder 3"/>
          <p:cNvSpPr>
            <a:spLocks noGrp="1"/>
          </p:cNvSpPr>
          <p:nvPr>
            <p:ph type="dt" sz="half" idx="10"/>
          </p:nvPr>
        </p:nvSpPr>
        <p:spPr/>
        <p:txBody>
          <a:bodyPr/>
          <a:lstStyle/>
          <a:p>
            <a:fld id="{9755598A-3BAC-4446-A6F4-A5830ABD4FE3}" type="datetimeFigureOut">
              <a:rPr lang="en-US" smtClean="0"/>
              <a:t>4/16/2015</a:t>
            </a:fld>
            <a:endParaRPr lang="en-US" dirty="0"/>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504F7E95-2AEA-4C90-8528-C659D04F1447}" type="slidenum">
              <a:rPr lang="en-US" smtClean="0"/>
              <a:t>‹#›</a:t>
            </a:fld>
            <a:endParaRPr lang="en-US"/>
          </a:p>
        </p:txBody>
      </p:sp>
    </p:spTree>
    <p:extLst>
      <p:ext uri="{BB962C8B-B14F-4D97-AF65-F5344CB8AC3E}">
        <p14:creationId xmlns:p14="http://schemas.microsoft.com/office/powerpoint/2010/main" val="4102839601"/>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228600" y="0"/>
            <a:ext cx="8686800" cy="857250"/>
          </a:xfrm>
        </p:spPr>
        <p:txBody>
          <a:bodyPr/>
          <a:lstStyle>
            <a:lvl1pPr>
              <a:defRPr sz="3200"/>
            </a:lvl1pPr>
          </a:lstStyle>
          <a:p>
            <a:r>
              <a:rPr lang="en-US" dirty="0" smtClean="0"/>
              <a:t>Click to edit Master title style</a:t>
            </a:r>
            <a:endParaRPr lang="en-US" dirty="0"/>
          </a:p>
        </p:txBody>
      </p:sp>
      <p:sp>
        <p:nvSpPr>
          <p:cNvPr id="3" name="Date Placeholder 2"/>
          <p:cNvSpPr>
            <a:spLocks noGrp="1"/>
          </p:cNvSpPr>
          <p:nvPr>
            <p:ph type="dt" sz="half" idx="10"/>
          </p:nvPr>
        </p:nvSpPr>
        <p:spPr/>
        <p:txBody>
          <a:bodyPr/>
          <a:lstStyle/>
          <a:p>
            <a:fld id="{9755598A-3BAC-4446-A6F4-A5830ABD4FE3}" type="datetimeFigureOut">
              <a:rPr lang="en-US" smtClean="0"/>
              <a:t>4/16/2015</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504F7E95-2AEA-4C90-8528-C659D04F1447}" type="slidenum">
              <a:rPr lang="en-US" smtClean="0"/>
              <a:t>‹#›</a:t>
            </a:fld>
            <a:endParaRPr lang="en-US"/>
          </a:p>
        </p:txBody>
      </p:sp>
    </p:spTree>
    <p:extLst>
      <p:ext uri="{BB962C8B-B14F-4D97-AF65-F5344CB8AC3E}">
        <p14:creationId xmlns:p14="http://schemas.microsoft.com/office/powerpoint/2010/main" val="2126947721"/>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3" Type="http://schemas.openxmlformats.org/officeDocument/2006/relationships/theme" Target="../theme/theme1.xml"/><Relationship Id="rId7" Type="http://schemas.openxmlformats.org/officeDocument/2006/relationships/image" Target="../media/image1.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oleObject" Target="../embeddings/oleObject1.bin"/><Relationship Id="rId5" Type="http://schemas.openxmlformats.org/officeDocument/2006/relationships/tags" Target="../tags/tag2.xml"/><Relationship Id="rId4" Type="http://schemas.openxmlformats.org/officeDocument/2006/relationships/vmlDrawing" Target="../drawings/vmlDrawing1.v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rgbClr val="00B0F0"/>
        </a:solidFill>
        <a:effectLst/>
      </p:bgPr>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5"/>
            </p:custDataLst>
            <p:extLst>
              <p:ext uri="{D42A27DB-BD31-4B8C-83A1-F6EECF244321}">
                <p14:modId xmlns:p14="http://schemas.microsoft.com/office/powerpoint/2010/main" val="71384280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98"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228600" y="-19050"/>
            <a:ext cx="8686800" cy="857250"/>
          </a:xfrm>
          <a:prstGeom prst="rect">
            <a:avLst/>
          </a:prstGeom>
        </p:spPr>
        <p:txBody>
          <a:bodyPr vert="horz" lIns="91440" tIns="45720" rIns="91440" bIns="45720" rtlCol="0" anchor="ctr">
            <a:no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457200" y="1200151"/>
            <a:ext cx="8229600" cy="3394472"/>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2"/>
          </p:nvPr>
        </p:nvSpPr>
        <p:spPr>
          <a:xfrm>
            <a:off x="457200" y="4767263"/>
            <a:ext cx="2133600" cy="273844"/>
          </a:xfrm>
          <a:prstGeom prst="rect">
            <a:avLst/>
          </a:prstGeom>
        </p:spPr>
        <p:txBody>
          <a:bodyPr vert="horz" lIns="91440" tIns="45720" rIns="91440" bIns="45720" rtlCol="0" anchor="ctr"/>
          <a:lstStyle>
            <a:lvl1pPr algn="l">
              <a:defRPr sz="1200">
                <a:solidFill>
                  <a:schemeClr val="tx1">
                    <a:tint val="75000"/>
                  </a:schemeClr>
                </a:solidFill>
              </a:defRPr>
            </a:lvl1pPr>
          </a:lstStyle>
          <a:p>
            <a:fld id="{9755598A-3BAC-4446-A6F4-A5830ABD4FE3}" type="datetimeFigureOut">
              <a:rPr lang="en-US" smtClean="0"/>
              <a:t>4/16/2015</a:t>
            </a:fld>
            <a:endParaRPr lang="en-US"/>
          </a:p>
        </p:txBody>
      </p:sp>
      <p:sp>
        <p:nvSpPr>
          <p:cNvPr id="5" name="Footer Placeholder 4"/>
          <p:cNvSpPr>
            <a:spLocks noGrp="1"/>
          </p:cNvSpPr>
          <p:nvPr>
            <p:ph type="ftr" sz="quarter" idx="3"/>
          </p:nvPr>
        </p:nvSpPr>
        <p:spPr>
          <a:xfrm>
            <a:off x="3124200" y="4767263"/>
            <a:ext cx="2895600" cy="273844"/>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6553200" y="4767263"/>
            <a:ext cx="2133600" cy="273844"/>
          </a:xfrm>
          <a:prstGeom prst="rect">
            <a:avLst/>
          </a:prstGeom>
        </p:spPr>
        <p:txBody>
          <a:bodyPr vert="horz" wrap="none" lIns="91440" tIns="45720" rIns="91440" bIns="45720" rtlCol="0" anchor="ctr"/>
          <a:lstStyle>
            <a:lvl1pPr algn="r">
              <a:defRPr sz="1200">
                <a:solidFill>
                  <a:schemeClr val="tx1">
                    <a:tint val="75000"/>
                  </a:schemeClr>
                </a:solidFill>
              </a:defRPr>
            </a:lvl1pPr>
          </a:lstStyle>
          <a:p>
            <a:fld id="{504F7E95-2AEA-4C90-8528-C659D04F1447}" type="slidenum">
              <a:rPr lang="en-US" smtClean="0"/>
              <a:t>‹#›</a:t>
            </a:fld>
            <a:endParaRPr lang="en-US"/>
          </a:p>
        </p:txBody>
      </p:sp>
    </p:spTree>
    <p:extLst>
      <p:ext uri="{BB962C8B-B14F-4D97-AF65-F5344CB8AC3E}">
        <p14:creationId xmlns:p14="http://schemas.microsoft.com/office/powerpoint/2010/main" val="1786271896"/>
      </p:ext>
    </p:extLst>
  </p:cSld>
  <p:clrMap bg1="lt1" tx1="dk1" bg2="lt2" tx2="dk2" accent1="accent1" accent2="accent2" accent3="accent3" accent4="accent4" accent5="accent5" accent6="accent6" hlink="hlink" folHlink="folHlink"/>
  <p:sldLayoutIdLst>
    <p:sldLayoutId id="2147483649" r:id="rId1"/>
    <p:sldLayoutId id="2147483654" r:id="rId2"/>
  </p:sldLayoutIdLst>
  <p:timing>
    <p:tnLst>
      <p:par>
        <p:cTn id="1" dur="indefinite" restart="never" nodeType="tmRoot"/>
      </p:par>
    </p:tnLst>
  </p:timing>
  <p:txStyles>
    <p:titleStyle>
      <a:lvl1pPr algn="l" defTabSz="914400" rtl="0" eaLnBrk="1" latinLnBrk="0" hangingPunct="1">
        <a:spcBef>
          <a:spcPct val="0"/>
        </a:spcBef>
        <a:buNone/>
        <a:defRPr sz="3600" kern="1200">
          <a:solidFill>
            <a:srgbClr val="92D050"/>
          </a:solidFill>
          <a:latin typeface="Arial" pitchFamily="34" charset="0"/>
          <a:ea typeface="+mj-ea"/>
          <a:cs typeface="Arial" pitchFamily="34" charset="0"/>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microsoft.com/office/2007/relationships/hdphoto" Target="../media/hdphoto1.wdp"/><Relationship Id="rId3" Type="http://schemas.openxmlformats.org/officeDocument/2006/relationships/slideLayout" Target="../slideLayouts/slideLayout1.xml"/><Relationship Id="rId7" Type="http://schemas.openxmlformats.org/officeDocument/2006/relationships/image" Target="../media/image2.png"/><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notesSlide" Target="../notesSlides/notesSlide1.xml"/><Relationship Id="rId9" Type="http://schemas.openxmlformats.org/officeDocument/2006/relationships/image" Target="../media/image3.jpeg"/></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2.xml"/><Relationship Id="rId1" Type="http://schemas.openxmlformats.org/officeDocument/2006/relationships/vmlDrawing" Target="../drawings/vmlDrawing11.vml"/><Relationship Id="rId6" Type="http://schemas.openxmlformats.org/officeDocument/2006/relationships/image" Target="../media/image1.emf"/><Relationship Id="rId5" Type="http://schemas.openxmlformats.org/officeDocument/2006/relationships/oleObject" Target="../embeddings/oleObject11.bin"/><Relationship Id="rId4" Type="http://schemas.openxmlformats.org/officeDocument/2006/relationships/notesSlide" Target="../notesSlides/notesSlide10.xml"/></Relationships>
</file>

<file path=ppt/slides/_rels/slide11.xml.rels><?xml version="1.0" encoding="UTF-8" standalone="yes"?>
<Relationships xmlns="http://schemas.openxmlformats.org/package/2006/relationships"><Relationship Id="rId8" Type="http://schemas.openxmlformats.org/officeDocument/2006/relationships/image" Target="../media/image11.png"/><Relationship Id="rId13" Type="http://schemas.openxmlformats.org/officeDocument/2006/relationships/image" Target="../media/image16.jpeg"/><Relationship Id="rId3" Type="http://schemas.openxmlformats.org/officeDocument/2006/relationships/slideLayout" Target="../slideLayouts/slideLayout2.xml"/><Relationship Id="rId7" Type="http://schemas.openxmlformats.org/officeDocument/2006/relationships/image" Target="../media/image10.png"/><Relationship Id="rId12" Type="http://schemas.openxmlformats.org/officeDocument/2006/relationships/image" Target="../media/image15.png"/><Relationship Id="rId2" Type="http://schemas.openxmlformats.org/officeDocument/2006/relationships/tags" Target="../tags/tag13.xml"/><Relationship Id="rId1" Type="http://schemas.openxmlformats.org/officeDocument/2006/relationships/vmlDrawing" Target="../drawings/vmlDrawing12.vml"/><Relationship Id="rId6" Type="http://schemas.openxmlformats.org/officeDocument/2006/relationships/image" Target="../media/image1.emf"/><Relationship Id="rId11" Type="http://schemas.openxmlformats.org/officeDocument/2006/relationships/image" Target="../media/image14.png"/><Relationship Id="rId5" Type="http://schemas.openxmlformats.org/officeDocument/2006/relationships/oleObject" Target="../embeddings/oleObject12.bin"/><Relationship Id="rId10" Type="http://schemas.openxmlformats.org/officeDocument/2006/relationships/image" Target="../media/image13.png"/><Relationship Id="rId4" Type="http://schemas.openxmlformats.org/officeDocument/2006/relationships/notesSlide" Target="../notesSlides/notesSlide11.xml"/><Relationship Id="rId9" Type="http://schemas.openxmlformats.org/officeDocument/2006/relationships/image" Target="../media/image12.png"/></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4.png"/><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notesSlide" Target="../notesSlides/notesSlide2.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notesSlide" Target="../notesSlides/notesSlide3.xml"/></Relationships>
</file>

<file path=ppt/slides/_rels/slide4.xml.rels><?xml version="1.0" encoding="UTF-8" standalone="yes"?>
<Relationships xmlns="http://schemas.openxmlformats.org/package/2006/relationships"><Relationship Id="rId8" Type="http://schemas.microsoft.com/office/2007/relationships/hdphoto" Target="../media/hdphoto1.wdp"/><Relationship Id="rId3" Type="http://schemas.openxmlformats.org/officeDocument/2006/relationships/slideLayout" Target="../slideLayouts/slideLayout2.xml"/><Relationship Id="rId7" Type="http://schemas.openxmlformats.org/officeDocument/2006/relationships/image" Target="../media/image2.png"/><Relationship Id="rId2" Type="http://schemas.openxmlformats.org/officeDocument/2006/relationships/tags" Target="../tags/tag6.xml"/><Relationship Id="rId1" Type="http://schemas.openxmlformats.org/officeDocument/2006/relationships/vmlDrawing" Target="../drawings/vmlDrawing5.vml"/><Relationship Id="rId6" Type="http://schemas.openxmlformats.org/officeDocument/2006/relationships/image" Target="../media/image1.emf"/><Relationship Id="rId5" Type="http://schemas.openxmlformats.org/officeDocument/2006/relationships/oleObject" Target="../embeddings/oleObject5.bin"/><Relationship Id="rId10" Type="http://schemas.microsoft.com/office/2007/relationships/hdphoto" Target="../media/hdphoto2.wdp"/><Relationship Id="rId4" Type="http://schemas.openxmlformats.org/officeDocument/2006/relationships/notesSlide" Target="../notesSlides/notesSlide4.xml"/><Relationship Id="rId9" Type="http://schemas.openxmlformats.org/officeDocument/2006/relationships/image" Target="../media/image5.png"/></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7.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notesSlide" Target="../notesSlides/notesSlide5.xml"/></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6.png"/><Relationship Id="rId2" Type="http://schemas.openxmlformats.org/officeDocument/2006/relationships/tags" Target="../tags/tag8.xml"/><Relationship Id="rId1" Type="http://schemas.openxmlformats.org/officeDocument/2006/relationships/vmlDrawing" Target="../drawings/vmlDrawing7.v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notesSlide" Target="../notesSlides/notesSlide6.xml"/></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9.xml"/><Relationship Id="rId1" Type="http://schemas.openxmlformats.org/officeDocument/2006/relationships/vmlDrawing" Target="../drawings/vmlDrawing8.vml"/><Relationship Id="rId6" Type="http://schemas.openxmlformats.org/officeDocument/2006/relationships/image" Target="../media/image1.emf"/><Relationship Id="rId5" Type="http://schemas.openxmlformats.org/officeDocument/2006/relationships/oleObject" Target="../embeddings/oleObject8.bin"/><Relationship Id="rId4" Type="http://schemas.openxmlformats.org/officeDocument/2006/relationships/notesSlide" Target="../notesSlides/notesSlide7.xml"/></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7.png"/><Relationship Id="rId2" Type="http://schemas.openxmlformats.org/officeDocument/2006/relationships/tags" Target="../tags/tag10.xml"/><Relationship Id="rId1" Type="http://schemas.openxmlformats.org/officeDocument/2006/relationships/vmlDrawing" Target="../drawings/vmlDrawing9.vml"/><Relationship Id="rId6" Type="http://schemas.openxmlformats.org/officeDocument/2006/relationships/image" Target="../media/image1.emf"/><Relationship Id="rId5" Type="http://schemas.openxmlformats.org/officeDocument/2006/relationships/oleObject" Target="../embeddings/oleObject9.bin"/><Relationship Id="rId4" Type="http://schemas.openxmlformats.org/officeDocument/2006/relationships/notesSlide" Target="../notesSlides/notesSlide8.xml"/></Relationships>
</file>

<file path=ppt/slides/_rels/slide9.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slideLayout" Target="../slideLayouts/slideLayout2.xml"/><Relationship Id="rId7" Type="http://schemas.openxmlformats.org/officeDocument/2006/relationships/image" Target="../media/image8.png"/><Relationship Id="rId2" Type="http://schemas.openxmlformats.org/officeDocument/2006/relationships/tags" Target="../tags/tag11.xml"/><Relationship Id="rId1" Type="http://schemas.openxmlformats.org/officeDocument/2006/relationships/vmlDrawing" Target="../drawings/vmlDrawing10.vml"/><Relationship Id="rId6" Type="http://schemas.openxmlformats.org/officeDocument/2006/relationships/image" Target="../media/image1.emf"/><Relationship Id="rId5" Type="http://schemas.openxmlformats.org/officeDocument/2006/relationships/oleObject" Target="../embeddings/oleObject10.bin"/><Relationship Id="rId4" Type="http://schemas.openxmlformats.org/officeDocument/2006/relationships/notesSlide" Target="../notesSlides/notesSlide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200466135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392"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8" name="Freeform 7"/>
          <p:cNvSpPr/>
          <p:nvPr/>
        </p:nvSpPr>
        <p:spPr>
          <a:xfrm>
            <a:off x="-12700" y="3505200"/>
            <a:ext cx="9169400" cy="1651000"/>
          </a:xfrm>
          <a:custGeom>
            <a:avLst/>
            <a:gdLst>
              <a:gd name="connsiteX0" fmla="*/ 12700 w 9169400"/>
              <a:gd name="connsiteY0" fmla="*/ 571500 h 1651000"/>
              <a:gd name="connsiteX1" fmla="*/ 622300 w 9169400"/>
              <a:gd name="connsiteY1" fmla="*/ 431800 h 1651000"/>
              <a:gd name="connsiteX2" fmla="*/ 1143000 w 9169400"/>
              <a:gd name="connsiteY2" fmla="*/ 279400 h 1651000"/>
              <a:gd name="connsiteX3" fmla="*/ 1701800 w 9169400"/>
              <a:gd name="connsiteY3" fmla="*/ 228600 h 1651000"/>
              <a:gd name="connsiteX4" fmla="*/ 2794000 w 9169400"/>
              <a:gd name="connsiteY4" fmla="*/ 355600 h 1651000"/>
              <a:gd name="connsiteX5" fmla="*/ 3873500 w 9169400"/>
              <a:gd name="connsiteY5" fmla="*/ 469900 h 1651000"/>
              <a:gd name="connsiteX6" fmla="*/ 5067300 w 9169400"/>
              <a:gd name="connsiteY6" fmla="*/ 622300 h 1651000"/>
              <a:gd name="connsiteX7" fmla="*/ 6261100 w 9169400"/>
              <a:gd name="connsiteY7" fmla="*/ 558800 h 1651000"/>
              <a:gd name="connsiteX8" fmla="*/ 7086600 w 9169400"/>
              <a:gd name="connsiteY8" fmla="*/ 177800 h 1651000"/>
              <a:gd name="connsiteX9" fmla="*/ 9156700 w 9169400"/>
              <a:gd name="connsiteY9" fmla="*/ 0 h 1651000"/>
              <a:gd name="connsiteX10" fmla="*/ 9169400 w 9169400"/>
              <a:gd name="connsiteY10" fmla="*/ 1651000 h 1651000"/>
              <a:gd name="connsiteX11" fmla="*/ 0 w 9169400"/>
              <a:gd name="connsiteY11" fmla="*/ 1651000 h 1651000"/>
              <a:gd name="connsiteX12" fmla="*/ 12700 w 9169400"/>
              <a:gd name="connsiteY12" fmla="*/ 571500 h 1651000"/>
              <a:gd name="connsiteX0" fmla="*/ 12700 w 9169400"/>
              <a:gd name="connsiteY0" fmla="*/ 571500 h 1651000"/>
              <a:gd name="connsiteX1" fmla="*/ 622300 w 9169400"/>
              <a:gd name="connsiteY1" fmla="*/ 431800 h 1651000"/>
              <a:gd name="connsiteX2" fmla="*/ 1143000 w 9169400"/>
              <a:gd name="connsiteY2" fmla="*/ 279400 h 1651000"/>
              <a:gd name="connsiteX3" fmla="*/ 1701800 w 9169400"/>
              <a:gd name="connsiteY3" fmla="*/ 228600 h 1651000"/>
              <a:gd name="connsiteX4" fmla="*/ 2794000 w 9169400"/>
              <a:gd name="connsiteY4" fmla="*/ 355600 h 1651000"/>
              <a:gd name="connsiteX5" fmla="*/ 3873500 w 9169400"/>
              <a:gd name="connsiteY5" fmla="*/ 469900 h 1651000"/>
              <a:gd name="connsiteX6" fmla="*/ 5067300 w 9169400"/>
              <a:gd name="connsiteY6" fmla="*/ 622300 h 1651000"/>
              <a:gd name="connsiteX7" fmla="*/ 6261100 w 9169400"/>
              <a:gd name="connsiteY7" fmla="*/ 558800 h 1651000"/>
              <a:gd name="connsiteX8" fmla="*/ 7086600 w 9169400"/>
              <a:gd name="connsiteY8" fmla="*/ 177800 h 1651000"/>
              <a:gd name="connsiteX9" fmla="*/ 9156700 w 9169400"/>
              <a:gd name="connsiteY9" fmla="*/ 0 h 1651000"/>
              <a:gd name="connsiteX10" fmla="*/ 9169400 w 9169400"/>
              <a:gd name="connsiteY10" fmla="*/ 1651000 h 1651000"/>
              <a:gd name="connsiteX11" fmla="*/ 0 w 9169400"/>
              <a:gd name="connsiteY11" fmla="*/ 1651000 h 1651000"/>
              <a:gd name="connsiteX12" fmla="*/ 12700 w 9169400"/>
              <a:gd name="connsiteY12" fmla="*/ 571500 h 1651000"/>
              <a:gd name="connsiteX0" fmla="*/ 12700 w 9169400"/>
              <a:gd name="connsiteY0" fmla="*/ 571500 h 1651000"/>
              <a:gd name="connsiteX1" fmla="*/ 622300 w 9169400"/>
              <a:gd name="connsiteY1" fmla="*/ 431800 h 1651000"/>
              <a:gd name="connsiteX2" fmla="*/ 1143000 w 9169400"/>
              <a:gd name="connsiteY2" fmla="*/ 279400 h 1651000"/>
              <a:gd name="connsiteX3" fmla="*/ 1701800 w 9169400"/>
              <a:gd name="connsiteY3" fmla="*/ 228600 h 1651000"/>
              <a:gd name="connsiteX4" fmla="*/ 2794000 w 9169400"/>
              <a:gd name="connsiteY4" fmla="*/ 355600 h 1651000"/>
              <a:gd name="connsiteX5" fmla="*/ 3873500 w 9169400"/>
              <a:gd name="connsiteY5" fmla="*/ 469900 h 1651000"/>
              <a:gd name="connsiteX6" fmla="*/ 5067300 w 9169400"/>
              <a:gd name="connsiteY6" fmla="*/ 622300 h 1651000"/>
              <a:gd name="connsiteX7" fmla="*/ 6261100 w 9169400"/>
              <a:gd name="connsiteY7" fmla="*/ 558800 h 1651000"/>
              <a:gd name="connsiteX8" fmla="*/ 7086600 w 9169400"/>
              <a:gd name="connsiteY8" fmla="*/ 177800 h 1651000"/>
              <a:gd name="connsiteX9" fmla="*/ 9156700 w 9169400"/>
              <a:gd name="connsiteY9" fmla="*/ 0 h 1651000"/>
              <a:gd name="connsiteX10" fmla="*/ 9169400 w 9169400"/>
              <a:gd name="connsiteY10" fmla="*/ 1651000 h 1651000"/>
              <a:gd name="connsiteX11" fmla="*/ 0 w 9169400"/>
              <a:gd name="connsiteY11" fmla="*/ 1651000 h 1651000"/>
              <a:gd name="connsiteX12" fmla="*/ 12700 w 9169400"/>
              <a:gd name="connsiteY12" fmla="*/ 571500 h 1651000"/>
              <a:gd name="connsiteX0" fmla="*/ 12700 w 9169400"/>
              <a:gd name="connsiteY0" fmla="*/ 571500 h 1651000"/>
              <a:gd name="connsiteX1" fmla="*/ 622300 w 9169400"/>
              <a:gd name="connsiteY1" fmla="*/ 431800 h 1651000"/>
              <a:gd name="connsiteX2" fmla="*/ 1143000 w 9169400"/>
              <a:gd name="connsiteY2" fmla="*/ 279400 h 1651000"/>
              <a:gd name="connsiteX3" fmla="*/ 1701800 w 9169400"/>
              <a:gd name="connsiteY3" fmla="*/ 228600 h 1651000"/>
              <a:gd name="connsiteX4" fmla="*/ 2794000 w 9169400"/>
              <a:gd name="connsiteY4" fmla="*/ 355600 h 1651000"/>
              <a:gd name="connsiteX5" fmla="*/ 3873500 w 9169400"/>
              <a:gd name="connsiteY5" fmla="*/ 469900 h 1651000"/>
              <a:gd name="connsiteX6" fmla="*/ 5067300 w 9169400"/>
              <a:gd name="connsiteY6" fmla="*/ 622300 h 1651000"/>
              <a:gd name="connsiteX7" fmla="*/ 6261100 w 9169400"/>
              <a:gd name="connsiteY7" fmla="*/ 558800 h 1651000"/>
              <a:gd name="connsiteX8" fmla="*/ 7086600 w 9169400"/>
              <a:gd name="connsiteY8" fmla="*/ 177800 h 1651000"/>
              <a:gd name="connsiteX9" fmla="*/ 9156700 w 9169400"/>
              <a:gd name="connsiteY9" fmla="*/ 0 h 1651000"/>
              <a:gd name="connsiteX10" fmla="*/ 9169400 w 9169400"/>
              <a:gd name="connsiteY10" fmla="*/ 1651000 h 1651000"/>
              <a:gd name="connsiteX11" fmla="*/ 0 w 9169400"/>
              <a:gd name="connsiteY11" fmla="*/ 1651000 h 1651000"/>
              <a:gd name="connsiteX12" fmla="*/ 12700 w 9169400"/>
              <a:gd name="connsiteY12" fmla="*/ 571500 h 1651000"/>
              <a:gd name="connsiteX0" fmla="*/ 12700 w 9169400"/>
              <a:gd name="connsiteY0" fmla="*/ 571500 h 1651000"/>
              <a:gd name="connsiteX1" fmla="*/ 622300 w 9169400"/>
              <a:gd name="connsiteY1" fmla="*/ 431800 h 1651000"/>
              <a:gd name="connsiteX2" fmla="*/ 1143000 w 9169400"/>
              <a:gd name="connsiteY2" fmla="*/ 279400 h 1651000"/>
              <a:gd name="connsiteX3" fmla="*/ 1701800 w 9169400"/>
              <a:gd name="connsiteY3" fmla="*/ 228600 h 1651000"/>
              <a:gd name="connsiteX4" fmla="*/ 2794000 w 9169400"/>
              <a:gd name="connsiteY4" fmla="*/ 355600 h 1651000"/>
              <a:gd name="connsiteX5" fmla="*/ 3873500 w 9169400"/>
              <a:gd name="connsiteY5" fmla="*/ 469900 h 1651000"/>
              <a:gd name="connsiteX6" fmla="*/ 5067300 w 9169400"/>
              <a:gd name="connsiteY6" fmla="*/ 622300 h 1651000"/>
              <a:gd name="connsiteX7" fmla="*/ 6261100 w 9169400"/>
              <a:gd name="connsiteY7" fmla="*/ 558800 h 1651000"/>
              <a:gd name="connsiteX8" fmla="*/ 7086600 w 9169400"/>
              <a:gd name="connsiteY8" fmla="*/ 177800 h 1651000"/>
              <a:gd name="connsiteX9" fmla="*/ 9156700 w 9169400"/>
              <a:gd name="connsiteY9" fmla="*/ 0 h 1651000"/>
              <a:gd name="connsiteX10" fmla="*/ 9169400 w 9169400"/>
              <a:gd name="connsiteY10" fmla="*/ 1651000 h 1651000"/>
              <a:gd name="connsiteX11" fmla="*/ 0 w 9169400"/>
              <a:gd name="connsiteY11" fmla="*/ 1651000 h 1651000"/>
              <a:gd name="connsiteX12" fmla="*/ 12700 w 9169400"/>
              <a:gd name="connsiteY12" fmla="*/ 571500 h 1651000"/>
              <a:gd name="connsiteX0" fmla="*/ 12700 w 9169400"/>
              <a:gd name="connsiteY0" fmla="*/ 571500 h 1651000"/>
              <a:gd name="connsiteX1" fmla="*/ 622300 w 9169400"/>
              <a:gd name="connsiteY1" fmla="*/ 431800 h 1651000"/>
              <a:gd name="connsiteX2" fmla="*/ 1143000 w 9169400"/>
              <a:gd name="connsiteY2" fmla="*/ 279400 h 1651000"/>
              <a:gd name="connsiteX3" fmla="*/ 1701800 w 9169400"/>
              <a:gd name="connsiteY3" fmla="*/ 228600 h 1651000"/>
              <a:gd name="connsiteX4" fmla="*/ 2794000 w 9169400"/>
              <a:gd name="connsiteY4" fmla="*/ 355600 h 1651000"/>
              <a:gd name="connsiteX5" fmla="*/ 3873500 w 9169400"/>
              <a:gd name="connsiteY5" fmla="*/ 469900 h 1651000"/>
              <a:gd name="connsiteX6" fmla="*/ 5067300 w 9169400"/>
              <a:gd name="connsiteY6" fmla="*/ 622300 h 1651000"/>
              <a:gd name="connsiteX7" fmla="*/ 6261100 w 9169400"/>
              <a:gd name="connsiteY7" fmla="*/ 558800 h 1651000"/>
              <a:gd name="connsiteX8" fmla="*/ 7086600 w 9169400"/>
              <a:gd name="connsiteY8" fmla="*/ 177800 h 1651000"/>
              <a:gd name="connsiteX9" fmla="*/ 9156700 w 9169400"/>
              <a:gd name="connsiteY9" fmla="*/ 0 h 1651000"/>
              <a:gd name="connsiteX10" fmla="*/ 9169400 w 9169400"/>
              <a:gd name="connsiteY10" fmla="*/ 1651000 h 1651000"/>
              <a:gd name="connsiteX11" fmla="*/ 0 w 9169400"/>
              <a:gd name="connsiteY11" fmla="*/ 1651000 h 1651000"/>
              <a:gd name="connsiteX12" fmla="*/ 12700 w 9169400"/>
              <a:gd name="connsiteY12" fmla="*/ 571500 h 1651000"/>
              <a:gd name="connsiteX0" fmla="*/ 12700 w 9169400"/>
              <a:gd name="connsiteY0" fmla="*/ 571500 h 1651000"/>
              <a:gd name="connsiteX1" fmla="*/ 622300 w 9169400"/>
              <a:gd name="connsiteY1" fmla="*/ 431800 h 1651000"/>
              <a:gd name="connsiteX2" fmla="*/ 1143000 w 9169400"/>
              <a:gd name="connsiteY2" fmla="*/ 279400 h 1651000"/>
              <a:gd name="connsiteX3" fmla="*/ 1701800 w 9169400"/>
              <a:gd name="connsiteY3" fmla="*/ 228600 h 1651000"/>
              <a:gd name="connsiteX4" fmla="*/ 2794000 w 9169400"/>
              <a:gd name="connsiteY4" fmla="*/ 355600 h 1651000"/>
              <a:gd name="connsiteX5" fmla="*/ 3873500 w 9169400"/>
              <a:gd name="connsiteY5" fmla="*/ 469900 h 1651000"/>
              <a:gd name="connsiteX6" fmla="*/ 5067300 w 9169400"/>
              <a:gd name="connsiteY6" fmla="*/ 622300 h 1651000"/>
              <a:gd name="connsiteX7" fmla="*/ 6261100 w 9169400"/>
              <a:gd name="connsiteY7" fmla="*/ 558800 h 1651000"/>
              <a:gd name="connsiteX8" fmla="*/ 7086600 w 9169400"/>
              <a:gd name="connsiteY8" fmla="*/ 177800 h 1651000"/>
              <a:gd name="connsiteX9" fmla="*/ 9156700 w 9169400"/>
              <a:gd name="connsiteY9" fmla="*/ 0 h 1651000"/>
              <a:gd name="connsiteX10" fmla="*/ 9169400 w 9169400"/>
              <a:gd name="connsiteY10" fmla="*/ 1651000 h 1651000"/>
              <a:gd name="connsiteX11" fmla="*/ 0 w 9169400"/>
              <a:gd name="connsiteY11" fmla="*/ 1651000 h 1651000"/>
              <a:gd name="connsiteX12" fmla="*/ 12700 w 9169400"/>
              <a:gd name="connsiteY12" fmla="*/ 571500 h 1651000"/>
              <a:gd name="connsiteX0" fmla="*/ 12700 w 9169400"/>
              <a:gd name="connsiteY0" fmla="*/ 571500 h 1651000"/>
              <a:gd name="connsiteX1" fmla="*/ 622300 w 9169400"/>
              <a:gd name="connsiteY1" fmla="*/ 431800 h 1651000"/>
              <a:gd name="connsiteX2" fmla="*/ 1143000 w 9169400"/>
              <a:gd name="connsiteY2" fmla="*/ 279400 h 1651000"/>
              <a:gd name="connsiteX3" fmla="*/ 1701800 w 9169400"/>
              <a:gd name="connsiteY3" fmla="*/ 228600 h 1651000"/>
              <a:gd name="connsiteX4" fmla="*/ 2794000 w 9169400"/>
              <a:gd name="connsiteY4" fmla="*/ 355600 h 1651000"/>
              <a:gd name="connsiteX5" fmla="*/ 3873500 w 9169400"/>
              <a:gd name="connsiteY5" fmla="*/ 469900 h 1651000"/>
              <a:gd name="connsiteX6" fmla="*/ 5067300 w 9169400"/>
              <a:gd name="connsiteY6" fmla="*/ 622300 h 1651000"/>
              <a:gd name="connsiteX7" fmla="*/ 6261100 w 9169400"/>
              <a:gd name="connsiteY7" fmla="*/ 558800 h 1651000"/>
              <a:gd name="connsiteX8" fmla="*/ 7086600 w 9169400"/>
              <a:gd name="connsiteY8" fmla="*/ 177800 h 1651000"/>
              <a:gd name="connsiteX9" fmla="*/ 9156700 w 9169400"/>
              <a:gd name="connsiteY9" fmla="*/ 0 h 1651000"/>
              <a:gd name="connsiteX10" fmla="*/ 9169400 w 9169400"/>
              <a:gd name="connsiteY10" fmla="*/ 1651000 h 1651000"/>
              <a:gd name="connsiteX11" fmla="*/ 0 w 9169400"/>
              <a:gd name="connsiteY11" fmla="*/ 1651000 h 1651000"/>
              <a:gd name="connsiteX12" fmla="*/ 12700 w 9169400"/>
              <a:gd name="connsiteY12" fmla="*/ 571500 h 1651000"/>
              <a:gd name="connsiteX0" fmla="*/ 12700 w 9169400"/>
              <a:gd name="connsiteY0" fmla="*/ 571500 h 1651000"/>
              <a:gd name="connsiteX1" fmla="*/ 622300 w 9169400"/>
              <a:gd name="connsiteY1" fmla="*/ 431800 h 1651000"/>
              <a:gd name="connsiteX2" fmla="*/ 1143000 w 9169400"/>
              <a:gd name="connsiteY2" fmla="*/ 279400 h 1651000"/>
              <a:gd name="connsiteX3" fmla="*/ 1701800 w 9169400"/>
              <a:gd name="connsiteY3" fmla="*/ 228600 h 1651000"/>
              <a:gd name="connsiteX4" fmla="*/ 2794000 w 9169400"/>
              <a:gd name="connsiteY4" fmla="*/ 355600 h 1651000"/>
              <a:gd name="connsiteX5" fmla="*/ 3873500 w 9169400"/>
              <a:gd name="connsiteY5" fmla="*/ 469900 h 1651000"/>
              <a:gd name="connsiteX6" fmla="*/ 5067300 w 9169400"/>
              <a:gd name="connsiteY6" fmla="*/ 622300 h 1651000"/>
              <a:gd name="connsiteX7" fmla="*/ 6261100 w 9169400"/>
              <a:gd name="connsiteY7" fmla="*/ 558800 h 1651000"/>
              <a:gd name="connsiteX8" fmla="*/ 7086600 w 9169400"/>
              <a:gd name="connsiteY8" fmla="*/ 177800 h 1651000"/>
              <a:gd name="connsiteX9" fmla="*/ 9156700 w 9169400"/>
              <a:gd name="connsiteY9" fmla="*/ 0 h 1651000"/>
              <a:gd name="connsiteX10" fmla="*/ 9169400 w 9169400"/>
              <a:gd name="connsiteY10" fmla="*/ 1651000 h 1651000"/>
              <a:gd name="connsiteX11" fmla="*/ 0 w 9169400"/>
              <a:gd name="connsiteY11" fmla="*/ 1651000 h 1651000"/>
              <a:gd name="connsiteX12" fmla="*/ 12700 w 9169400"/>
              <a:gd name="connsiteY12" fmla="*/ 571500 h 1651000"/>
              <a:gd name="connsiteX0" fmla="*/ 12700 w 9169400"/>
              <a:gd name="connsiteY0" fmla="*/ 571500 h 1651000"/>
              <a:gd name="connsiteX1" fmla="*/ 622300 w 9169400"/>
              <a:gd name="connsiteY1" fmla="*/ 431800 h 1651000"/>
              <a:gd name="connsiteX2" fmla="*/ 1701800 w 9169400"/>
              <a:gd name="connsiteY2" fmla="*/ 228600 h 1651000"/>
              <a:gd name="connsiteX3" fmla="*/ 2794000 w 9169400"/>
              <a:gd name="connsiteY3" fmla="*/ 355600 h 1651000"/>
              <a:gd name="connsiteX4" fmla="*/ 3873500 w 9169400"/>
              <a:gd name="connsiteY4" fmla="*/ 469900 h 1651000"/>
              <a:gd name="connsiteX5" fmla="*/ 5067300 w 9169400"/>
              <a:gd name="connsiteY5" fmla="*/ 622300 h 1651000"/>
              <a:gd name="connsiteX6" fmla="*/ 6261100 w 9169400"/>
              <a:gd name="connsiteY6" fmla="*/ 558800 h 1651000"/>
              <a:gd name="connsiteX7" fmla="*/ 7086600 w 9169400"/>
              <a:gd name="connsiteY7" fmla="*/ 177800 h 1651000"/>
              <a:gd name="connsiteX8" fmla="*/ 9156700 w 9169400"/>
              <a:gd name="connsiteY8" fmla="*/ 0 h 1651000"/>
              <a:gd name="connsiteX9" fmla="*/ 9169400 w 9169400"/>
              <a:gd name="connsiteY9" fmla="*/ 1651000 h 1651000"/>
              <a:gd name="connsiteX10" fmla="*/ 0 w 9169400"/>
              <a:gd name="connsiteY10" fmla="*/ 1651000 h 1651000"/>
              <a:gd name="connsiteX11" fmla="*/ 12700 w 9169400"/>
              <a:gd name="connsiteY11" fmla="*/ 571500 h 1651000"/>
              <a:gd name="connsiteX0" fmla="*/ 12700 w 9169400"/>
              <a:gd name="connsiteY0" fmla="*/ 571500 h 1651000"/>
              <a:gd name="connsiteX1" fmla="*/ 863600 w 9169400"/>
              <a:gd name="connsiteY1" fmla="*/ 342900 h 1651000"/>
              <a:gd name="connsiteX2" fmla="*/ 1701800 w 9169400"/>
              <a:gd name="connsiteY2" fmla="*/ 228600 h 1651000"/>
              <a:gd name="connsiteX3" fmla="*/ 2794000 w 9169400"/>
              <a:gd name="connsiteY3" fmla="*/ 355600 h 1651000"/>
              <a:gd name="connsiteX4" fmla="*/ 3873500 w 9169400"/>
              <a:gd name="connsiteY4" fmla="*/ 469900 h 1651000"/>
              <a:gd name="connsiteX5" fmla="*/ 5067300 w 9169400"/>
              <a:gd name="connsiteY5" fmla="*/ 622300 h 1651000"/>
              <a:gd name="connsiteX6" fmla="*/ 6261100 w 9169400"/>
              <a:gd name="connsiteY6" fmla="*/ 558800 h 1651000"/>
              <a:gd name="connsiteX7" fmla="*/ 7086600 w 9169400"/>
              <a:gd name="connsiteY7" fmla="*/ 177800 h 1651000"/>
              <a:gd name="connsiteX8" fmla="*/ 9156700 w 9169400"/>
              <a:gd name="connsiteY8" fmla="*/ 0 h 1651000"/>
              <a:gd name="connsiteX9" fmla="*/ 9169400 w 9169400"/>
              <a:gd name="connsiteY9" fmla="*/ 1651000 h 1651000"/>
              <a:gd name="connsiteX10" fmla="*/ 0 w 9169400"/>
              <a:gd name="connsiteY10" fmla="*/ 1651000 h 1651000"/>
              <a:gd name="connsiteX11" fmla="*/ 12700 w 9169400"/>
              <a:gd name="connsiteY11" fmla="*/ 571500 h 1651000"/>
              <a:gd name="connsiteX0" fmla="*/ 12700 w 9169400"/>
              <a:gd name="connsiteY0" fmla="*/ 571500 h 1651000"/>
              <a:gd name="connsiteX1" fmla="*/ 863600 w 9169400"/>
              <a:gd name="connsiteY1" fmla="*/ 342900 h 1651000"/>
              <a:gd name="connsiteX2" fmla="*/ 1701800 w 9169400"/>
              <a:gd name="connsiteY2" fmla="*/ 228600 h 1651000"/>
              <a:gd name="connsiteX3" fmla="*/ 2794000 w 9169400"/>
              <a:gd name="connsiteY3" fmla="*/ 355600 h 1651000"/>
              <a:gd name="connsiteX4" fmla="*/ 3873500 w 9169400"/>
              <a:gd name="connsiteY4" fmla="*/ 469900 h 1651000"/>
              <a:gd name="connsiteX5" fmla="*/ 5067300 w 9169400"/>
              <a:gd name="connsiteY5" fmla="*/ 622300 h 1651000"/>
              <a:gd name="connsiteX6" fmla="*/ 6261100 w 9169400"/>
              <a:gd name="connsiteY6" fmla="*/ 558800 h 1651000"/>
              <a:gd name="connsiteX7" fmla="*/ 7086600 w 9169400"/>
              <a:gd name="connsiteY7" fmla="*/ 177800 h 1651000"/>
              <a:gd name="connsiteX8" fmla="*/ 9156700 w 9169400"/>
              <a:gd name="connsiteY8" fmla="*/ 0 h 1651000"/>
              <a:gd name="connsiteX9" fmla="*/ 9169400 w 9169400"/>
              <a:gd name="connsiteY9" fmla="*/ 1651000 h 1651000"/>
              <a:gd name="connsiteX10" fmla="*/ 0 w 9169400"/>
              <a:gd name="connsiteY10" fmla="*/ 1651000 h 1651000"/>
              <a:gd name="connsiteX11" fmla="*/ 12700 w 9169400"/>
              <a:gd name="connsiteY11" fmla="*/ 571500 h 1651000"/>
              <a:gd name="connsiteX0" fmla="*/ 12700 w 9169400"/>
              <a:gd name="connsiteY0" fmla="*/ 571500 h 1651000"/>
              <a:gd name="connsiteX1" fmla="*/ 863600 w 9169400"/>
              <a:gd name="connsiteY1" fmla="*/ 342900 h 1651000"/>
              <a:gd name="connsiteX2" fmla="*/ 1701800 w 9169400"/>
              <a:gd name="connsiteY2" fmla="*/ 228600 h 1651000"/>
              <a:gd name="connsiteX3" fmla="*/ 2794000 w 9169400"/>
              <a:gd name="connsiteY3" fmla="*/ 355600 h 1651000"/>
              <a:gd name="connsiteX4" fmla="*/ 3873500 w 9169400"/>
              <a:gd name="connsiteY4" fmla="*/ 469900 h 1651000"/>
              <a:gd name="connsiteX5" fmla="*/ 5067300 w 9169400"/>
              <a:gd name="connsiteY5" fmla="*/ 622300 h 1651000"/>
              <a:gd name="connsiteX6" fmla="*/ 6197600 w 9169400"/>
              <a:gd name="connsiteY6" fmla="*/ 482600 h 1651000"/>
              <a:gd name="connsiteX7" fmla="*/ 7086600 w 9169400"/>
              <a:gd name="connsiteY7" fmla="*/ 177800 h 1651000"/>
              <a:gd name="connsiteX8" fmla="*/ 9156700 w 9169400"/>
              <a:gd name="connsiteY8" fmla="*/ 0 h 1651000"/>
              <a:gd name="connsiteX9" fmla="*/ 9169400 w 9169400"/>
              <a:gd name="connsiteY9" fmla="*/ 1651000 h 1651000"/>
              <a:gd name="connsiteX10" fmla="*/ 0 w 9169400"/>
              <a:gd name="connsiteY10" fmla="*/ 1651000 h 1651000"/>
              <a:gd name="connsiteX11" fmla="*/ 12700 w 9169400"/>
              <a:gd name="connsiteY11" fmla="*/ 571500 h 1651000"/>
              <a:gd name="connsiteX0" fmla="*/ 12700 w 9169400"/>
              <a:gd name="connsiteY0" fmla="*/ 571500 h 1651000"/>
              <a:gd name="connsiteX1" fmla="*/ 863600 w 9169400"/>
              <a:gd name="connsiteY1" fmla="*/ 342900 h 1651000"/>
              <a:gd name="connsiteX2" fmla="*/ 1701800 w 9169400"/>
              <a:gd name="connsiteY2" fmla="*/ 228600 h 1651000"/>
              <a:gd name="connsiteX3" fmla="*/ 2794000 w 9169400"/>
              <a:gd name="connsiteY3" fmla="*/ 355600 h 1651000"/>
              <a:gd name="connsiteX4" fmla="*/ 3873500 w 9169400"/>
              <a:gd name="connsiteY4" fmla="*/ 469900 h 1651000"/>
              <a:gd name="connsiteX5" fmla="*/ 5067300 w 9169400"/>
              <a:gd name="connsiteY5" fmla="*/ 622300 h 1651000"/>
              <a:gd name="connsiteX6" fmla="*/ 6197600 w 9169400"/>
              <a:gd name="connsiteY6" fmla="*/ 482600 h 1651000"/>
              <a:gd name="connsiteX7" fmla="*/ 7785100 w 9169400"/>
              <a:gd name="connsiteY7" fmla="*/ 63500 h 1651000"/>
              <a:gd name="connsiteX8" fmla="*/ 9156700 w 9169400"/>
              <a:gd name="connsiteY8" fmla="*/ 0 h 1651000"/>
              <a:gd name="connsiteX9" fmla="*/ 9169400 w 9169400"/>
              <a:gd name="connsiteY9" fmla="*/ 1651000 h 1651000"/>
              <a:gd name="connsiteX10" fmla="*/ 0 w 9169400"/>
              <a:gd name="connsiteY10" fmla="*/ 1651000 h 1651000"/>
              <a:gd name="connsiteX11" fmla="*/ 12700 w 9169400"/>
              <a:gd name="connsiteY11" fmla="*/ 571500 h 1651000"/>
              <a:gd name="connsiteX0" fmla="*/ 12700 w 9169400"/>
              <a:gd name="connsiteY0" fmla="*/ 571500 h 1651000"/>
              <a:gd name="connsiteX1" fmla="*/ 863600 w 9169400"/>
              <a:gd name="connsiteY1" fmla="*/ 342900 h 1651000"/>
              <a:gd name="connsiteX2" fmla="*/ 1701800 w 9169400"/>
              <a:gd name="connsiteY2" fmla="*/ 228600 h 1651000"/>
              <a:gd name="connsiteX3" fmla="*/ 2794000 w 9169400"/>
              <a:gd name="connsiteY3" fmla="*/ 355600 h 1651000"/>
              <a:gd name="connsiteX4" fmla="*/ 3873500 w 9169400"/>
              <a:gd name="connsiteY4" fmla="*/ 469900 h 1651000"/>
              <a:gd name="connsiteX5" fmla="*/ 5067300 w 9169400"/>
              <a:gd name="connsiteY5" fmla="*/ 622300 h 1651000"/>
              <a:gd name="connsiteX6" fmla="*/ 6197600 w 9169400"/>
              <a:gd name="connsiteY6" fmla="*/ 482600 h 1651000"/>
              <a:gd name="connsiteX7" fmla="*/ 7785100 w 9169400"/>
              <a:gd name="connsiteY7" fmla="*/ 63500 h 1651000"/>
              <a:gd name="connsiteX8" fmla="*/ 9156700 w 9169400"/>
              <a:gd name="connsiteY8" fmla="*/ 0 h 1651000"/>
              <a:gd name="connsiteX9" fmla="*/ 9169400 w 9169400"/>
              <a:gd name="connsiteY9" fmla="*/ 1651000 h 1651000"/>
              <a:gd name="connsiteX10" fmla="*/ 0 w 9169400"/>
              <a:gd name="connsiteY10" fmla="*/ 1651000 h 1651000"/>
              <a:gd name="connsiteX11" fmla="*/ 12700 w 9169400"/>
              <a:gd name="connsiteY11" fmla="*/ 571500 h 1651000"/>
              <a:gd name="connsiteX0" fmla="*/ 12700 w 9169400"/>
              <a:gd name="connsiteY0" fmla="*/ 571500 h 1651000"/>
              <a:gd name="connsiteX1" fmla="*/ 863600 w 9169400"/>
              <a:gd name="connsiteY1" fmla="*/ 342900 h 1651000"/>
              <a:gd name="connsiteX2" fmla="*/ 1701800 w 9169400"/>
              <a:gd name="connsiteY2" fmla="*/ 228600 h 1651000"/>
              <a:gd name="connsiteX3" fmla="*/ 2794000 w 9169400"/>
              <a:gd name="connsiteY3" fmla="*/ 355600 h 1651000"/>
              <a:gd name="connsiteX4" fmla="*/ 3873500 w 9169400"/>
              <a:gd name="connsiteY4" fmla="*/ 469900 h 1651000"/>
              <a:gd name="connsiteX5" fmla="*/ 5067300 w 9169400"/>
              <a:gd name="connsiteY5" fmla="*/ 622300 h 1651000"/>
              <a:gd name="connsiteX6" fmla="*/ 6197600 w 9169400"/>
              <a:gd name="connsiteY6" fmla="*/ 482600 h 1651000"/>
              <a:gd name="connsiteX7" fmla="*/ 7785100 w 9169400"/>
              <a:gd name="connsiteY7" fmla="*/ 63500 h 1651000"/>
              <a:gd name="connsiteX8" fmla="*/ 9156700 w 9169400"/>
              <a:gd name="connsiteY8" fmla="*/ 0 h 1651000"/>
              <a:gd name="connsiteX9" fmla="*/ 9169400 w 9169400"/>
              <a:gd name="connsiteY9" fmla="*/ 1651000 h 1651000"/>
              <a:gd name="connsiteX10" fmla="*/ 0 w 9169400"/>
              <a:gd name="connsiteY10" fmla="*/ 1651000 h 1651000"/>
              <a:gd name="connsiteX11" fmla="*/ 12700 w 9169400"/>
              <a:gd name="connsiteY11" fmla="*/ 571500 h 1651000"/>
              <a:gd name="connsiteX0" fmla="*/ 12700 w 9169400"/>
              <a:gd name="connsiteY0" fmla="*/ 571500 h 1651000"/>
              <a:gd name="connsiteX1" fmla="*/ 863600 w 9169400"/>
              <a:gd name="connsiteY1" fmla="*/ 342900 h 1651000"/>
              <a:gd name="connsiteX2" fmla="*/ 1879600 w 9169400"/>
              <a:gd name="connsiteY2" fmla="*/ 215900 h 1651000"/>
              <a:gd name="connsiteX3" fmla="*/ 2794000 w 9169400"/>
              <a:gd name="connsiteY3" fmla="*/ 355600 h 1651000"/>
              <a:gd name="connsiteX4" fmla="*/ 3873500 w 9169400"/>
              <a:gd name="connsiteY4" fmla="*/ 469900 h 1651000"/>
              <a:gd name="connsiteX5" fmla="*/ 5067300 w 9169400"/>
              <a:gd name="connsiteY5" fmla="*/ 622300 h 1651000"/>
              <a:gd name="connsiteX6" fmla="*/ 6197600 w 9169400"/>
              <a:gd name="connsiteY6" fmla="*/ 482600 h 1651000"/>
              <a:gd name="connsiteX7" fmla="*/ 7785100 w 9169400"/>
              <a:gd name="connsiteY7" fmla="*/ 63500 h 1651000"/>
              <a:gd name="connsiteX8" fmla="*/ 9156700 w 9169400"/>
              <a:gd name="connsiteY8" fmla="*/ 0 h 1651000"/>
              <a:gd name="connsiteX9" fmla="*/ 9169400 w 9169400"/>
              <a:gd name="connsiteY9" fmla="*/ 1651000 h 1651000"/>
              <a:gd name="connsiteX10" fmla="*/ 0 w 9169400"/>
              <a:gd name="connsiteY10" fmla="*/ 1651000 h 1651000"/>
              <a:gd name="connsiteX11" fmla="*/ 12700 w 9169400"/>
              <a:gd name="connsiteY11" fmla="*/ 571500 h 1651000"/>
              <a:gd name="connsiteX0" fmla="*/ 12700 w 9169400"/>
              <a:gd name="connsiteY0" fmla="*/ 571500 h 1651000"/>
              <a:gd name="connsiteX1" fmla="*/ 863600 w 9169400"/>
              <a:gd name="connsiteY1" fmla="*/ 342900 h 1651000"/>
              <a:gd name="connsiteX2" fmla="*/ 2794000 w 9169400"/>
              <a:gd name="connsiteY2" fmla="*/ 355600 h 1651000"/>
              <a:gd name="connsiteX3" fmla="*/ 3873500 w 9169400"/>
              <a:gd name="connsiteY3" fmla="*/ 469900 h 1651000"/>
              <a:gd name="connsiteX4" fmla="*/ 5067300 w 9169400"/>
              <a:gd name="connsiteY4" fmla="*/ 622300 h 1651000"/>
              <a:gd name="connsiteX5" fmla="*/ 6197600 w 9169400"/>
              <a:gd name="connsiteY5" fmla="*/ 482600 h 1651000"/>
              <a:gd name="connsiteX6" fmla="*/ 7785100 w 9169400"/>
              <a:gd name="connsiteY6" fmla="*/ 63500 h 1651000"/>
              <a:gd name="connsiteX7" fmla="*/ 9156700 w 9169400"/>
              <a:gd name="connsiteY7" fmla="*/ 0 h 1651000"/>
              <a:gd name="connsiteX8" fmla="*/ 9169400 w 9169400"/>
              <a:gd name="connsiteY8" fmla="*/ 1651000 h 1651000"/>
              <a:gd name="connsiteX9" fmla="*/ 0 w 9169400"/>
              <a:gd name="connsiteY9" fmla="*/ 1651000 h 1651000"/>
              <a:gd name="connsiteX10" fmla="*/ 12700 w 9169400"/>
              <a:gd name="connsiteY10" fmla="*/ 571500 h 1651000"/>
              <a:gd name="connsiteX0" fmla="*/ 12700 w 9169400"/>
              <a:gd name="connsiteY0" fmla="*/ 571500 h 1651000"/>
              <a:gd name="connsiteX1" fmla="*/ 863600 w 9169400"/>
              <a:gd name="connsiteY1" fmla="*/ 342900 h 1651000"/>
              <a:gd name="connsiteX2" fmla="*/ 2565400 w 9169400"/>
              <a:gd name="connsiteY2" fmla="*/ 317500 h 1651000"/>
              <a:gd name="connsiteX3" fmla="*/ 3873500 w 9169400"/>
              <a:gd name="connsiteY3" fmla="*/ 469900 h 1651000"/>
              <a:gd name="connsiteX4" fmla="*/ 5067300 w 9169400"/>
              <a:gd name="connsiteY4" fmla="*/ 622300 h 1651000"/>
              <a:gd name="connsiteX5" fmla="*/ 6197600 w 9169400"/>
              <a:gd name="connsiteY5" fmla="*/ 482600 h 1651000"/>
              <a:gd name="connsiteX6" fmla="*/ 7785100 w 9169400"/>
              <a:gd name="connsiteY6" fmla="*/ 63500 h 1651000"/>
              <a:gd name="connsiteX7" fmla="*/ 9156700 w 9169400"/>
              <a:gd name="connsiteY7" fmla="*/ 0 h 1651000"/>
              <a:gd name="connsiteX8" fmla="*/ 9169400 w 9169400"/>
              <a:gd name="connsiteY8" fmla="*/ 1651000 h 1651000"/>
              <a:gd name="connsiteX9" fmla="*/ 0 w 9169400"/>
              <a:gd name="connsiteY9" fmla="*/ 1651000 h 1651000"/>
              <a:gd name="connsiteX10" fmla="*/ 12700 w 9169400"/>
              <a:gd name="connsiteY10" fmla="*/ 571500 h 1651000"/>
              <a:gd name="connsiteX0" fmla="*/ 12700 w 9169400"/>
              <a:gd name="connsiteY0" fmla="*/ 571500 h 1651000"/>
              <a:gd name="connsiteX1" fmla="*/ 863600 w 9169400"/>
              <a:gd name="connsiteY1" fmla="*/ 342900 h 1651000"/>
              <a:gd name="connsiteX2" fmla="*/ 2565400 w 9169400"/>
              <a:gd name="connsiteY2" fmla="*/ 317500 h 1651000"/>
              <a:gd name="connsiteX3" fmla="*/ 3873500 w 9169400"/>
              <a:gd name="connsiteY3" fmla="*/ 469900 h 1651000"/>
              <a:gd name="connsiteX4" fmla="*/ 5067300 w 9169400"/>
              <a:gd name="connsiteY4" fmla="*/ 622300 h 1651000"/>
              <a:gd name="connsiteX5" fmla="*/ 6197600 w 9169400"/>
              <a:gd name="connsiteY5" fmla="*/ 482600 h 1651000"/>
              <a:gd name="connsiteX6" fmla="*/ 7785100 w 9169400"/>
              <a:gd name="connsiteY6" fmla="*/ 63500 h 1651000"/>
              <a:gd name="connsiteX7" fmla="*/ 9156700 w 9169400"/>
              <a:gd name="connsiteY7" fmla="*/ 0 h 1651000"/>
              <a:gd name="connsiteX8" fmla="*/ 9169400 w 9169400"/>
              <a:gd name="connsiteY8" fmla="*/ 1651000 h 1651000"/>
              <a:gd name="connsiteX9" fmla="*/ 0 w 9169400"/>
              <a:gd name="connsiteY9" fmla="*/ 1651000 h 1651000"/>
              <a:gd name="connsiteX10" fmla="*/ 12700 w 9169400"/>
              <a:gd name="connsiteY10" fmla="*/ 571500 h 1651000"/>
              <a:gd name="connsiteX0" fmla="*/ 12700 w 9169400"/>
              <a:gd name="connsiteY0" fmla="*/ 571500 h 1651000"/>
              <a:gd name="connsiteX1" fmla="*/ 1143000 w 9169400"/>
              <a:gd name="connsiteY1" fmla="*/ 431800 h 1651000"/>
              <a:gd name="connsiteX2" fmla="*/ 2565400 w 9169400"/>
              <a:gd name="connsiteY2" fmla="*/ 317500 h 1651000"/>
              <a:gd name="connsiteX3" fmla="*/ 3873500 w 9169400"/>
              <a:gd name="connsiteY3" fmla="*/ 469900 h 1651000"/>
              <a:gd name="connsiteX4" fmla="*/ 5067300 w 9169400"/>
              <a:gd name="connsiteY4" fmla="*/ 622300 h 1651000"/>
              <a:gd name="connsiteX5" fmla="*/ 6197600 w 9169400"/>
              <a:gd name="connsiteY5" fmla="*/ 482600 h 1651000"/>
              <a:gd name="connsiteX6" fmla="*/ 7785100 w 9169400"/>
              <a:gd name="connsiteY6" fmla="*/ 63500 h 1651000"/>
              <a:gd name="connsiteX7" fmla="*/ 9156700 w 9169400"/>
              <a:gd name="connsiteY7" fmla="*/ 0 h 1651000"/>
              <a:gd name="connsiteX8" fmla="*/ 9169400 w 9169400"/>
              <a:gd name="connsiteY8" fmla="*/ 1651000 h 1651000"/>
              <a:gd name="connsiteX9" fmla="*/ 0 w 9169400"/>
              <a:gd name="connsiteY9" fmla="*/ 1651000 h 1651000"/>
              <a:gd name="connsiteX10" fmla="*/ 12700 w 9169400"/>
              <a:gd name="connsiteY10" fmla="*/ 571500 h 1651000"/>
              <a:gd name="connsiteX0" fmla="*/ 12700 w 9169400"/>
              <a:gd name="connsiteY0" fmla="*/ 571500 h 1651000"/>
              <a:gd name="connsiteX1" fmla="*/ 1143000 w 9169400"/>
              <a:gd name="connsiteY1" fmla="*/ 431800 h 1651000"/>
              <a:gd name="connsiteX2" fmla="*/ 2565400 w 9169400"/>
              <a:gd name="connsiteY2" fmla="*/ 317500 h 1651000"/>
              <a:gd name="connsiteX3" fmla="*/ 3873500 w 9169400"/>
              <a:gd name="connsiteY3" fmla="*/ 469900 h 1651000"/>
              <a:gd name="connsiteX4" fmla="*/ 5067300 w 9169400"/>
              <a:gd name="connsiteY4" fmla="*/ 622300 h 1651000"/>
              <a:gd name="connsiteX5" fmla="*/ 6197600 w 9169400"/>
              <a:gd name="connsiteY5" fmla="*/ 482600 h 1651000"/>
              <a:gd name="connsiteX6" fmla="*/ 7785100 w 9169400"/>
              <a:gd name="connsiteY6" fmla="*/ 63500 h 1651000"/>
              <a:gd name="connsiteX7" fmla="*/ 9156700 w 9169400"/>
              <a:gd name="connsiteY7" fmla="*/ 0 h 1651000"/>
              <a:gd name="connsiteX8" fmla="*/ 9169400 w 9169400"/>
              <a:gd name="connsiteY8" fmla="*/ 1651000 h 1651000"/>
              <a:gd name="connsiteX9" fmla="*/ 0 w 9169400"/>
              <a:gd name="connsiteY9" fmla="*/ 1651000 h 1651000"/>
              <a:gd name="connsiteX10" fmla="*/ 12700 w 9169400"/>
              <a:gd name="connsiteY10" fmla="*/ 571500 h 1651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169400" h="1651000">
                <a:moveTo>
                  <a:pt x="12700" y="571500"/>
                </a:moveTo>
                <a:cubicBezTo>
                  <a:pt x="662517" y="469900"/>
                  <a:pt x="717550" y="474133"/>
                  <a:pt x="1143000" y="431800"/>
                </a:cubicBezTo>
                <a:cubicBezTo>
                  <a:pt x="1568450" y="389467"/>
                  <a:pt x="2110317" y="311150"/>
                  <a:pt x="2565400" y="317500"/>
                </a:cubicBezTo>
                <a:cubicBezTo>
                  <a:pt x="3020483" y="323850"/>
                  <a:pt x="3456517" y="419100"/>
                  <a:pt x="3873500" y="469900"/>
                </a:cubicBezTo>
                <a:cubicBezTo>
                  <a:pt x="4290483" y="520700"/>
                  <a:pt x="4679950" y="620183"/>
                  <a:pt x="5067300" y="622300"/>
                </a:cubicBezTo>
                <a:cubicBezTo>
                  <a:pt x="5454650" y="624417"/>
                  <a:pt x="5744633" y="575733"/>
                  <a:pt x="6197600" y="482600"/>
                </a:cubicBezTo>
                <a:cubicBezTo>
                  <a:pt x="6650567" y="389467"/>
                  <a:pt x="7253817" y="131233"/>
                  <a:pt x="7785100" y="63500"/>
                </a:cubicBezTo>
                <a:cubicBezTo>
                  <a:pt x="8316383" y="-4233"/>
                  <a:pt x="8453967" y="21167"/>
                  <a:pt x="9156700" y="0"/>
                </a:cubicBezTo>
                <a:cubicBezTo>
                  <a:pt x="9160933" y="550333"/>
                  <a:pt x="9165167" y="1100667"/>
                  <a:pt x="9169400" y="1651000"/>
                </a:cubicBezTo>
                <a:lnTo>
                  <a:pt x="0" y="1651000"/>
                </a:lnTo>
                <a:lnTo>
                  <a:pt x="12700" y="571500"/>
                </a:lnTo>
                <a:close/>
              </a:path>
            </a:pathLst>
          </a:cu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0374" name="Picture 10373"/>
          <p:cNvPicPr>
            <a:picLocks noChangeAspect="1"/>
          </p:cNvPicPr>
          <p:nvPr/>
        </p:nvPicPr>
        <p:blipFill>
          <a:blip r:embed="rId7" cstate="print">
            <a:extLst>
              <a:ext uri="{BEBA8EAE-BF5A-486C-A8C5-ECC9F3942E4B}">
                <a14:imgProps xmlns:a14="http://schemas.microsoft.com/office/drawing/2010/main">
                  <a14:imgLayer r:embed="rId8">
                    <a14:imgEffect>
                      <a14:artisticBlur/>
                    </a14:imgEffect>
                  </a14:imgLayer>
                </a14:imgProps>
              </a:ext>
              <a:ext uri="{28A0092B-C50C-407E-A947-70E740481C1C}">
                <a14:useLocalDpi xmlns:a14="http://schemas.microsoft.com/office/drawing/2010/main" val="0"/>
              </a:ext>
            </a:extLst>
          </a:blip>
          <a:stretch>
            <a:fillRect/>
          </a:stretch>
        </p:blipFill>
        <p:spPr>
          <a:xfrm>
            <a:off x="6450533" y="3714750"/>
            <a:ext cx="986628" cy="986628"/>
          </a:xfrm>
          <a:prstGeom prst="rect">
            <a:avLst/>
          </a:prstGeom>
          <a:noFill/>
          <a:ln>
            <a:noFill/>
          </a:ln>
          <a:effectLst>
            <a:softEdge rad="63500"/>
          </a:effectLst>
        </p:spPr>
      </p:pic>
      <p:sp>
        <p:nvSpPr>
          <p:cNvPr id="13" name="Sun 12"/>
          <p:cNvSpPr/>
          <p:nvPr/>
        </p:nvSpPr>
        <p:spPr>
          <a:xfrm>
            <a:off x="6400800" y="133350"/>
            <a:ext cx="1219200" cy="1219200"/>
          </a:xfrm>
          <a:prstGeom prst="sun">
            <a:avLst>
              <a:gd name="adj" fmla="val 32500"/>
            </a:avLst>
          </a:prstGeom>
          <a:solidFill>
            <a:srgbClr val="FFFF0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5" name="Title 4"/>
          <p:cNvSpPr>
            <a:spLocks noGrp="1"/>
          </p:cNvSpPr>
          <p:nvPr>
            <p:ph type="ctrTitle"/>
          </p:nvPr>
        </p:nvSpPr>
        <p:spPr>
          <a:xfrm>
            <a:off x="685800" y="2114550"/>
            <a:ext cx="6324600" cy="1102519"/>
          </a:xfrm>
        </p:spPr>
        <p:txBody>
          <a:bodyPr/>
          <a:lstStyle/>
          <a:p>
            <a:r>
              <a:rPr lang="en-US" sz="4000" dirty="0">
                <a:solidFill>
                  <a:schemeClr val="bg1"/>
                </a:solidFill>
                <a:latin typeface="Arial" pitchFamily="34" charset="0"/>
                <a:cs typeface="Arial" pitchFamily="34" charset="0"/>
              </a:rPr>
              <a:t>(Re)building </a:t>
            </a:r>
            <a:r>
              <a:rPr lang="en-US" sz="4000" dirty="0" smtClean="0">
                <a:solidFill>
                  <a:schemeClr val="bg1"/>
                </a:solidFill>
                <a:latin typeface="Arial" pitchFamily="34" charset="0"/>
                <a:cs typeface="Arial" pitchFamily="34" charset="0"/>
              </a:rPr>
              <a:t/>
            </a:r>
            <a:br>
              <a:rPr lang="en-US" sz="4000" dirty="0" smtClean="0">
                <a:solidFill>
                  <a:schemeClr val="bg1"/>
                </a:solidFill>
                <a:latin typeface="Arial" pitchFamily="34" charset="0"/>
                <a:cs typeface="Arial" pitchFamily="34" charset="0"/>
              </a:rPr>
            </a:br>
            <a:r>
              <a:rPr lang="en-US" sz="4000" dirty="0" smtClean="0">
                <a:solidFill>
                  <a:schemeClr val="bg1"/>
                </a:solidFill>
                <a:latin typeface="Arial" pitchFamily="34" charset="0"/>
                <a:cs typeface="Arial" pitchFamily="34" charset="0"/>
              </a:rPr>
              <a:t>New </a:t>
            </a:r>
            <a:r>
              <a:rPr lang="en-US" sz="4000" dirty="0">
                <a:solidFill>
                  <a:schemeClr val="bg1"/>
                </a:solidFill>
                <a:latin typeface="Arial" pitchFamily="34" charset="0"/>
                <a:cs typeface="Arial" pitchFamily="34" charset="0"/>
              </a:rPr>
              <a:t>England's </a:t>
            </a:r>
            <a:r>
              <a:rPr lang="en-US" sz="4000" dirty="0" smtClean="0">
                <a:solidFill>
                  <a:schemeClr val="bg1"/>
                </a:solidFill>
                <a:latin typeface="Arial" pitchFamily="34" charset="0"/>
                <a:cs typeface="Arial" pitchFamily="34" charset="0"/>
              </a:rPr>
              <a:t>Grid for Cleaner Electric Energy</a:t>
            </a:r>
            <a:endParaRPr lang="en-US" sz="4000" dirty="0">
              <a:solidFill>
                <a:schemeClr val="bg1"/>
              </a:solidFill>
              <a:latin typeface="Arial" pitchFamily="34" charset="0"/>
              <a:cs typeface="Arial" pitchFamily="34" charset="0"/>
            </a:endParaRPr>
          </a:p>
        </p:txBody>
      </p:sp>
      <p:sp>
        <p:nvSpPr>
          <p:cNvPr id="6" name="Cloud 5"/>
          <p:cNvSpPr/>
          <p:nvPr/>
        </p:nvSpPr>
        <p:spPr>
          <a:xfrm>
            <a:off x="5410200" y="742950"/>
            <a:ext cx="1447800" cy="914400"/>
          </a:xfrm>
          <a:prstGeom prst="cloud">
            <a:avLst/>
          </a:prstGeom>
          <a:solidFill>
            <a:schemeClr val="bg1"/>
          </a:solidFill>
          <a:ln>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Subtitle 20"/>
          <p:cNvSpPr>
            <a:spLocks noGrp="1"/>
          </p:cNvSpPr>
          <p:nvPr>
            <p:ph type="subTitle" idx="1"/>
          </p:nvPr>
        </p:nvSpPr>
        <p:spPr>
          <a:xfrm>
            <a:off x="762000" y="4171950"/>
            <a:ext cx="5638800" cy="765086"/>
          </a:xfrm>
        </p:spPr>
        <p:txBody>
          <a:bodyPr>
            <a:normAutofit/>
          </a:bodyPr>
          <a:lstStyle/>
          <a:p>
            <a:pPr algn="l"/>
            <a:r>
              <a:rPr lang="en-US" sz="1800" dirty="0" smtClean="0">
                <a:solidFill>
                  <a:schemeClr val="bg1"/>
                </a:solidFill>
                <a:latin typeface="Arial" pitchFamily="34" charset="0"/>
                <a:cs typeface="Arial" pitchFamily="34" charset="0"/>
              </a:rPr>
              <a:t>Ed </a:t>
            </a:r>
            <a:r>
              <a:rPr lang="en-US" sz="1800" dirty="0" err="1" smtClean="0">
                <a:solidFill>
                  <a:schemeClr val="bg1"/>
                </a:solidFill>
                <a:latin typeface="Arial" pitchFamily="34" charset="0"/>
                <a:cs typeface="Arial" pitchFamily="34" charset="0"/>
              </a:rPr>
              <a:t>Krapels</a:t>
            </a:r>
            <a:endParaRPr lang="en-US" sz="1800" dirty="0" smtClean="0">
              <a:solidFill>
                <a:schemeClr val="bg1"/>
              </a:solidFill>
              <a:latin typeface="Arial" pitchFamily="34" charset="0"/>
              <a:cs typeface="Arial" pitchFamily="34" charset="0"/>
            </a:endParaRPr>
          </a:p>
          <a:p>
            <a:pPr algn="l"/>
            <a:r>
              <a:rPr lang="en-US" sz="1800" dirty="0" smtClean="0">
                <a:solidFill>
                  <a:schemeClr val="bg1"/>
                </a:solidFill>
                <a:latin typeface="Arial" pitchFamily="34" charset="0"/>
                <a:cs typeface="Arial" pitchFamily="34" charset="0"/>
              </a:rPr>
              <a:t>April 17, 2015</a:t>
            </a:r>
            <a:endParaRPr lang="en-US" sz="1800" dirty="0">
              <a:solidFill>
                <a:schemeClr val="bg1"/>
              </a:solidFill>
              <a:latin typeface="Arial" pitchFamily="34" charset="0"/>
              <a:cs typeface="Arial" pitchFamily="34" charset="0"/>
            </a:endParaRPr>
          </a:p>
        </p:txBody>
      </p:sp>
      <p:sp>
        <p:nvSpPr>
          <p:cNvPr id="29" name="Isosceles Triangle 28"/>
          <p:cNvSpPr/>
          <p:nvPr/>
        </p:nvSpPr>
        <p:spPr>
          <a:xfrm flipH="1">
            <a:off x="7399152" y="2782007"/>
            <a:ext cx="172867" cy="1770943"/>
          </a:xfrm>
          <a:prstGeom prst="triangle">
            <a:avLst>
              <a:gd name="adj" fmla="val 53309"/>
            </a:avLst>
          </a:prstGeom>
          <a:solidFill>
            <a:schemeClr val="bg1"/>
          </a:solidFill>
          <a:ln>
            <a:noFill/>
          </a:ln>
          <a:effectLst>
            <a:outerShdw blurRad="76200" dir="13500000" sy="23000" kx="1200000" algn="br" rotWithShape="0">
              <a:prstClr val="black">
                <a:alpha val="5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0381" name="Picture 141" descr="http://i.vimeocdn.com/portrait/8591502_300x300.jpg"/>
          <p:cNvPicPr>
            <a:picLocks noChangeAspect="1" noChangeArrowheads="1"/>
          </p:cNvPicPr>
          <p:nvPr/>
        </p:nvPicPr>
        <p:blipFill rotWithShape="1">
          <a:blip r:embed="rId9" cstate="print">
            <a:extLst>
              <a:ext uri="{28A0092B-C50C-407E-A947-70E740481C1C}">
                <a14:useLocalDpi xmlns:a14="http://schemas.microsoft.com/office/drawing/2010/main" val="0"/>
              </a:ext>
            </a:extLst>
          </a:blip>
          <a:srcRect t="29333" b="38690"/>
          <a:stretch/>
        </p:blipFill>
        <p:spPr bwMode="auto">
          <a:xfrm>
            <a:off x="5507829" y="1000125"/>
            <a:ext cx="1176618" cy="376238"/>
          </a:xfrm>
          <a:prstGeom prst="rect">
            <a:avLst/>
          </a:prstGeom>
          <a:noFill/>
          <a:extLst>
            <a:ext uri="{909E8E84-426E-40DD-AFC4-6F175D3DCCD1}">
              <a14:hiddenFill xmlns:a14="http://schemas.microsoft.com/office/drawing/2010/main">
                <a:solidFill>
                  <a:srgbClr val="FFFFFF"/>
                </a:solidFill>
              </a14:hiddenFill>
            </a:ext>
          </a:extLst>
        </p:spPr>
      </p:pic>
      <p:grpSp>
        <p:nvGrpSpPr>
          <p:cNvPr id="10372" name="Group 10371"/>
          <p:cNvGrpSpPr/>
          <p:nvPr/>
        </p:nvGrpSpPr>
        <p:grpSpPr>
          <a:xfrm>
            <a:off x="6430508" y="1810678"/>
            <a:ext cx="2108839" cy="2108839"/>
            <a:chOff x="6430508" y="1810678"/>
            <a:chExt cx="2108839" cy="2108839"/>
          </a:xfrm>
        </p:grpSpPr>
        <p:grpSp>
          <p:nvGrpSpPr>
            <p:cNvPr id="10370" name="Group 10369"/>
            <p:cNvGrpSpPr/>
            <p:nvPr/>
          </p:nvGrpSpPr>
          <p:grpSpPr>
            <a:xfrm rot="900000">
              <a:off x="6430508" y="2814389"/>
              <a:ext cx="2108839" cy="101418"/>
              <a:chOff x="6437694" y="2814389"/>
              <a:chExt cx="2108839" cy="101418"/>
            </a:xfrm>
          </p:grpSpPr>
          <p:sp>
            <p:nvSpPr>
              <p:cNvPr id="70" name="Round Same Side Corner Rectangle 11"/>
              <p:cNvSpPr/>
              <p:nvPr/>
            </p:nvSpPr>
            <p:spPr>
              <a:xfrm rot="5400000" flipH="1">
                <a:off x="7969911" y="2339184"/>
                <a:ext cx="101418" cy="1051827"/>
              </a:xfrm>
              <a:custGeom>
                <a:avLst/>
                <a:gdLst>
                  <a:gd name="connsiteX0" fmla="*/ 192704 w 474348"/>
                  <a:gd name="connsiteY0" fmla="*/ 0 h 645319"/>
                  <a:gd name="connsiteX1" fmla="*/ 281644 w 474348"/>
                  <a:gd name="connsiteY1" fmla="*/ 0 h 645319"/>
                  <a:gd name="connsiteX2" fmla="*/ 474348 w 474348"/>
                  <a:gd name="connsiteY2" fmla="*/ 192704 h 645319"/>
                  <a:gd name="connsiteX3" fmla="*/ 474348 w 474348"/>
                  <a:gd name="connsiteY3" fmla="*/ 645319 h 645319"/>
                  <a:gd name="connsiteX4" fmla="*/ 474348 w 474348"/>
                  <a:gd name="connsiteY4" fmla="*/ 645319 h 645319"/>
                  <a:gd name="connsiteX5" fmla="*/ 0 w 474348"/>
                  <a:gd name="connsiteY5" fmla="*/ 645319 h 645319"/>
                  <a:gd name="connsiteX6" fmla="*/ 0 w 474348"/>
                  <a:gd name="connsiteY6" fmla="*/ 645319 h 645319"/>
                  <a:gd name="connsiteX7" fmla="*/ 0 w 474348"/>
                  <a:gd name="connsiteY7" fmla="*/ 192704 h 645319"/>
                  <a:gd name="connsiteX8" fmla="*/ 192704 w 474348"/>
                  <a:gd name="connsiteY8" fmla="*/ 0 h 645319"/>
                  <a:gd name="connsiteX0" fmla="*/ 192704 w 474348"/>
                  <a:gd name="connsiteY0" fmla="*/ 0 h 645319"/>
                  <a:gd name="connsiteX1" fmla="*/ 281644 w 474348"/>
                  <a:gd name="connsiteY1" fmla="*/ 0 h 645319"/>
                  <a:gd name="connsiteX2" fmla="*/ 474348 w 474348"/>
                  <a:gd name="connsiteY2" fmla="*/ 192704 h 645319"/>
                  <a:gd name="connsiteX3" fmla="*/ 474348 w 474348"/>
                  <a:gd name="connsiteY3" fmla="*/ 645319 h 645319"/>
                  <a:gd name="connsiteX4" fmla="*/ 474348 w 474348"/>
                  <a:gd name="connsiteY4" fmla="*/ 645319 h 645319"/>
                  <a:gd name="connsiteX5" fmla="*/ 248129 w 474348"/>
                  <a:gd name="connsiteY5" fmla="*/ 645319 h 645319"/>
                  <a:gd name="connsiteX6" fmla="*/ 0 w 474348"/>
                  <a:gd name="connsiteY6" fmla="*/ 645319 h 645319"/>
                  <a:gd name="connsiteX7" fmla="*/ 0 w 474348"/>
                  <a:gd name="connsiteY7" fmla="*/ 645319 h 645319"/>
                  <a:gd name="connsiteX8" fmla="*/ 0 w 474348"/>
                  <a:gd name="connsiteY8" fmla="*/ 192704 h 645319"/>
                  <a:gd name="connsiteX9" fmla="*/ 192704 w 474348"/>
                  <a:gd name="connsiteY9" fmla="*/ 0 h 645319"/>
                  <a:gd name="connsiteX0" fmla="*/ 192704 w 474348"/>
                  <a:gd name="connsiteY0" fmla="*/ 2381 h 647700"/>
                  <a:gd name="connsiteX1" fmla="*/ 240986 w 474348"/>
                  <a:gd name="connsiteY1" fmla="*/ 0 h 647700"/>
                  <a:gd name="connsiteX2" fmla="*/ 281644 w 474348"/>
                  <a:gd name="connsiteY2" fmla="*/ 2381 h 647700"/>
                  <a:gd name="connsiteX3" fmla="*/ 474348 w 474348"/>
                  <a:gd name="connsiteY3" fmla="*/ 195085 h 647700"/>
                  <a:gd name="connsiteX4" fmla="*/ 474348 w 474348"/>
                  <a:gd name="connsiteY4" fmla="*/ 647700 h 647700"/>
                  <a:gd name="connsiteX5" fmla="*/ 474348 w 474348"/>
                  <a:gd name="connsiteY5" fmla="*/ 647700 h 647700"/>
                  <a:gd name="connsiteX6" fmla="*/ 248129 w 474348"/>
                  <a:gd name="connsiteY6" fmla="*/ 647700 h 647700"/>
                  <a:gd name="connsiteX7" fmla="*/ 0 w 474348"/>
                  <a:gd name="connsiteY7" fmla="*/ 647700 h 647700"/>
                  <a:gd name="connsiteX8" fmla="*/ 0 w 474348"/>
                  <a:gd name="connsiteY8" fmla="*/ 647700 h 647700"/>
                  <a:gd name="connsiteX9" fmla="*/ 0 w 474348"/>
                  <a:gd name="connsiteY9" fmla="*/ 195085 h 647700"/>
                  <a:gd name="connsiteX10" fmla="*/ 192704 w 474348"/>
                  <a:gd name="connsiteY10" fmla="*/ 2381 h 647700"/>
                  <a:gd name="connsiteX0" fmla="*/ 192704 w 474348"/>
                  <a:gd name="connsiteY0" fmla="*/ 42862 h 688181"/>
                  <a:gd name="connsiteX1" fmla="*/ 240986 w 474348"/>
                  <a:gd name="connsiteY1" fmla="*/ 0 h 688181"/>
                  <a:gd name="connsiteX2" fmla="*/ 281644 w 474348"/>
                  <a:gd name="connsiteY2" fmla="*/ 42862 h 688181"/>
                  <a:gd name="connsiteX3" fmla="*/ 474348 w 474348"/>
                  <a:gd name="connsiteY3" fmla="*/ 235566 h 688181"/>
                  <a:gd name="connsiteX4" fmla="*/ 474348 w 474348"/>
                  <a:gd name="connsiteY4" fmla="*/ 688181 h 688181"/>
                  <a:gd name="connsiteX5" fmla="*/ 474348 w 474348"/>
                  <a:gd name="connsiteY5" fmla="*/ 688181 h 688181"/>
                  <a:gd name="connsiteX6" fmla="*/ 248129 w 474348"/>
                  <a:gd name="connsiteY6" fmla="*/ 688181 h 688181"/>
                  <a:gd name="connsiteX7" fmla="*/ 0 w 474348"/>
                  <a:gd name="connsiteY7" fmla="*/ 688181 h 688181"/>
                  <a:gd name="connsiteX8" fmla="*/ 0 w 474348"/>
                  <a:gd name="connsiteY8" fmla="*/ 688181 h 688181"/>
                  <a:gd name="connsiteX9" fmla="*/ 0 w 474348"/>
                  <a:gd name="connsiteY9" fmla="*/ 235566 h 688181"/>
                  <a:gd name="connsiteX10" fmla="*/ 192704 w 474348"/>
                  <a:gd name="connsiteY10" fmla="*/ 42862 h 688181"/>
                  <a:gd name="connsiteX0" fmla="*/ 192704 w 474348"/>
                  <a:gd name="connsiteY0" fmla="*/ 23812 h 669131"/>
                  <a:gd name="connsiteX1" fmla="*/ 265690 w 474348"/>
                  <a:gd name="connsiteY1" fmla="*/ 0 h 669131"/>
                  <a:gd name="connsiteX2" fmla="*/ 281644 w 474348"/>
                  <a:gd name="connsiteY2" fmla="*/ 23812 h 669131"/>
                  <a:gd name="connsiteX3" fmla="*/ 474348 w 474348"/>
                  <a:gd name="connsiteY3" fmla="*/ 216516 h 669131"/>
                  <a:gd name="connsiteX4" fmla="*/ 474348 w 474348"/>
                  <a:gd name="connsiteY4" fmla="*/ 669131 h 669131"/>
                  <a:gd name="connsiteX5" fmla="*/ 474348 w 474348"/>
                  <a:gd name="connsiteY5" fmla="*/ 669131 h 669131"/>
                  <a:gd name="connsiteX6" fmla="*/ 248129 w 474348"/>
                  <a:gd name="connsiteY6" fmla="*/ 669131 h 669131"/>
                  <a:gd name="connsiteX7" fmla="*/ 0 w 474348"/>
                  <a:gd name="connsiteY7" fmla="*/ 669131 h 669131"/>
                  <a:gd name="connsiteX8" fmla="*/ 0 w 474348"/>
                  <a:gd name="connsiteY8" fmla="*/ 669131 h 669131"/>
                  <a:gd name="connsiteX9" fmla="*/ 0 w 474348"/>
                  <a:gd name="connsiteY9" fmla="*/ 216516 h 669131"/>
                  <a:gd name="connsiteX10" fmla="*/ 192704 w 474348"/>
                  <a:gd name="connsiteY10" fmla="*/ 23812 h 669131"/>
                  <a:gd name="connsiteX0" fmla="*/ 192704 w 474348"/>
                  <a:gd name="connsiteY0" fmla="*/ 23812 h 669131"/>
                  <a:gd name="connsiteX1" fmla="*/ 265690 w 474348"/>
                  <a:gd name="connsiteY1" fmla="*/ 0 h 669131"/>
                  <a:gd name="connsiteX2" fmla="*/ 281644 w 474348"/>
                  <a:gd name="connsiteY2" fmla="*/ 23812 h 669131"/>
                  <a:gd name="connsiteX3" fmla="*/ 474348 w 474348"/>
                  <a:gd name="connsiteY3" fmla="*/ 216516 h 669131"/>
                  <a:gd name="connsiteX4" fmla="*/ 474348 w 474348"/>
                  <a:gd name="connsiteY4" fmla="*/ 669131 h 669131"/>
                  <a:gd name="connsiteX5" fmla="*/ 474348 w 474348"/>
                  <a:gd name="connsiteY5" fmla="*/ 669131 h 669131"/>
                  <a:gd name="connsiteX6" fmla="*/ 248129 w 474348"/>
                  <a:gd name="connsiteY6" fmla="*/ 669131 h 669131"/>
                  <a:gd name="connsiteX7" fmla="*/ 0 w 474348"/>
                  <a:gd name="connsiteY7" fmla="*/ 669131 h 669131"/>
                  <a:gd name="connsiteX8" fmla="*/ 0 w 474348"/>
                  <a:gd name="connsiteY8" fmla="*/ 669131 h 669131"/>
                  <a:gd name="connsiteX9" fmla="*/ 0 w 474348"/>
                  <a:gd name="connsiteY9" fmla="*/ 216516 h 669131"/>
                  <a:gd name="connsiteX10" fmla="*/ 192704 w 474348"/>
                  <a:gd name="connsiteY10" fmla="*/ 23812 h 669131"/>
                  <a:gd name="connsiteX0" fmla="*/ 192704 w 474348"/>
                  <a:gd name="connsiteY0" fmla="*/ 23812 h 669131"/>
                  <a:gd name="connsiteX1" fmla="*/ 265690 w 474348"/>
                  <a:gd name="connsiteY1" fmla="*/ 0 h 669131"/>
                  <a:gd name="connsiteX2" fmla="*/ 281644 w 474348"/>
                  <a:gd name="connsiteY2" fmla="*/ 23812 h 669131"/>
                  <a:gd name="connsiteX3" fmla="*/ 474348 w 474348"/>
                  <a:gd name="connsiteY3" fmla="*/ 216516 h 669131"/>
                  <a:gd name="connsiteX4" fmla="*/ 474348 w 474348"/>
                  <a:gd name="connsiteY4" fmla="*/ 669131 h 669131"/>
                  <a:gd name="connsiteX5" fmla="*/ 474348 w 474348"/>
                  <a:gd name="connsiteY5" fmla="*/ 669131 h 669131"/>
                  <a:gd name="connsiteX6" fmla="*/ 248129 w 474348"/>
                  <a:gd name="connsiteY6" fmla="*/ 669131 h 669131"/>
                  <a:gd name="connsiteX7" fmla="*/ 0 w 474348"/>
                  <a:gd name="connsiteY7" fmla="*/ 669131 h 669131"/>
                  <a:gd name="connsiteX8" fmla="*/ 0 w 474348"/>
                  <a:gd name="connsiteY8" fmla="*/ 669131 h 669131"/>
                  <a:gd name="connsiteX9" fmla="*/ 0 w 474348"/>
                  <a:gd name="connsiteY9" fmla="*/ 216516 h 669131"/>
                  <a:gd name="connsiteX10" fmla="*/ 192704 w 474348"/>
                  <a:gd name="connsiteY10" fmla="*/ 23812 h 669131"/>
                  <a:gd name="connsiteX0" fmla="*/ 192704 w 474348"/>
                  <a:gd name="connsiteY0" fmla="*/ 23812 h 669131"/>
                  <a:gd name="connsiteX1" fmla="*/ 265690 w 474348"/>
                  <a:gd name="connsiteY1" fmla="*/ 0 h 669131"/>
                  <a:gd name="connsiteX2" fmla="*/ 314250 w 474348"/>
                  <a:gd name="connsiteY2" fmla="*/ 24047 h 669131"/>
                  <a:gd name="connsiteX3" fmla="*/ 474348 w 474348"/>
                  <a:gd name="connsiteY3" fmla="*/ 216516 h 669131"/>
                  <a:gd name="connsiteX4" fmla="*/ 474348 w 474348"/>
                  <a:gd name="connsiteY4" fmla="*/ 669131 h 669131"/>
                  <a:gd name="connsiteX5" fmla="*/ 474348 w 474348"/>
                  <a:gd name="connsiteY5" fmla="*/ 669131 h 669131"/>
                  <a:gd name="connsiteX6" fmla="*/ 248129 w 474348"/>
                  <a:gd name="connsiteY6" fmla="*/ 669131 h 669131"/>
                  <a:gd name="connsiteX7" fmla="*/ 0 w 474348"/>
                  <a:gd name="connsiteY7" fmla="*/ 669131 h 669131"/>
                  <a:gd name="connsiteX8" fmla="*/ 0 w 474348"/>
                  <a:gd name="connsiteY8" fmla="*/ 669131 h 669131"/>
                  <a:gd name="connsiteX9" fmla="*/ 0 w 474348"/>
                  <a:gd name="connsiteY9" fmla="*/ 216516 h 669131"/>
                  <a:gd name="connsiteX10" fmla="*/ 192704 w 474348"/>
                  <a:gd name="connsiteY10" fmla="*/ 23812 h 669131"/>
                  <a:gd name="connsiteX0" fmla="*/ 192704 w 474348"/>
                  <a:gd name="connsiteY0" fmla="*/ 23812 h 669131"/>
                  <a:gd name="connsiteX1" fmla="*/ 265690 w 474348"/>
                  <a:gd name="connsiteY1" fmla="*/ 0 h 669131"/>
                  <a:gd name="connsiteX2" fmla="*/ 314250 w 474348"/>
                  <a:gd name="connsiteY2" fmla="*/ 24047 h 669131"/>
                  <a:gd name="connsiteX3" fmla="*/ 474348 w 474348"/>
                  <a:gd name="connsiteY3" fmla="*/ 216516 h 669131"/>
                  <a:gd name="connsiteX4" fmla="*/ 474348 w 474348"/>
                  <a:gd name="connsiteY4" fmla="*/ 669131 h 669131"/>
                  <a:gd name="connsiteX5" fmla="*/ 474348 w 474348"/>
                  <a:gd name="connsiteY5" fmla="*/ 669131 h 669131"/>
                  <a:gd name="connsiteX6" fmla="*/ 248129 w 474348"/>
                  <a:gd name="connsiteY6" fmla="*/ 669131 h 669131"/>
                  <a:gd name="connsiteX7" fmla="*/ 0 w 474348"/>
                  <a:gd name="connsiteY7" fmla="*/ 669131 h 669131"/>
                  <a:gd name="connsiteX8" fmla="*/ 0 w 474348"/>
                  <a:gd name="connsiteY8" fmla="*/ 669131 h 669131"/>
                  <a:gd name="connsiteX9" fmla="*/ 0 w 474348"/>
                  <a:gd name="connsiteY9" fmla="*/ 216516 h 669131"/>
                  <a:gd name="connsiteX10" fmla="*/ 192704 w 474348"/>
                  <a:gd name="connsiteY10" fmla="*/ 23812 h 669131"/>
                  <a:gd name="connsiteX0" fmla="*/ 192704 w 474348"/>
                  <a:gd name="connsiteY0" fmla="*/ 23812 h 669131"/>
                  <a:gd name="connsiteX1" fmla="*/ 265690 w 474348"/>
                  <a:gd name="connsiteY1" fmla="*/ 0 h 669131"/>
                  <a:gd name="connsiteX2" fmla="*/ 314250 w 474348"/>
                  <a:gd name="connsiteY2" fmla="*/ 24047 h 669131"/>
                  <a:gd name="connsiteX3" fmla="*/ 474348 w 474348"/>
                  <a:gd name="connsiteY3" fmla="*/ 216516 h 669131"/>
                  <a:gd name="connsiteX4" fmla="*/ 474348 w 474348"/>
                  <a:gd name="connsiteY4" fmla="*/ 669131 h 669131"/>
                  <a:gd name="connsiteX5" fmla="*/ 474348 w 474348"/>
                  <a:gd name="connsiteY5" fmla="*/ 669131 h 669131"/>
                  <a:gd name="connsiteX6" fmla="*/ 248129 w 474348"/>
                  <a:gd name="connsiteY6" fmla="*/ 669131 h 669131"/>
                  <a:gd name="connsiteX7" fmla="*/ 0 w 474348"/>
                  <a:gd name="connsiteY7" fmla="*/ 669131 h 669131"/>
                  <a:gd name="connsiteX8" fmla="*/ 0 w 474348"/>
                  <a:gd name="connsiteY8" fmla="*/ 669131 h 669131"/>
                  <a:gd name="connsiteX9" fmla="*/ 0 w 474348"/>
                  <a:gd name="connsiteY9" fmla="*/ 216516 h 669131"/>
                  <a:gd name="connsiteX10" fmla="*/ 192704 w 474348"/>
                  <a:gd name="connsiteY10" fmla="*/ 23812 h 669131"/>
                  <a:gd name="connsiteX0" fmla="*/ 174282 w 474348"/>
                  <a:gd name="connsiteY0" fmla="*/ 23596 h 669131"/>
                  <a:gd name="connsiteX1" fmla="*/ 265690 w 474348"/>
                  <a:gd name="connsiteY1" fmla="*/ 0 h 669131"/>
                  <a:gd name="connsiteX2" fmla="*/ 314250 w 474348"/>
                  <a:gd name="connsiteY2" fmla="*/ 24047 h 669131"/>
                  <a:gd name="connsiteX3" fmla="*/ 474348 w 474348"/>
                  <a:gd name="connsiteY3" fmla="*/ 216516 h 669131"/>
                  <a:gd name="connsiteX4" fmla="*/ 474348 w 474348"/>
                  <a:gd name="connsiteY4" fmla="*/ 669131 h 669131"/>
                  <a:gd name="connsiteX5" fmla="*/ 474348 w 474348"/>
                  <a:gd name="connsiteY5" fmla="*/ 669131 h 669131"/>
                  <a:gd name="connsiteX6" fmla="*/ 248129 w 474348"/>
                  <a:gd name="connsiteY6" fmla="*/ 669131 h 669131"/>
                  <a:gd name="connsiteX7" fmla="*/ 0 w 474348"/>
                  <a:gd name="connsiteY7" fmla="*/ 669131 h 669131"/>
                  <a:gd name="connsiteX8" fmla="*/ 0 w 474348"/>
                  <a:gd name="connsiteY8" fmla="*/ 669131 h 669131"/>
                  <a:gd name="connsiteX9" fmla="*/ 0 w 474348"/>
                  <a:gd name="connsiteY9" fmla="*/ 216516 h 669131"/>
                  <a:gd name="connsiteX10" fmla="*/ 174282 w 474348"/>
                  <a:gd name="connsiteY10" fmla="*/ 23596 h 669131"/>
                  <a:gd name="connsiteX0" fmla="*/ 174282 w 474348"/>
                  <a:gd name="connsiteY0" fmla="*/ 24619 h 670154"/>
                  <a:gd name="connsiteX1" fmla="*/ 216121 w 474348"/>
                  <a:gd name="connsiteY1" fmla="*/ 0 h 670154"/>
                  <a:gd name="connsiteX2" fmla="*/ 314250 w 474348"/>
                  <a:gd name="connsiteY2" fmla="*/ 25070 h 670154"/>
                  <a:gd name="connsiteX3" fmla="*/ 474348 w 474348"/>
                  <a:gd name="connsiteY3" fmla="*/ 217539 h 670154"/>
                  <a:gd name="connsiteX4" fmla="*/ 474348 w 474348"/>
                  <a:gd name="connsiteY4" fmla="*/ 670154 h 670154"/>
                  <a:gd name="connsiteX5" fmla="*/ 474348 w 474348"/>
                  <a:gd name="connsiteY5" fmla="*/ 670154 h 670154"/>
                  <a:gd name="connsiteX6" fmla="*/ 248129 w 474348"/>
                  <a:gd name="connsiteY6" fmla="*/ 670154 h 670154"/>
                  <a:gd name="connsiteX7" fmla="*/ 0 w 474348"/>
                  <a:gd name="connsiteY7" fmla="*/ 670154 h 670154"/>
                  <a:gd name="connsiteX8" fmla="*/ 0 w 474348"/>
                  <a:gd name="connsiteY8" fmla="*/ 670154 h 670154"/>
                  <a:gd name="connsiteX9" fmla="*/ 0 w 474348"/>
                  <a:gd name="connsiteY9" fmla="*/ 217539 h 670154"/>
                  <a:gd name="connsiteX10" fmla="*/ 174282 w 474348"/>
                  <a:gd name="connsiteY10" fmla="*/ 24619 h 670154"/>
                  <a:gd name="connsiteX0" fmla="*/ 174282 w 474348"/>
                  <a:gd name="connsiteY0" fmla="*/ 24619 h 670154"/>
                  <a:gd name="connsiteX1" fmla="*/ 216121 w 474348"/>
                  <a:gd name="connsiteY1" fmla="*/ 0 h 670154"/>
                  <a:gd name="connsiteX2" fmla="*/ 314250 w 474348"/>
                  <a:gd name="connsiteY2" fmla="*/ 25070 h 670154"/>
                  <a:gd name="connsiteX3" fmla="*/ 474348 w 474348"/>
                  <a:gd name="connsiteY3" fmla="*/ 217539 h 670154"/>
                  <a:gd name="connsiteX4" fmla="*/ 474348 w 474348"/>
                  <a:gd name="connsiteY4" fmla="*/ 670154 h 670154"/>
                  <a:gd name="connsiteX5" fmla="*/ 474348 w 474348"/>
                  <a:gd name="connsiteY5" fmla="*/ 670154 h 670154"/>
                  <a:gd name="connsiteX6" fmla="*/ 248129 w 474348"/>
                  <a:gd name="connsiteY6" fmla="*/ 670154 h 670154"/>
                  <a:gd name="connsiteX7" fmla="*/ 0 w 474348"/>
                  <a:gd name="connsiteY7" fmla="*/ 670154 h 670154"/>
                  <a:gd name="connsiteX8" fmla="*/ 0 w 474348"/>
                  <a:gd name="connsiteY8" fmla="*/ 670154 h 670154"/>
                  <a:gd name="connsiteX9" fmla="*/ 0 w 474348"/>
                  <a:gd name="connsiteY9" fmla="*/ 217539 h 670154"/>
                  <a:gd name="connsiteX10" fmla="*/ 174282 w 474348"/>
                  <a:gd name="connsiteY10" fmla="*/ 24619 h 670154"/>
                  <a:gd name="connsiteX0" fmla="*/ 174282 w 474348"/>
                  <a:gd name="connsiteY0" fmla="*/ 24619 h 670154"/>
                  <a:gd name="connsiteX1" fmla="*/ 216121 w 474348"/>
                  <a:gd name="connsiteY1" fmla="*/ 0 h 670154"/>
                  <a:gd name="connsiteX2" fmla="*/ 314250 w 474348"/>
                  <a:gd name="connsiteY2" fmla="*/ 25070 h 670154"/>
                  <a:gd name="connsiteX3" fmla="*/ 474348 w 474348"/>
                  <a:gd name="connsiteY3" fmla="*/ 217539 h 670154"/>
                  <a:gd name="connsiteX4" fmla="*/ 474348 w 474348"/>
                  <a:gd name="connsiteY4" fmla="*/ 670154 h 670154"/>
                  <a:gd name="connsiteX5" fmla="*/ 474348 w 474348"/>
                  <a:gd name="connsiteY5" fmla="*/ 670154 h 670154"/>
                  <a:gd name="connsiteX6" fmla="*/ 248129 w 474348"/>
                  <a:gd name="connsiteY6" fmla="*/ 670154 h 670154"/>
                  <a:gd name="connsiteX7" fmla="*/ 0 w 474348"/>
                  <a:gd name="connsiteY7" fmla="*/ 670154 h 670154"/>
                  <a:gd name="connsiteX8" fmla="*/ 0 w 474348"/>
                  <a:gd name="connsiteY8" fmla="*/ 670154 h 670154"/>
                  <a:gd name="connsiteX9" fmla="*/ 0 w 474348"/>
                  <a:gd name="connsiteY9" fmla="*/ 217539 h 670154"/>
                  <a:gd name="connsiteX10" fmla="*/ 174282 w 474348"/>
                  <a:gd name="connsiteY10" fmla="*/ 24619 h 670154"/>
                  <a:gd name="connsiteX0" fmla="*/ 174282 w 474348"/>
                  <a:gd name="connsiteY0" fmla="*/ 24619 h 670154"/>
                  <a:gd name="connsiteX1" fmla="*/ 216121 w 474348"/>
                  <a:gd name="connsiteY1" fmla="*/ 0 h 670154"/>
                  <a:gd name="connsiteX2" fmla="*/ 314250 w 474348"/>
                  <a:gd name="connsiteY2" fmla="*/ 25070 h 670154"/>
                  <a:gd name="connsiteX3" fmla="*/ 474348 w 474348"/>
                  <a:gd name="connsiteY3" fmla="*/ 217539 h 670154"/>
                  <a:gd name="connsiteX4" fmla="*/ 474348 w 474348"/>
                  <a:gd name="connsiteY4" fmla="*/ 670154 h 670154"/>
                  <a:gd name="connsiteX5" fmla="*/ 474348 w 474348"/>
                  <a:gd name="connsiteY5" fmla="*/ 670154 h 670154"/>
                  <a:gd name="connsiteX6" fmla="*/ 248129 w 474348"/>
                  <a:gd name="connsiteY6" fmla="*/ 670154 h 670154"/>
                  <a:gd name="connsiteX7" fmla="*/ 0 w 474348"/>
                  <a:gd name="connsiteY7" fmla="*/ 670154 h 670154"/>
                  <a:gd name="connsiteX8" fmla="*/ 0 w 474348"/>
                  <a:gd name="connsiteY8" fmla="*/ 670154 h 670154"/>
                  <a:gd name="connsiteX9" fmla="*/ 0 w 474348"/>
                  <a:gd name="connsiteY9" fmla="*/ 217539 h 670154"/>
                  <a:gd name="connsiteX10" fmla="*/ 174282 w 474348"/>
                  <a:gd name="connsiteY10" fmla="*/ 24619 h 670154"/>
                  <a:gd name="connsiteX0" fmla="*/ 148557 w 474348"/>
                  <a:gd name="connsiteY0" fmla="*/ 27264 h 670154"/>
                  <a:gd name="connsiteX1" fmla="*/ 216121 w 474348"/>
                  <a:gd name="connsiteY1" fmla="*/ 0 h 670154"/>
                  <a:gd name="connsiteX2" fmla="*/ 314250 w 474348"/>
                  <a:gd name="connsiteY2" fmla="*/ 25070 h 670154"/>
                  <a:gd name="connsiteX3" fmla="*/ 474348 w 474348"/>
                  <a:gd name="connsiteY3" fmla="*/ 217539 h 670154"/>
                  <a:gd name="connsiteX4" fmla="*/ 474348 w 474348"/>
                  <a:gd name="connsiteY4" fmla="*/ 670154 h 670154"/>
                  <a:gd name="connsiteX5" fmla="*/ 474348 w 474348"/>
                  <a:gd name="connsiteY5" fmla="*/ 670154 h 670154"/>
                  <a:gd name="connsiteX6" fmla="*/ 248129 w 474348"/>
                  <a:gd name="connsiteY6" fmla="*/ 670154 h 670154"/>
                  <a:gd name="connsiteX7" fmla="*/ 0 w 474348"/>
                  <a:gd name="connsiteY7" fmla="*/ 670154 h 670154"/>
                  <a:gd name="connsiteX8" fmla="*/ 0 w 474348"/>
                  <a:gd name="connsiteY8" fmla="*/ 670154 h 670154"/>
                  <a:gd name="connsiteX9" fmla="*/ 0 w 474348"/>
                  <a:gd name="connsiteY9" fmla="*/ 217539 h 670154"/>
                  <a:gd name="connsiteX10" fmla="*/ 148557 w 474348"/>
                  <a:gd name="connsiteY10" fmla="*/ 27264 h 670154"/>
                  <a:gd name="connsiteX0" fmla="*/ 148557 w 474348"/>
                  <a:gd name="connsiteY0" fmla="*/ 20950 h 663840"/>
                  <a:gd name="connsiteX1" fmla="*/ 214238 w 474348"/>
                  <a:gd name="connsiteY1" fmla="*/ 0 h 663840"/>
                  <a:gd name="connsiteX2" fmla="*/ 314250 w 474348"/>
                  <a:gd name="connsiteY2" fmla="*/ 18756 h 663840"/>
                  <a:gd name="connsiteX3" fmla="*/ 474348 w 474348"/>
                  <a:gd name="connsiteY3" fmla="*/ 211225 h 663840"/>
                  <a:gd name="connsiteX4" fmla="*/ 474348 w 474348"/>
                  <a:gd name="connsiteY4" fmla="*/ 663840 h 663840"/>
                  <a:gd name="connsiteX5" fmla="*/ 474348 w 474348"/>
                  <a:gd name="connsiteY5" fmla="*/ 663840 h 663840"/>
                  <a:gd name="connsiteX6" fmla="*/ 248129 w 474348"/>
                  <a:gd name="connsiteY6" fmla="*/ 663840 h 663840"/>
                  <a:gd name="connsiteX7" fmla="*/ 0 w 474348"/>
                  <a:gd name="connsiteY7" fmla="*/ 663840 h 663840"/>
                  <a:gd name="connsiteX8" fmla="*/ 0 w 474348"/>
                  <a:gd name="connsiteY8" fmla="*/ 663840 h 663840"/>
                  <a:gd name="connsiteX9" fmla="*/ 0 w 474348"/>
                  <a:gd name="connsiteY9" fmla="*/ 211225 h 663840"/>
                  <a:gd name="connsiteX10" fmla="*/ 148557 w 474348"/>
                  <a:gd name="connsiteY10" fmla="*/ 20950 h 663840"/>
                  <a:gd name="connsiteX0" fmla="*/ 148557 w 474348"/>
                  <a:gd name="connsiteY0" fmla="*/ 20950 h 663840"/>
                  <a:gd name="connsiteX1" fmla="*/ 214238 w 474348"/>
                  <a:gd name="connsiteY1" fmla="*/ 0 h 663840"/>
                  <a:gd name="connsiteX2" fmla="*/ 314250 w 474348"/>
                  <a:gd name="connsiteY2" fmla="*/ 18756 h 663840"/>
                  <a:gd name="connsiteX3" fmla="*/ 474348 w 474348"/>
                  <a:gd name="connsiteY3" fmla="*/ 211225 h 663840"/>
                  <a:gd name="connsiteX4" fmla="*/ 474348 w 474348"/>
                  <a:gd name="connsiteY4" fmla="*/ 663840 h 663840"/>
                  <a:gd name="connsiteX5" fmla="*/ 474348 w 474348"/>
                  <a:gd name="connsiteY5" fmla="*/ 663840 h 663840"/>
                  <a:gd name="connsiteX6" fmla="*/ 248129 w 474348"/>
                  <a:gd name="connsiteY6" fmla="*/ 663840 h 663840"/>
                  <a:gd name="connsiteX7" fmla="*/ 0 w 474348"/>
                  <a:gd name="connsiteY7" fmla="*/ 663840 h 663840"/>
                  <a:gd name="connsiteX8" fmla="*/ 0 w 474348"/>
                  <a:gd name="connsiteY8" fmla="*/ 663840 h 663840"/>
                  <a:gd name="connsiteX9" fmla="*/ 0 w 474348"/>
                  <a:gd name="connsiteY9" fmla="*/ 211225 h 663840"/>
                  <a:gd name="connsiteX10" fmla="*/ 148557 w 474348"/>
                  <a:gd name="connsiteY10" fmla="*/ 20950 h 663840"/>
                  <a:gd name="connsiteX0" fmla="*/ 148557 w 474348"/>
                  <a:gd name="connsiteY0" fmla="*/ 20950 h 663840"/>
                  <a:gd name="connsiteX1" fmla="*/ 214238 w 474348"/>
                  <a:gd name="connsiteY1" fmla="*/ 0 h 663840"/>
                  <a:gd name="connsiteX2" fmla="*/ 314250 w 474348"/>
                  <a:gd name="connsiteY2" fmla="*/ 18756 h 663840"/>
                  <a:gd name="connsiteX3" fmla="*/ 474348 w 474348"/>
                  <a:gd name="connsiteY3" fmla="*/ 211225 h 663840"/>
                  <a:gd name="connsiteX4" fmla="*/ 474348 w 474348"/>
                  <a:gd name="connsiteY4" fmla="*/ 663840 h 663840"/>
                  <a:gd name="connsiteX5" fmla="*/ 474348 w 474348"/>
                  <a:gd name="connsiteY5" fmla="*/ 663840 h 663840"/>
                  <a:gd name="connsiteX6" fmla="*/ 248129 w 474348"/>
                  <a:gd name="connsiteY6" fmla="*/ 663840 h 663840"/>
                  <a:gd name="connsiteX7" fmla="*/ 0 w 474348"/>
                  <a:gd name="connsiteY7" fmla="*/ 663840 h 663840"/>
                  <a:gd name="connsiteX8" fmla="*/ 0 w 474348"/>
                  <a:gd name="connsiteY8" fmla="*/ 663840 h 663840"/>
                  <a:gd name="connsiteX9" fmla="*/ 0 w 474348"/>
                  <a:gd name="connsiteY9" fmla="*/ 211225 h 663840"/>
                  <a:gd name="connsiteX10" fmla="*/ 148557 w 474348"/>
                  <a:gd name="connsiteY10" fmla="*/ 20950 h 663840"/>
                  <a:gd name="connsiteX0" fmla="*/ 144178 w 474348"/>
                  <a:gd name="connsiteY0" fmla="*/ 22667 h 663840"/>
                  <a:gd name="connsiteX1" fmla="*/ 214238 w 474348"/>
                  <a:gd name="connsiteY1" fmla="*/ 0 h 663840"/>
                  <a:gd name="connsiteX2" fmla="*/ 314250 w 474348"/>
                  <a:gd name="connsiteY2" fmla="*/ 18756 h 663840"/>
                  <a:gd name="connsiteX3" fmla="*/ 474348 w 474348"/>
                  <a:gd name="connsiteY3" fmla="*/ 211225 h 663840"/>
                  <a:gd name="connsiteX4" fmla="*/ 474348 w 474348"/>
                  <a:gd name="connsiteY4" fmla="*/ 663840 h 663840"/>
                  <a:gd name="connsiteX5" fmla="*/ 474348 w 474348"/>
                  <a:gd name="connsiteY5" fmla="*/ 663840 h 663840"/>
                  <a:gd name="connsiteX6" fmla="*/ 248129 w 474348"/>
                  <a:gd name="connsiteY6" fmla="*/ 663840 h 663840"/>
                  <a:gd name="connsiteX7" fmla="*/ 0 w 474348"/>
                  <a:gd name="connsiteY7" fmla="*/ 663840 h 663840"/>
                  <a:gd name="connsiteX8" fmla="*/ 0 w 474348"/>
                  <a:gd name="connsiteY8" fmla="*/ 663840 h 663840"/>
                  <a:gd name="connsiteX9" fmla="*/ 0 w 474348"/>
                  <a:gd name="connsiteY9" fmla="*/ 211225 h 663840"/>
                  <a:gd name="connsiteX10" fmla="*/ 144178 w 474348"/>
                  <a:gd name="connsiteY10" fmla="*/ 22667 h 663840"/>
                  <a:gd name="connsiteX0" fmla="*/ 144178 w 474348"/>
                  <a:gd name="connsiteY0" fmla="*/ 22667 h 663840"/>
                  <a:gd name="connsiteX1" fmla="*/ 214238 w 474348"/>
                  <a:gd name="connsiteY1" fmla="*/ 0 h 663840"/>
                  <a:gd name="connsiteX2" fmla="*/ 314250 w 474348"/>
                  <a:gd name="connsiteY2" fmla="*/ 18756 h 663840"/>
                  <a:gd name="connsiteX3" fmla="*/ 474348 w 474348"/>
                  <a:gd name="connsiteY3" fmla="*/ 211225 h 663840"/>
                  <a:gd name="connsiteX4" fmla="*/ 474348 w 474348"/>
                  <a:gd name="connsiteY4" fmla="*/ 663840 h 663840"/>
                  <a:gd name="connsiteX5" fmla="*/ 474348 w 474348"/>
                  <a:gd name="connsiteY5" fmla="*/ 663840 h 663840"/>
                  <a:gd name="connsiteX6" fmla="*/ 248129 w 474348"/>
                  <a:gd name="connsiteY6" fmla="*/ 663840 h 663840"/>
                  <a:gd name="connsiteX7" fmla="*/ 0 w 474348"/>
                  <a:gd name="connsiteY7" fmla="*/ 663840 h 663840"/>
                  <a:gd name="connsiteX8" fmla="*/ 0 w 474348"/>
                  <a:gd name="connsiteY8" fmla="*/ 663840 h 663840"/>
                  <a:gd name="connsiteX9" fmla="*/ 0 w 474348"/>
                  <a:gd name="connsiteY9" fmla="*/ 211225 h 663840"/>
                  <a:gd name="connsiteX10" fmla="*/ 144178 w 474348"/>
                  <a:gd name="connsiteY10" fmla="*/ 22667 h 663840"/>
                  <a:gd name="connsiteX0" fmla="*/ 144178 w 474348"/>
                  <a:gd name="connsiteY0" fmla="*/ 22667 h 663840"/>
                  <a:gd name="connsiteX1" fmla="*/ 214238 w 474348"/>
                  <a:gd name="connsiteY1" fmla="*/ 0 h 663840"/>
                  <a:gd name="connsiteX2" fmla="*/ 314250 w 474348"/>
                  <a:gd name="connsiteY2" fmla="*/ 18756 h 663840"/>
                  <a:gd name="connsiteX3" fmla="*/ 474348 w 474348"/>
                  <a:gd name="connsiteY3" fmla="*/ 211225 h 663840"/>
                  <a:gd name="connsiteX4" fmla="*/ 474348 w 474348"/>
                  <a:gd name="connsiteY4" fmla="*/ 663840 h 663840"/>
                  <a:gd name="connsiteX5" fmla="*/ 474348 w 474348"/>
                  <a:gd name="connsiteY5" fmla="*/ 663840 h 663840"/>
                  <a:gd name="connsiteX6" fmla="*/ 248129 w 474348"/>
                  <a:gd name="connsiteY6" fmla="*/ 663840 h 663840"/>
                  <a:gd name="connsiteX7" fmla="*/ 0 w 474348"/>
                  <a:gd name="connsiteY7" fmla="*/ 663840 h 663840"/>
                  <a:gd name="connsiteX8" fmla="*/ 0 w 474348"/>
                  <a:gd name="connsiteY8" fmla="*/ 663840 h 663840"/>
                  <a:gd name="connsiteX9" fmla="*/ 0 w 474348"/>
                  <a:gd name="connsiteY9" fmla="*/ 211225 h 663840"/>
                  <a:gd name="connsiteX10" fmla="*/ 144178 w 474348"/>
                  <a:gd name="connsiteY10" fmla="*/ 22667 h 663840"/>
                  <a:gd name="connsiteX0" fmla="*/ 144178 w 474348"/>
                  <a:gd name="connsiteY0" fmla="*/ 22667 h 663840"/>
                  <a:gd name="connsiteX1" fmla="*/ 214238 w 474348"/>
                  <a:gd name="connsiteY1" fmla="*/ 0 h 663840"/>
                  <a:gd name="connsiteX2" fmla="*/ 314250 w 474348"/>
                  <a:gd name="connsiteY2" fmla="*/ 18756 h 663840"/>
                  <a:gd name="connsiteX3" fmla="*/ 474348 w 474348"/>
                  <a:gd name="connsiteY3" fmla="*/ 211225 h 663840"/>
                  <a:gd name="connsiteX4" fmla="*/ 474348 w 474348"/>
                  <a:gd name="connsiteY4" fmla="*/ 663840 h 663840"/>
                  <a:gd name="connsiteX5" fmla="*/ 474348 w 474348"/>
                  <a:gd name="connsiteY5" fmla="*/ 663840 h 663840"/>
                  <a:gd name="connsiteX6" fmla="*/ 248129 w 474348"/>
                  <a:gd name="connsiteY6" fmla="*/ 663840 h 663840"/>
                  <a:gd name="connsiteX7" fmla="*/ 0 w 474348"/>
                  <a:gd name="connsiteY7" fmla="*/ 663840 h 663840"/>
                  <a:gd name="connsiteX8" fmla="*/ 0 w 474348"/>
                  <a:gd name="connsiteY8" fmla="*/ 663840 h 663840"/>
                  <a:gd name="connsiteX9" fmla="*/ 0 w 474348"/>
                  <a:gd name="connsiteY9" fmla="*/ 211225 h 663840"/>
                  <a:gd name="connsiteX10" fmla="*/ 144178 w 474348"/>
                  <a:gd name="connsiteY10" fmla="*/ 22667 h 6638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74348" h="663840">
                    <a:moveTo>
                      <a:pt x="144178" y="22667"/>
                    </a:moveTo>
                    <a:cubicBezTo>
                      <a:pt x="211732" y="-970"/>
                      <a:pt x="181869" y="7990"/>
                      <a:pt x="214238" y="0"/>
                    </a:cubicBezTo>
                    <a:cubicBezTo>
                      <a:pt x="259321" y="7224"/>
                      <a:pt x="221757" y="369"/>
                      <a:pt x="314250" y="18756"/>
                    </a:cubicBezTo>
                    <a:cubicBezTo>
                      <a:pt x="399877" y="51074"/>
                      <a:pt x="474348" y="104798"/>
                      <a:pt x="474348" y="211225"/>
                    </a:cubicBezTo>
                    <a:lnTo>
                      <a:pt x="474348" y="663840"/>
                    </a:lnTo>
                    <a:lnTo>
                      <a:pt x="474348" y="663840"/>
                    </a:lnTo>
                    <a:lnTo>
                      <a:pt x="248129" y="663840"/>
                    </a:lnTo>
                    <a:lnTo>
                      <a:pt x="0" y="663840"/>
                    </a:lnTo>
                    <a:lnTo>
                      <a:pt x="0" y="663840"/>
                    </a:lnTo>
                    <a:lnTo>
                      <a:pt x="0" y="211225"/>
                    </a:lnTo>
                    <a:cubicBezTo>
                      <a:pt x="0" y="104798"/>
                      <a:pt x="80700" y="56026"/>
                      <a:pt x="144178" y="22667"/>
                    </a:cubicBezTo>
                    <a:close/>
                  </a:path>
                </a:pathLst>
              </a:cu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76" name="Round Same Side Corner Rectangle 11"/>
              <p:cNvSpPr/>
              <p:nvPr/>
            </p:nvSpPr>
            <p:spPr>
              <a:xfrm rot="16200000">
                <a:off x="6912899" y="2339184"/>
                <a:ext cx="101418" cy="1051827"/>
              </a:xfrm>
              <a:custGeom>
                <a:avLst/>
                <a:gdLst>
                  <a:gd name="connsiteX0" fmla="*/ 192704 w 474348"/>
                  <a:gd name="connsiteY0" fmla="*/ 0 h 645319"/>
                  <a:gd name="connsiteX1" fmla="*/ 281644 w 474348"/>
                  <a:gd name="connsiteY1" fmla="*/ 0 h 645319"/>
                  <a:gd name="connsiteX2" fmla="*/ 474348 w 474348"/>
                  <a:gd name="connsiteY2" fmla="*/ 192704 h 645319"/>
                  <a:gd name="connsiteX3" fmla="*/ 474348 w 474348"/>
                  <a:gd name="connsiteY3" fmla="*/ 645319 h 645319"/>
                  <a:gd name="connsiteX4" fmla="*/ 474348 w 474348"/>
                  <a:gd name="connsiteY4" fmla="*/ 645319 h 645319"/>
                  <a:gd name="connsiteX5" fmla="*/ 0 w 474348"/>
                  <a:gd name="connsiteY5" fmla="*/ 645319 h 645319"/>
                  <a:gd name="connsiteX6" fmla="*/ 0 w 474348"/>
                  <a:gd name="connsiteY6" fmla="*/ 645319 h 645319"/>
                  <a:gd name="connsiteX7" fmla="*/ 0 w 474348"/>
                  <a:gd name="connsiteY7" fmla="*/ 192704 h 645319"/>
                  <a:gd name="connsiteX8" fmla="*/ 192704 w 474348"/>
                  <a:gd name="connsiteY8" fmla="*/ 0 h 645319"/>
                  <a:gd name="connsiteX0" fmla="*/ 192704 w 474348"/>
                  <a:gd name="connsiteY0" fmla="*/ 0 h 645319"/>
                  <a:gd name="connsiteX1" fmla="*/ 281644 w 474348"/>
                  <a:gd name="connsiteY1" fmla="*/ 0 h 645319"/>
                  <a:gd name="connsiteX2" fmla="*/ 474348 w 474348"/>
                  <a:gd name="connsiteY2" fmla="*/ 192704 h 645319"/>
                  <a:gd name="connsiteX3" fmla="*/ 474348 w 474348"/>
                  <a:gd name="connsiteY3" fmla="*/ 645319 h 645319"/>
                  <a:gd name="connsiteX4" fmla="*/ 474348 w 474348"/>
                  <a:gd name="connsiteY4" fmla="*/ 645319 h 645319"/>
                  <a:gd name="connsiteX5" fmla="*/ 248129 w 474348"/>
                  <a:gd name="connsiteY5" fmla="*/ 645319 h 645319"/>
                  <a:gd name="connsiteX6" fmla="*/ 0 w 474348"/>
                  <a:gd name="connsiteY6" fmla="*/ 645319 h 645319"/>
                  <a:gd name="connsiteX7" fmla="*/ 0 w 474348"/>
                  <a:gd name="connsiteY7" fmla="*/ 645319 h 645319"/>
                  <a:gd name="connsiteX8" fmla="*/ 0 w 474348"/>
                  <a:gd name="connsiteY8" fmla="*/ 192704 h 645319"/>
                  <a:gd name="connsiteX9" fmla="*/ 192704 w 474348"/>
                  <a:gd name="connsiteY9" fmla="*/ 0 h 645319"/>
                  <a:gd name="connsiteX0" fmla="*/ 192704 w 474348"/>
                  <a:gd name="connsiteY0" fmla="*/ 2381 h 647700"/>
                  <a:gd name="connsiteX1" fmla="*/ 240986 w 474348"/>
                  <a:gd name="connsiteY1" fmla="*/ 0 h 647700"/>
                  <a:gd name="connsiteX2" fmla="*/ 281644 w 474348"/>
                  <a:gd name="connsiteY2" fmla="*/ 2381 h 647700"/>
                  <a:gd name="connsiteX3" fmla="*/ 474348 w 474348"/>
                  <a:gd name="connsiteY3" fmla="*/ 195085 h 647700"/>
                  <a:gd name="connsiteX4" fmla="*/ 474348 w 474348"/>
                  <a:gd name="connsiteY4" fmla="*/ 647700 h 647700"/>
                  <a:gd name="connsiteX5" fmla="*/ 474348 w 474348"/>
                  <a:gd name="connsiteY5" fmla="*/ 647700 h 647700"/>
                  <a:gd name="connsiteX6" fmla="*/ 248129 w 474348"/>
                  <a:gd name="connsiteY6" fmla="*/ 647700 h 647700"/>
                  <a:gd name="connsiteX7" fmla="*/ 0 w 474348"/>
                  <a:gd name="connsiteY7" fmla="*/ 647700 h 647700"/>
                  <a:gd name="connsiteX8" fmla="*/ 0 w 474348"/>
                  <a:gd name="connsiteY8" fmla="*/ 647700 h 647700"/>
                  <a:gd name="connsiteX9" fmla="*/ 0 w 474348"/>
                  <a:gd name="connsiteY9" fmla="*/ 195085 h 647700"/>
                  <a:gd name="connsiteX10" fmla="*/ 192704 w 474348"/>
                  <a:gd name="connsiteY10" fmla="*/ 2381 h 647700"/>
                  <a:gd name="connsiteX0" fmla="*/ 192704 w 474348"/>
                  <a:gd name="connsiteY0" fmla="*/ 42862 h 688181"/>
                  <a:gd name="connsiteX1" fmla="*/ 240986 w 474348"/>
                  <a:gd name="connsiteY1" fmla="*/ 0 h 688181"/>
                  <a:gd name="connsiteX2" fmla="*/ 281644 w 474348"/>
                  <a:gd name="connsiteY2" fmla="*/ 42862 h 688181"/>
                  <a:gd name="connsiteX3" fmla="*/ 474348 w 474348"/>
                  <a:gd name="connsiteY3" fmla="*/ 235566 h 688181"/>
                  <a:gd name="connsiteX4" fmla="*/ 474348 w 474348"/>
                  <a:gd name="connsiteY4" fmla="*/ 688181 h 688181"/>
                  <a:gd name="connsiteX5" fmla="*/ 474348 w 474348"/>
                  <a:gd name="connsiteY5" fmla="*/ 688181 h 688181"/>
                  <a:gd name="connsiteX6" fmla="*/ 248129 w 474348"/>
                  <a:gd name="connsiteY6" fmla="*/ 688181 h 688181"/>
                  <a:gd name="connsiteX7" fmla="*/ 0 w 474348"/>
                  <a:gd name="connsiteY7" fmla="*/ 688181 h 688181"/>
                  <a:gd name="connsiteX8" fmla="*/ 0 w 474348"/>
                  <a:gd name="connsiteY8" fmla="*/ 688181 h 688181"/>
                  <a:gd name="connsiteX9" fmla="*/ 0 w 474348"/>
                  <a:gd name="connsiteY9" fmla="*/ 235566 h 688181"/>
                  <a:gd name="connsiteX10" fmla="*/ 192704 w 474348"/>
                  <a:gd name="connsiteY10" fmla="*/ 42862 h 688181"/>
                  <a:gd name="connsiteX0" fmla="*/ 192704 w 474348"/>
                  <a:gd name="connsiteY0" fmla="*/ 23812 h 669131"/>
                  <a:gd name="connsiteX1" fmla="*/ 265690 w 474348"/>
                  <a:gd name="connsiteY1" fmla="*/ 0 h 669131"/>
                  <a:gd name="connsiteX2" fmla="*/ 281644 w 474348"/>
                  <a:gd name="connsiteY2" fmla="*/ 23812 h 669131"/>
                  <a:gd name="connsiteX3" fmla="*/ 474348 w 474348"/>
                  <a:gd name="connsiteY3" fmla="*/ 216516 h 669131"/>
                  <a:gd name="connsiteX4" fmla="*/ 474348 w 474348"/>
                  <a:gd name="connsiteY4" fmla="*/ 669131 h 669131"/>
                  <a:gd name="connsiteX5" fmla="*/ 474348 w 474348"/>
                  <a:gd name="connsiteY5" fmla="*/ 669131 h 669131"/>
                  <a:gd name="connsiteX6" fmla="*/ 248129 w 474348"/>
                  <a:gd name="connsiteY6" fmla="*/ 669131 h 669131"/>
                  <a:gd name="connsiteX7" fmla="*/ 0 w 474348"/>
                  <a:gd name="connsiteY7" fmla="*/ 669131 h 669131"/>
                  <a:gd name="connsiteX8" fmla="*/ 0 w 474348"/>
                  <a:gd name="connsiteY8" fmla="*/ 669131 h 669131"/>
                  <a:gd name="connsiteX9" fmla="*/ 0 w 474348"/>
                  <a:gd name="connsiteY9" fmla="*/ 216516 h 669131"/>
                  <a:gd name="connsiteX10" fmla="*/ 192704 w 474348"/>
                  <a:gd name="connsiteY10" fmla="*/ 23812 h 669131"/>
                  <a:gd name="connsiteX0" fmla="*/ 192704 w 474348"/>
                  <a:gd name="connsiteY0" fmla="*/ 23812 h 669131"/>
                  <a:gd name="connsiteX1" fmla="*/ 265690 w 474348"/>
                  <a:gd name="connsiteY1" fmla="*/ 0 h 669131"/>
                  <a:gd name="connsiteX2" fmla="*/ 281644 w 474348"/>
                  <a:gd name="connsiteY2" fmla="*/ 23812 h 669131"/>
                  <a:gd name="connsiteX3" fmla="*/ 474348 w 474348"/>
                  <a:gd name="connsiteY3" fmla="*/ 216516 h 669131"/>
                  <a:gd name="connsiteX4" fmla="*/ 474348 w 474348"/>
                  <a:gd name="connsiteY4" fmla="*/ 669131 h 669131"/>
                  <a:gd name="connsiteX5" fmla="*/ 474348 w 474348"/>
                  <a:gd name="connsiteY5" fmla="*/ 669131 h 669131"/>
                  <a:gd name="connsiteX6" fmla="*/ 248129 w 474348"/>
                  <a:gd name="connsiteY6" fmla="*/ 669131 h 669131"/>
                  <a:gd name="connsiteX7" fmla="*/ 0 w 474348"/>
                  <a:gd name="connsiteY7" fmla="*/ 669131 h 669131"/>
                  <a:gd name="connsiteX8" fmla="*/ 0 w 474348"/>
                  <a:gd name="connsiteY8" fmla="*/ 669131 h 669131"/>
                  <a:gd name="connsiteX9" fmla="*/ 0 w 474348"/>
                  <a:gd name="connsiteY9" fmla="*/ 216516 h 669131"/>
                  <a:gd name="connsiteX10" fmla="*/ 192704 w 474348"/>
                  <a:gd name="connsiteY10" fmla="*/ 23812 h 669131"/>
                  <a:gd name="connsiteX0" fmla="*/ 192704 w 474348"/>
                  <a:gd name="connsiteY0" fmla="*/ 23812 h 669131"/>
                  <a:gd name="connsiteX1" fmla="*/ 265690 w 474348"/>
                  <a:gd name="connsiteY1" fmla="*/ 0 h 669131"/>
                  <a:gd name="connsiteX2" fmla="*/ 281644 w 474348"/>
                  <a:gd name="connsiteY2" fmla="*/ 23812 h 669131"/>
                  <a:gd name="connsiteX3" fmla="*/ 474348 w 474348"/>
                  <a:gd name="connsiteY3" fmla="*/ 216516 h 669131"/>
                  <a:gd name="connsiteX4" fmla="*/ 474348 w 474348"/>
                  <a:gd name="connsiteY4" fmla="*/ 669131 h 669131"/>
                  <a:gd name="connsiteX5" fmla="*/ 474348 w 474348"/>
                  <a:gd name="connsiteY5" fmla="*/ 669131 h 669131"/>
                  <a:gd name="connsiteX6" fmla="*/ 248129 w 474348"/>
                  <a:gd name="connsiteY6" fmla="*/ 669131 h 669131"/>
                  <a:gd name="connsiteX7" fmla="*/ 0 w 474348"/>
                  <a:gd name="connsiteY7" fmla="*/ 669131 h 669131"/>
                  <a:gd name="connsiteX8" fmla="*/ 0 w 474348"/>
                  <a:gd name="connsiteY8" fmla="*/ 669131 h 669131"/>
                  <a:gd name="connsiteX9" fmla="*/ 0 w 474348"/>
                  <a:gd name="connsiteY9" fmla="*/ 216516 h 669131"/>
                  <a:gd name="connsiteX10" fmla="*/ 192704 w 474348"/>
                  <a:gd name="connsiteY10" fmla="*/ 23812 h 669131"/>
                  <a:gd name="connsiteX0" fmla="*/ 192704 w 474348"/>
                  <a:gd name="connsiteY0" fmla="*/ 23812 h 669131"/>
                  <a:gd name="connsiteX1" fmla="*/ 265690 w 474348"/>
                  <a:gd name="connsiteY1" fmla="*/ 0 h 669131"/>
                  <a:gd name="connsiteX2" fmla="*/ 314250 w 474348"/>
                  <a:gd name="connsiteY2" fmla="*/ 24047 h 669131"/>
                  <a:gd name="connsiteX3" fmla="*/ 474348 w 474348"/>
                  <a:gd name="connsiteY3" fmla="*/ 216516 h 669131"/>
                  <a:gd name="connsiteX4" fmla="*/ 474348 w 474348"/>
                  <a:gd name="connsiteY4" fmla="*/ 669131 h 669131"/>
                  <a:gd name="connsiteX5" fmla="*/ 474348 w 474348"/>
                  <a:gd name="connsiteY5" fmla="*/ 669131 h 669131"/>
                  <a:gd name="connsiteX6" fmla="*/ 248129 w 474348"/>
                  <a:gd name="connsiteY6" fmla="*/ 669131 h 669131"/>
                  <a:gd name="connsiteX7" fmla="*/ 0 w 474348"/>
                  <a:gd name="connsiteY7" fmla="*/ 669131 h 669131"/>
                  <a:gd name="connsiteX8" fmla="*/ 0 w 474348"/>
                  <a:gd name="connsiteY8" fmla="*/ 669131 h 669131"/>
                  <a:gd name="connsiteX9" fmla="*/ 0 w 474348"/>
                  <a:gd name="connsiteY9" fmla="*/ 216516 h 669131"/>
                  <a:gd name="connsiteX10" fmla="*/ 192704 w 474348"/>
                  <a:gd name="connsiteY10" fmla="*/ 23812 h 669131"/>
                  <a:gd name="connsiteX0" fmla="*/ 192704 w 474348"/>
                  <a:gd name="connsiteY0" fmla="*/ 23812 h 669131"/>
                  <a:gd name="connsiteX1" fmla="*/ 265690 w 474348"/>
                  <a:gd name="connsiteY1" fmla="*/ 0 h 669131"/>
                  <a:gd name="connsiteX2" fmla="*/ 314250 w 474348"/>
                  <a:gd name="connsiteY2" fmla="*/ 24047 h 669131"/>
                  <a:gd name="connsiteX3" fmla="*/ 474348 w 474348"/>
                  <a:gd name="connsiteY3" fmla="*/ 216516 h 669131"/>
                  <a:gd name="connsiteX4" fmla="*/ 474348 w 474348"/>
                  <a:gd name="connsiteY4" fmla="*/ 669131 h 669131"/>
                  <a:gd name="connsiteX5" fmla="*/ 474348 w 474348"/>
                  <a:gd name="connsiteY5" fmla="*/ 669131 h 669131"/>
                  <a:gd name="connsiteX6" fmla="*/ 248129 w 474348"/>
                  <a:gd name="connsiteY6" fmla="*/ 669131 h 669131"/>
                  <a:gd name="connsiteX7" fmla="*/ 0 w 474348"/>
                  <a:gd name="connsiteY7" fmla="*/ 669131 h 669131"/>
                  <a:gd name="connsiteX8" fmla="*/ 0 w 474348"/>
                  <a:gd name="connsiteY8" fmla="*/ 669131 h 669131"/>
                  <a:gd name="connsiteX9" fmla="*/ 0 w 474348"/>
                  <a:gd name="connsiteY9" fmla="*/ 216516 h 669131"/>
                  <a:gd name="connsiteX10" fmla="*/ 192704 w 474348"/>
                  <a:gd name="connsiteY10" fmla="*/ 23812 h 669131"/>
                  <a:gd name="connsiteX0" fmla="*/ 192704 w 474348"/>
                  <a:gd name="connsiteY0" fmla="*/ 23812 h 669131"/>
                  <a:gd name="connsiteX1" fmla="*/ 265690 w 474348"/>
                  <a:gd name="connsiteY1" fmla="*/ 0 h 669131"/>
                  <a:gd name="connsiteX2" fmla="*/ 314250 w 474348"/>
                  <a:gd name="connsiteY2" fmla="*/ 24047 h 669131"/>
                  <a:gd name="connsiteX3" fmla="*/ 474348 w 474348"/>
                  <a:gd name="connsiteY3" fmla="*/ 216516 h 669131"/>
                  <a:gd name="connsiteX4" fmla="*/ 474348 w 474348"/>
                  <a:gd name="connsiteY4" fmla="*/ 669131 h 669131"/>
                  <a:gd name="connsiteX5" fmla="*/ 474348 w 474348"/>
                  <a:gd name="connsiteY5" fmla="*/ 669131 h 669131"/>
                  <a:gd name="connsiteX6" fmla="*/ 248129 w 474348"/>
                  <a:gd name="connsiteY6" fmla="*/ 669131 h 669131"/>
                  <a:gd name="connsiteX7" fmla="*/ 0 w 474348"/>
                  <a:gd name="connsiteY7" fmla="*/ 669131 h 669131"/>
                  <a:gd name="connsiteX8" fmla="*/ 0 w 474348"/>
                  <a:gd name="connsiteY8" fmla="*/ 669131 h 669131"/>
                  <a:gd name="connsiteX9" fmla="*/ 0 w 474348"/>
                  <a:gd name="connsiteY9" fmla="*/ 216516 h 669131"/>
                  <a:gd name="connsiteX10" fmla="*/ 192704 w 474348"/>
                  <a:gd name="connsiteY10" fmla="*/ 23812 h 669131"/>
                  <a:gd name="connsiteX0" fmla="*/ 174282 w 474348"/>
                  <a:gd name="connsiteY0" fmla="*/ 23596 h 669131"/>
                  <a:gd name="connsiteX1" fmla="*/ 265690 w 474348"/>
                  <a:gd name="connsiteY1" fmla="*/ 0 h 669131"/>
                  <a:gd name="connsiteX2" fmla="*/ 314250 w 474348"/>
                  <a:gd name="connsiteY2" fmla="*/ 24047 h 669131"/>
                  <a:gd name="connsiteX3" fmla="*/ 474348 w 474348"/>
                  <a:gd name="connsiteY3" fmla="*/ 216516 h 669131"/>
                  <a:gd name="connsiteX4" fmla="*/ 474348 w 474348"/>
                  <a:gd name="connsiteY4" fmla="*/ 669131 h 669131"/>
                  <a:gd name="connsiteX5" fmla="*/ 474348 w 474348"/>
                  <a:gd name="connsiteY5" fmla="*/ 669131 h 669131"/>
                  <a:gd name="connsiteX6" fmla="*/ 248129 w 474348"/>
                  <a:gd name="connsiteY6" fmla="*/ 669131 h 669131"/>
                  <a:gd name="connsiteX7" fmla="*/ 0 w 474348"/>
                  <a:gd name="connsiteY7" fmla="*/ 669131 h 669131"/>
                  <a:gd name="connsiteX8" fmla="*/ 0 w 474348"/>
                  <a:gd name="connsiteY8" fmla="*/ 669131 h 669131"/>
                  <a:gd name="connsiteX9" fmla="*/ 0 w 474348"/>
                  <a:gd name="connsiteY9" fmla="*/ 216516 h 669131"/>
                  <a:gd name="connsiteX10" fmla="*/ 174282 w 474348"/>
                  <a:gd name="connsiteY10" fmla="*/ 23596 h 669131"/>
                  <a:gd name="connsiteX0" fmla="*/ 174282 w 474348"/>
                  <a:gd name="connsiteY0" fmla="*/ 24619 h 670154"/>
                  <a:gd name="connsiteX1" fmla="*/ 216121 w 474348"/>
                  <a:gd name="connsiteY1" fmla="*/ 0 h 670154"/>
                  <a:gd name="connsiteX2" fmla="*/ 314250 w 474348"/>
                  <a:gd name="connsiteY2" fmla="*/ 25070 h 670154"/>
                  <a:gd name="connsiteX3" fmla="*/ 474348 w 474348"/>
                  <a:gd name="connsiteY3" fmla="*/ 217539 h 670154"/>
                  <a:gd name="connsiteX4" fmla="*/ 474348 w 474348"/>
                  <a:gd name="connsiteY4" fmla="*/ 670154 h 670154"/>
                  <a:gd name="connsiteX5" fmla="*/ 474348 w 474348"/>
                  <a:gd name="connsiteY5" fmla="*/ 670154 h 670154"/>
                  <a:gd name="connsiteX6" fmla="*/ 248129 w 474348"/>
                  <a:gd name="connsiteY6" fmla="*/ 670154 h 670154"/>
                  <a:gd name="connsiteX7" fmla="*/ 0 w 474348"/>
                  <a:gd name="connsiteY7" fmla="*/ 670154 h 670154"/>
                  <a:gd name="connsiteX8" fmla="*/ 0 w 474348"/>
                  <a:gd name="connsiteY8" fmla="*/ 670154 h 670154"/>
                  <a:gd name="connsiteX9" fmla="*/ 0 w 474348"/>
                  <a:gd name="connsiteY9" fmla="*/ 217539 h 670154"/>
                  <a:gd name="connsiteX10" fmla="*/ 174282 w 474348"/>
                  <a:gd name="connsiteY10" fmla="*/ 24619 h 670154"/>
                  <a:gd name="connsiteX0" fmla="*/ 174282 w 474348"/>
                  <a:gd name="connsiteY0" fmla="*/ 24619 h 670154"/>
                  <a:gd name="connsiteX1" fmla="*/ 216121 w 474348"/>
                  <a:gd name="connsiteY1" fmla="*/ 0 h 670154"/>
                  <a:gd name="connsiteX2" fmla="*/ 314250 w 474348"/>
                  <a:gd name="connsiteY2" fmla="*/ 25070 h 670154"/>
                  <a:gd name="connsiteX3" fmla="*/ 474348 w 474348"/>
                  <a:gd name="connsiteY3" fmla="*/ 217539 h 670154"/>
                  <a:gd name="connsiteX4" fmla="*/ 474348 w 474348"/>
                  <a:gd name="connsiteY4" fmla="*/ 670154 h 670154"/>
                  <a:gd name="connsiteX5" fmla="*/ 474348 w 474348"/>
                  <a:gd name="connsiteY5" fmla="*/ 670154 h 670154"/>
                  <a:gd name="connsiteX6" fmla="*/ 248129 w 474348"/>
                  <a:gd name="connsiteY6" fmla="*/ 670154 h 670154"/>
                  <a:gd name="connsiteX7" fmla="*/ 0 w 474348"/>
                  <a:gd name="connsiteY7" fmla="*/ 670154 h 670154"/>
                  <a:gd name="connsiteX8" fmla="*/ 0 w 474348"/>
                  <a:gd name="connsiteY8" fmla="*/ 670154 h 670154"/>
                  <a:gd name="connsiteX9" fmla="*/ 0 w 474348"/>
                  <a:gd name="connsiteY9" fmla="*/ 217539 h 670154"/>
                  <a:gd name="connsiteX10" fmla="*/ 174282 w 474348"/>
                  <a:gd name="connsiteY10" fmla="*/ 24619 h 670154"/>
                  <a:gd name="connsiteX0" fmla="*/ 174282 w 474348"/>
                  <a:gd name="connsiteY0" fmla="*/ 24619 h 670154"/>
                  <a:gd name="connsiteX1" fmla="*/ 216121 w 474348"/>
                  <a:gd name="connsiteY1" fmla="*/ 0 h 670154"/>
                  <a:gd name="connsiteX2" fmla="*/ 314250 w 474348"/>
                  <a:gd name="connsiteY2" fmla="*/ 25070 h 670154"/>
                  <a:gd name="connsiteX3" fmla="*/ 474348 w 474348"/>
                  <a:gd name="connsiteY3" fmla="*/ 217539 h 670154"/>
                  <a:gd name="connsiteX4" fmla="*/ 474348 w 474348"/>
                  <a:gd name="connsiteY4" fmla="*/ 670154 h 670154"/>
                  <a:gd name="connsiteX5" fmla="*/ 474348 w 474348"/>
                  <a:gd name="connsiteY5" fmla="*/ 670154 h 670154"/>
                  <a:gd name="connsiteX6" fmla="*/ 248129 w 474348"/>
                  <a:gd name="connsiteY6" fmla="*/ 670154 h 670154"/>
                  <a:gd name="connsiteX7" fmla="*/ 0 w 474348"/>
                  <a:gd name="connsiteY7" fmla="*/ 670154 h 670154"/>
                  <a:gd name="connsiteX8" fmla="*/ 0 w 474348"/>
                  <a:gd name="connsiteY8" fmla="*/ 670154 h 670154"/>
                  <a:gd name="connsiteX9" fmla="*/ 0 w 474348"/>
                  <a:gd name="connsiteY9" fmla="*/ 217539 h 670154"/>
                  <a:gd name="connsiteX10" fmla="*/ 174282 w 474348"/>
                  <a:gd name="connsiteY10" fmla="*/ 24619 h 670154"/>
                  <a:gd name="connsiteX0" fmla="*/ 174282 w 474348"/>
                  <a:gd name="connsiteY0" fmla="*/ 24619 h 670154"/>
                  <a:gd name="connsiteX1" fmla="*/ 216121 w 474348"/>
                  <a:gd name="connsiteY1" fmla="*/ 0 h 670154"/>
                  <a:gd name="connsiteX2" fmla="*/ 314250 w 474348"/>
                  <a:gd name="connsiteY2" fmla="*/ 25070 h 670154"/>
                  <a:gd name="connsiteX3" fmla="*/ 474348 w 474348"/>
                  <a:gd name="connsiteY3" fmla="*/ 217539 h 670154"/>
                  <a:gd name="connsiteX4" fmla="*/ 474348 w 474348"/>
                  <a:gd name="connsiteY4" fmla="*/ 670154 h 670154"/>
                  <a:gd name="connsiteX5" fmla="*/ 474348 w 474348"/>
                  <a:gd name="connsiteY5" fmla="*/ 670154 h 670154"/>
                  <a:gd name="connsiteX6" fmla="*/ 248129 w 474348"/>
                  <a:gd name="connsiteY6" fmla="*/ 670154 h 670154"/>
                  <a:gd name="connsiteX7" fmla="*/ 0 w 474348"/>
                  <a:gd name="connsiteY7" fmla="*/ 670154 h 670154"/>
                  <a:gd name="connsiteX8" fmla="*/ 0 w 474348"/>
                  <a:gd name="connsiteY8" fmla="*/ 670154 h 670154"/>
                  <a:gd name="connsiteX9" fmla="*/ 0 w 474348"/>
                  <a:gd name="connsiteY9" fmla="*/ 217539 h 670154"/>
                  <a:gd name="connsiteX10" fmla="*/ 174282 w 474348"/>
                  <a:gd name="connsiteY10" fmla="*/ 24619 h 670154"/>
                  <a:gd name="connsiteX0" fmla="*/ 148557 w 474348"/>
                  <a:gd name="connsiteY0" fmla="*/ 27264 h 670154"/>
                  <a:gd name="connsiteX1" fmla="*/ 216121 w 474348"/>
                  <a:gd name="connsiteY1" fmla="*/ 0 h 670154"/>
                  <a:gd name="connsiteX2" fmla="*/ 314250 w 474348"/>
                  <a:gd name="connsiteY2" fmla="*/ 25070 h 670154"/>
                  <a:gd name="connsiteX3" fmla="*/ 474348 w 474348"/>
                  <a:gd name="connsiteY3" fmla="*/ 217539 h 670154"/>
                  <a:gd name="connsiteX4" fmla="*/ 474348 w 474348"/>
                  <a:gd name="connsiteY4" fmla="*/ 670154 h 670154"/>
                  <a:gd name="connsiteX5" fmla="*/ 474348 w 474348"/>
                  <a:gd name="connsiteY5" fmla="*/ 670154 h 670154"/>
                  <a:gd name="connsiteX6" fmla="*/ 248129 w 474348"/>
                  <a:gd name="connsiteY6" fmla="*/ 670154 h 670154"/>
                  <a:gd name="connsiteX7" fmla="*/ 0 w 474348"/>
                  <a:gd name="connsiteY7" fmla="*/ 670154 h 670154"/>
                  <a:gd name="connsiteX8" fmla="*/ 0 w 474348"/>
                  <a:gd name="connsiteY8" fmla="*/ 670154 h 670154"/>
                  <a:gd name="connsiteX9" fmla="*/ 0 w 474348"/>
                  <a:gd name="connsiteY9" fmla="*/ 217539 h 670154"/>
                  <a:gd name="connsiteX10" fmla="*/ 148557 w 474348"/>
                  <a:gd name="connsiteY10" fmla="*/ 27264 h 670154"/>
                  <a:gd name="connsiteX0" fmla="*/ 148557 w 474348"/>
                  <a:gd name="connsiteY0" fmla="*/ 20950 h 663840"/>
                  <a:gd name="connsiteX1" fmla="*/ 214238 w 474348"/>
                  <a:gd name="connsiteY1" fmla="*/ 0 h 663840"/>
                  <a:gd name="connsiteX2" fmla="*/ 314250 w 474348"/>
                  <a:gd name="connsiteY2" fmla="*/ 18756 h 663840"/>
                  <a:gd name="connsiteX3" fmla="*/ 474348 w 474348"/>
                  <a:gd name="connsiteY3" fmla="*/ 211225 h 663840"/>
                  <a:gd name="connsiteX4" fmla="*/ 474348 w 474348"/>
                  <a:gd name="connsiteY4" fmla="*/ 663840 h 663840"/>
                  <a:gd name="connsiteX5" fmla="*/ 474348 w 474348"/>
                  <a:gd name="connsiteY5" fmla="*/ 663840 h 663840"/>
                  <a:gd name="connsiteX6" fmla="*/ 248129 w 474348"/>
                  <a:gd name="connsiteY6" fmla="*/ 663840 h 663840"/>
                  <a:gd name="connsiteX7" fmla="*/ 0 w 474348"/>
                  <a:gd name="connsiteY7" fmla="*/ 663840 h 663840"/>
                  <a:gd name="connsiteX8" fmla="*/ 0 w 474348"/>
                  <a:gd name="connsiteY8" fmla="*/ 663840 h 663840"/>
                  <a:gd name="connsiteX9" fmla="*/ 0 w 474348"/>
                  <a:gd name="connsiteY9" fmla="*/ 211225 h 663840"/>
                  <a:gd name="connsiteX10" fmla="*/ 148557 w 474348"/>
                  <a:gd name="connsiteY10" fmla="*/ 20950 h 663840"/>
                  <a:gd name="connsiteX0" fmla="*/ 148557 w 474348"/>
                  <a:gd name="connsiteY0" fmla="*/ 20950 h 663840"/>
                  <a:gd name="connsiteX1" fmla="*/ 214238 w 474348"/>
                  <a:gd name="connsiteY1" fmla="*/ 0 h 663840"/>
                  <a:gd name="connsiteX2" fmla="*/ 314250 w 474348"/>
                  <a:gd name="connsiteY2" fmla="*/ 18756 h 663840"/>
                  <a:gd name="connsiteX3" fmla="*/ 474348 w 474348"/>
                  <a:gd name="connsiteY3" fmla="*/ 211225 h 663840"/>
                  <a:gd name="connsiteX4" fmla="*/ 474348 w 474348"/>
                  <a:gd name="connsiteY4" fmla="*/ 663840 h 663840"/>
                  <a:gd name="connsiteX5" fmla="*/ 474348 w 474348"/>
                  <a:gd name="connsiteY5" fmla="*/ 663840 h 663840"/>
                  <a:gd name="connsiteX6" fmla="*/ 248129 w 474348"/>
                  <a:gd name="connsiteY6" fmla="*/ 663840 h 663840"/>
                  <a:gd name="connsiteX7" fmla="*/ 0 w 474348"/>
                  <a:gd name="connsiteY7" fmla="*/ 663840 h 663840"/>
                  <a:gd name="connsiteX8" fmla="*/ 0 w 474348"/>
                  <a:gd name="connsiteY8" fmla="*/ 663840 h 663840"/>
                  <a:gd name="connsiteX9" fmla="*/ 0 w 474348"/>
                  <a:gd name="connsiteY9" fmla="*/ 211225 h 663840"/>
                  <a:gd name="connsiteX10" fmla="*/ 148557 w 474348"/>
                  <a:gd name="connsiteY10" fmla="*/ 20950 h 663840"/>
                  <a:gd name="connsiteX0" fmla="*/ 148557 w 474348"/>
                  <a:gd name="connsiteY0" fmla="*/ 20950 h 663840"/>
                  <a:gd name="connsiteX1" fmla="*/ 214238 w 474348"/>
                  <a:gd name="connsiteY1" fmla="*/ 0 h 663840"/>
                  <a:gd name="connsiteX2" fmla="*/ 314250 w 474348"/>
                  <a:gd name="connsiteY2" fmla="*/ 18756 h 663840"/>
                  <a:gd name="connsiteX3" fmla="*/ 474348 w 474348"/>
                  <a:gd name="connsiteY3" fmla="*/ 211225 h 663840"/>
                  <a:gd name="connsiteX4" fmla="*/ 474348 w 474348"/>
                  <a:gd name="connsiteY4" fmla="*/ 663840 h 663840"/>
                  <a:gd name="connsiteX5" fmla="*/ 474348 w 474348"/>
                  <a:gd name="connsiteY5" fmla="*/ 663840 h 663840"/>
                  <a:gd name="connsiteX6" fmla="*/ 248129 w 474348"/>
                  <a:gd name="connsiteY6" fmla="*/ 663840 h 663840"/>
                  <a:gd name="connsiteX7" fmla="*/ 0 w 474348"/>
                  <a:gd name="connsiteY7" fmla="*/ 663840 h 663840"/>
                  <a:gd name="connsiteX8" fmla="*/ 0 w 474348"/>
                  <a:gd name="connsiteY8" fmla="*/ 663840 h 663840"/>
                  <a:gd name="connsiteX9" fmla="*/ 0 w 474348"/>
                  <a:gd name="connsiteY9" fmla="*/ 211225 h 663840"/>
                  <a:gd name="connsiteX10" fmla="*/ 148557 w 474348"/>
                  <a:gd name="connsiteY10" fmla="*/ 20950 h 663840"/>
                  <a:gd name="connsiteX0" fmla="*/ 144178 w 474348"/>
                  <a:gd name="connsiteY0" fmla="*/ 22667 h 663840"/>
                  <a:gd name="connsiteX1" fmla="*/ 214238 w 474348"/>
                  <a:gd name="connsiteY1" fmla="*/ 0 h 663840"/>
                  <a:gd name="connsiteX2" fmla="*/ 314250 w 474348"/>
                  <a:gd name="connsiteY2" fmla="*/ 18756 h 663840"/>
                  <a:gd name="connsiteX3" fmla="*/ 474348 w 474348"/>
                  <a:gd name="connsiteY3" fmla="*/ 211225 h 663840"/>
                  <a:gd name="connsiteX4" fmla="*/ 474348 w 474348"/>
                  <a:gd name="connsiteY4" fmla="*/ 663840 h 663840"/>
                  <a:gd name="connsiteX5" fmla="*/ 474348 w 474348"/>
                  <a:gd name="connsiteY5" fmla="*/ 663840 h 663840"/>
                  <a:gd name="connsiteX6" fmla="*/ 248129 w 474348"/>
                  <a:gd name="connsiteY6" fmla="*/ 663840 h 663840"/>
                  <a:gd name="connsiteX7" fmla="*/ 0 w 474348"/>
                  <a:gd name="connsiteY7" fmla="*/ 663840 h 663840"/>
                  <a:gd name="connsiteX8" fmla="*/ 0 w 474348"/>
                  <a:gd name="connsiteY8" fmla="*/ 663840 h 663840"/>
                  <a:gd name="connsiteX9" fmla="*/ 0 w 474348"/>
                  <a:gd name="connsiteY9" fmla="*/ 211225 h 663840"/>
                  <a:gd name="connsiteX10" fmla="*/ 144178 w 474348"/>
                  <a:gd name="connsiteY10" fmla="*/ 22667 h 663840"/>
                  <a:gd name="connsiteX0" fmla="*/ 144178 w 474348"/>
                  <a:gd name="connsiteY0" fmla="*/ 22667 h 663840"/>
                  <a:gd name="connsiteX1" fmla="*/ 214238 w 474348"/>
                  <a:gd name="connsiteY1" fmla="*/ 0 h 663840"/>
                  <a:gd name="connsiteX2" fmla="*/ 314250 w 474348"/>
                  <a:gd name="connsiteY2" fmla="*/ 18756 h 663840"/>
                  <a:gd name="connsiteX3" fmla="*/ 474348 w 474348"/>
                  <a:gd name="connsiteY3" fmla="*/ 211225 h 663840"/>
                  <a:gd name="connsiteX4" fmla="*/ 474348 w 474348"/>
                  <a:gd name="connsiteY4" fmla="*/ 663840 h 663840"/>
                  <a:gd name="connsiteX5" fmla="*/ 474348 w 474348"/>
                  <a:gd name="connsiteY5" fmla="*/ 663840 h 663840"/>
                  <a:gd name="connsiteX6" fmla="*/ 248129 w 474348"/>
                  <a:gd name="connsiteY6" fmla="*/ 663840 h 663840"/>
                  <a:gd name="connsiteX7" fmla="*/ 0 w 474348"/>
                  <a:gd name="connsiteY7" fmla="*/ 663840 h 663840"/>
                  <a:gd name="connsiteX8" fmla="*/ 0 w 474348"/>
                  <a:gd name="connsiteY8" fmla="*/ 663840 h 663840"/>
                  <a:gd name="connsiteX9" fmla="*/ 0 w 474348"/>
                  <a:gd name="connsiteY9" fmla="*/ 211225 h 663840"/>
                  <a:gd name="connsiteX10" fmla="*/ 144178 w 474348"/>
                  <a:gd name="connsiteY10" fmla="*/ 22667 h 663840"/>
                  <a:gd name="connsiteX0" fmla="*/ 144178 w 474348"/>
                  <a:gd name="connsiteY0" fmla="*/ 22667 h 663840"/>
                  <a:gd name="connsiteX1" fmla="*/ 214238 w 474348"/>
                  <a:gd name="connsiteY1" fmla="*/ 0 h 663840"/>
                  <a:gd name="connsiteX2" fmla="*/ 314250 w 474348"/>
                  <a:gd name="connsiteY2" fmla="*/ 18756 h 663840"/>
                  <a:gd name="connsiteX3" fmla="*/ 474348 w 474348"/>
                  <a:gd name="connsiteY3" fmla="*/ 211225 h 663840"/>
                  <a:gd name="connsiteX4" fmla="*/ 474348 w 474348"/>
                  <a:gd name="connsiteY4" fmla="*/ 663840 h 663840"/>
                  <a:gd name="connsiteX5" fmla="*/ 474348 w 474348"/>
                  <a:gd name="connsiteY5" fmla="*/ 663840 h 663840"/>
                  <a:gd name="connsiteX6" fmla="*/ 248129 w 474348"/>
                  <a:gd name="connsiteY6" fmla="*/ 663840 h 663840"/>
                  <a:gd name="connsiteX7" fmla="*/ 0 w 474348"/>
                  <a:gd name="connsiteY7" fmla="*/ 663840 h 663840"/>
                  <a:gd name="connsiteX8" fmla="*/ 0 w 474348"/>
                  <a:gd name="connsiteY8" fmla="*/ 663840 h 663840"/>
                  <a:gd name="connsiteX9" fmla="*/ 0 w 474348"/>
                  <a:gd name="connsiteY9" fmla="*/ 211225 h 663840"/>
                  <a:gd name="connsiteX10" fmla="*/ 144178 w 474348"/>
                  <a:gd name="connsiteY10" fmla="*/ 22667 h 663840"/>
                  <a:gd name="connsiteX0" fmla="*/ 144178 w 474348"/>
                  <a:gd name="connsiteY0" fmla="*/ 22667 h 663840"/>
                  <a:gd name="connsiteX1" fmla="*/ 214238 w 474348"/>
                  <a:gd name="connsiteY1" fmla="*/ 0 h 663840"/>
                  <a:gd name="connsiteX2" fmla="*/ 314250 w 474348"/>
                  <a:gd name="connsiteY2" fmla="*/ 18756 h 663840"/>
                  <a:gd name="connsiteX3" fmla="*/ 474348 w 474348"/>
                  <a:gd name="connsiteY3" fmla="*/ 211225 h 663840"/>
                  <a:gd name="connsiteX4" fmla="*/ 474348 w 474348"/>
                  <a:gd name="connsiteY4" fmla="*/ 663840 h 663840"/>
                  <a:gd name="connsiteX5" fmla="*/ 474348 w 474348"/>
                  <a:gd name="connsiteY5" fmla="*/ 663840 h 663840"/>
                  <a:gd name="connsiteX6" fmla="*/ 248129 w 474348"/>
                  <a:gd name="connsiteY6" fmla="*/ 663840 h 663840"/>
                  <a:gd name="connsiteX7" fmla="*/ 0 w 474348"/>
                  <a:gd name="connsiteY7" fmla="*/ 663840 h 663840"/>
                  <a:gd name="connsiteX8" fmla="*/ 0 w 474348"/>
                  <a:gd name="connsiteY8" fmla="*/ 663840 h 663840"/>
                  <a:gd name="connsiteX9" fmla="*/ 0 w 474348"/>
                  <a:gd name="connsiteY9" fmla="*/ 211225 h 663840"/>
                  <a:gd name="connsiteX10" fmla="*/ 144178 w 474348"/>
                  <a:gd name="connsiteY10" fmla="*/ 22667 h 6638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74348" h="663840">
                    <a:moveTo>
                      <a:pt x="144178" y="22667"/>
                    </a:moveTo>
                    <a:cubicBezTo>
                      <a:pt x="211732" y="-970"/>
                      <a:pt x="181869" y="7990"/>
                      <a:pt x="214238" y="0"/>
                    </a:cubicBezTo>
                    <a:cubicBezTo>
                      <a:pt x="259321" y="7224"/>
                      <a:pt x="221757" y="369"/>
                      <a:pt x="314250" y="18756"/>
                    </a:cubicBezTo>
                    <a:cubicBezTo>
                      <a:pt x="399877" y="51074"/>
                      <a:pt x="474348" y="104798"/>
                      <a:pt x="474348" y="211225"/>
                    </a:cubicBezTo>
                    <a:lnTo>
                      <a:pt x="474348" y="663840"/>
                    </a:lnTo>
                    <a:lnTo>
                      <a:pt x="474348" y="663840"/>
                    </a:lnTo>
                    <a:lnTo>
                      <a:pt x="248129" y="663840"/>
                    </a:lnTo>
                    <a:lnTo>
                      <a:pt x="0" y="663840"/>
                    </a:lnTo>
                    <a:lnTo>
                      <a:pt x="0" y="663840"/>
                    </a:lnTo>
                    <a:lnTo>
                      <a:pt x="0" y="211225"/>
                    </a:lnTo>
                    <a:cubicBezTo>
                      <a:pt x="0" y="104798"/>
                      <a:pt x="80700" y="56026"/>
                      <a:pt x="144178" y="22667"/>
                    </a:cubicBezTo>
                    <a:close/>
                  </a:path>
                </a:pathLst>
              </a:cu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grpSp>
        <p:grpSp>
          <p:nvGrpSpPr>
            <p:cNvPr id="80" name="Group 79"/>
            <p:cNvGrpSpPr/>
            <p:nvPr/>
          </p:nvGrpSpPr>
          <p:grpSpPr>
            <a:xfrm rot="8100000">
              <a:off x="6430508" y="2814389"/>
              <a:ext cx="2108839" cy="101418"/>
              <a:chOff x="6437694" y="2814389"/>
              <a:chExt cx="2108839" cy="101418"/>
            </a:xfrm>
          </p:grpSpPr>
          <p:sp>
            <p:nvSpPr>
              <p:cNvPr id="81" name="Round Same Side Corner Rectangle 11"/>
              <p:cNvSpPr/>
              <p:nvPr/>
            </p:nvSpPr>
            <p:spPr>
              <a:xfrm rot="5400000" flipH="1">
                <a:off x="7969911" y="2339184"/>
                <a:ext cx="101418" cy="1051827"/>
              </a:xfrm>
              <a:custGeom>
                <a:avLst/>
                <a:gdLst>
                  <a:gd name="connsiteX0" fmla="*/ 192704 w 474348"/>
                  <a:gd name="connsiteY0" fmla="*/ 0 h 645319"/>
                  <a:gd name="connsiteX1" fmla="*/ 281644 w 474348"/>
                  <a:gd name="connsiteY1" fmla="*/ 0 h 645319"/>
                  <a:gd name="connsiteX2" fmla="*/ 474348 w 474348"/>
                  <a:gd name="connsiteY2" fmla="*/ 192704 h 645319"/>
                  <a:gd name="connsiteX3" fmla="*/ 474348 w 474348"/>
                  <a:gd name="connsiteY3" fmla="*/ 645319 h 645319"/>
                  <a:gd name="connsiteX4" fmla="*/ 474348 w 474348"/>
                  <a:gd name="connsiteY4" fmla="*/ 645319 h 645319"/>
                  <a:gd name="connsiteX5" fmla="*/ 0 w 474348"/>
                  <a:gd name="connsiteY5" fmla="*/ 645319 h 645319"/>
                  <a:gd name="connsiteX6" fmla="*/ 0 w 474348"/>
                  <a:gd name="connsiteY6" fmla="*/ 645319 h 645319"/>
                  <a:gd name="connsiteX7" fmla="*/ 0 w 474348"/>
                  <a:gd name="connsiteY7" fmla="*/ 192704 h 645319"/>
                  <a:gd name="connsiteX8" fmla="*/ 192704 w 474348"/>
                  <a:gd name="connsiteY8" fmla="*/ 0 h 645319"/>
                  <a:gd name="connsiteX0" fmla="*/ 192704 w 474348"/>
                  <a:gd name="connsiteY0" fmla="*/ 0 h 645319"/>
                  <a:gd name="connsiteX1" fmla="*/ 281644 w 474348"/>
                  <a:gd name="connsiteY1" fmla="*/ 0 h 645319"/>
                  <a:gd name="connsiteX2" fmla="*/ 474348 w 474348"/>
                  <a:gd name="connsiteY2" fmla="*/ 192704 h 645319"/>
                  <a:gd name="connsiteX3" fmla="*/ 474348 w 474348"/>
                  <a:gd name="connsiteY3" fmla="*/ 645319 h 645319"/>
                  <a:gd name="connsiteX4" fmla="*/ 474348 w 474348"/>
                  <a:gd name="connsiteY4" fmla="*/ 645319 h 645319"/>
                  <a:gd name="connsiteX5" fmla="*/ 248129 w 474348"/>
                  <a:gd name="connsiteY5" fmla="*/ 645319 h 645319"/>
                  <a:gd name="connsiteX6" fmla="*/ 0 w 474348"/>
                  <a:gd name="connsiteY6" fmla="*/ 645319 h 645319"/>
                  <a:gd name="connsiteX7" fmla="*/ 0 w 474348"/>
                  <a:gd name="connsiteY7" fmla="*/ 645319 h 645319"/>
                  <a:gd name="connsiteX8" fmla="*/ 0 w 474348"/>
                  <a:gd name="connsiteY8" fmla="*/ 192704 h 645319"/>
                  <a:gd name="connsiteX9" fmla="*/ 192704 w 474348"/>
                  <a:gd name="connsiteY9" fmla="*/ 0 h 645319"/>
                  <a:gd name="connsiteX0" fmla="*/ 192704 w 474348"/>
                  <a:gd name="connsiteY0" fmla="*/ 2381 h 647700"/>
                  <a:gd name="connsiteX1" fmla="*/ 240986 w 474348"/>
                  <a:gd name="connsiteY1" fmla="*/ 0 h 647700"/>
                  <a:gd name="connsiteX2" fmla="*/ 281644 w 474348"/>
                  <a:gd name="connsiteY2" fmla="*/ 2381 h 647700"/>
                  <a:gd name="connsiteX3" fmla="*/ 474348 w 474348"/>
                  <a:gd name="connsiteY3" fmla="*/ 195085 h 647700"/>
                  <a:gd name="connsiteX4" fmla="*/ 474348 w 474348"/>
                  <a:gd name="connsiteY4" fmla="*/ 647700 h 647700"/>
                  <a:gd name="connsiteX5" fmla="*/ 474348 w 474348"/>
                  <a:gd name="connsiteY5" fmla="*/ 647700 h 647700"/>
                  <a:gd name="connsiteX6" fmla="*/ 248129 w 474348"/>
                  <a:gd name="connsiteY6" fmla="*/ 647700 h 647700"/>
                  <a:gd name="connsiteX7" fmla="*/ 0 w 474348"/>
                  <a:gd name="connsiteY7" fmla="*/ 647700 h 647700"/>
                  <a:gd name="connsiteX8" fmla="*/ 0 w 474348"/>
                  <a:gd name="connsiteY8" fmla="*/ 647700 h 647700"/>
                  <a:gd name="connsiteX9" fmla="*/ 0 w 474348"/>
                  <a:gd name="connsiteY9" fmla="*/ 195085 h 647700"/>
                  <a:gd name="connsiteX10" fmla="*/ 192704 w 474348"/>
                  <a:gd name="connsiteY10" fmla="*/ 2381 h 647700"/>
                  <a:gd name="connsiteX0" fmla="*/ 192704 w 474348"/>
                  <a:gd name="connsiteY0" fmla="*/ 42862 h 688181"/>
                  <a:gd name="connsiteX1" fmla="*/ 240986 w 474348"/>
                  <a:gd name="connsiteY1" fmla="*/ 0 h 688181"/>
                  <a:gd name="connsiteX2" fmla="*/ 281644 w 474348"/>
                  <a:gd name="connsiteY2" fmla="*/ 42862 h 688181"/>
                  <a:gd name="connsiteX3" fmla="*/ 474348 w 474348"/>
                  <a:gd name="connsiteY3" fmla="*/ 235566 h 688181"/>
                  <a:gd name="connsiteX4" fmla="*/ 474348 w 474348"/>
                  <a:gd name="connsiteY4" fmla="*/ 688181 h 688181"/>
                  <a:gd name="connsiteX5" fmla="*/ 474348 w 474348"/>
                  <a:gd name="connsiteY5" fmla="*/ 688181 h 688181"/>
                  <a:gd name="connsiteX6" fmla="*/ 248129 w 474348"/>
                  <a:gd name="connsiteY6" fmla="*/ 688181 h 688181"/>
                  <a:gd name="connsiteX7" fmla="*/ 0 w 474348"/>
                  <a:gd name="connsiteY7" fmla="*/ 688181 h 688181"/>
                  <a:gd name="connsiteX8" fmla="*/ 0 w 474348"/>
                  <a:gd name="connsiteY8" fmla="*/ 688181 h 688181"/>
                  <a:gd name="connsiteX9" fmla="*/ 0 w 474348"/>
                  <a:gd name="connsiteY9" fmla="*/ 235566 h 688181"/>
                  <a:gd name="connsiteX10" fmla="*/ 192704 w 474348"/>
                  <a:gd name="connsiteY10" fmla="*/ 42862 h 688181"/>
                  <a:gd name="connsiteX0" fmla="*/ 192704 w 474348"/>
                  <a:gd name="connsiteY0" fmla="*/ 23812 h 669131"/>
                  <a:gd name="connsiteX1" fmla="*/ 265690 w 474348"/>
                  <a:gd name="connsiteY1" fmla="*/ 0 h 669131"/>
                  <a:gd name="connsiteX2" fmla="*/ 281644 w 474348"/>
                  <a:gd name="connsiteY2" fmla="*/ 23812 h 669131"/>
                  <a:gd name="connsiteX3" fmla="*/ 474348 w 474348"/>
                  <a:gd name="connsiteY3" fmla="*/ 216516 h 669131"/>
                  <a:gd name="connsiteX4" fmla="*/ 474348 w 474348"/>
                  <a:gd name="connsiteY4" fmla="*/ 669131 h 669131"/>
                  <a:gd name="connsiteX5" fmla="*/ 474348 w 474348"/>
                  <a:gd name="connsiteY5" fmla="*/ 669131 h 669131"/>
                  <a:gd name="connsiteX6" fmla="*/ 248129 w 474348"/>
                  <a:gd name="connsiteY6" fmla="*/ 669131 h 669131"/>
                  <a:gd name="connsiteX7" fmla="*/ 0 w 474348"/>
                  <a:gd name="connsiteY7" fmla="*/ 669131 h 669131"/>
                  <a:gd name="connsiteX8" fmla="*/ 0 w 474348"/>
                  <a:gd name="connsiteY8" fmla="*/ 669131 h 669131"/>
                  <a:gd name="connsiteX9" fmla="*/ 0 w 474348"/>
                  <a:gd name="connsiteY9" fmla="*/ 216516 h 669131"/>
                  <a:gd name="connsiteX10" fmla="*/ 192704 w 474348"/>
                  <a:gd name="connsiteY10" fmla="*/ 23812 h 669131"/>
                  <a:gd name="connsiteX0" fmla="*/ 192704 w 474348"/>
                  <a:gd name="connsiteY0" fmla="*/ 23812 h 669131"/>
                  <a:gd name="connsiteX1" fmla="*/ 265690 w 474348"/>
                  <a:gd name="connsiteY1" fmla="*/ 0 h 669131"/>
                  <a:gd name="connsiteX2" fmla="*/ 281644 w 474348"/>
                  <a:gd name="connsiteY2" fmla="*/ 23812 h 669131"/>
                  <a:gd name="connsiteX3" fmla="*/ 474348 w 474348"/>
                  <a:gd name="connsiteY3" fmla="*/ 216516 h 669131"/>
                  <a:gd name="connsiteX4" fmla="*/ 474348 w 474348"/>
                  <a:gd name="connsiteY4" fmla="*/ 669131 h 669131"/>
                  <a:gd name="connsiteX5" fmla="*/ 474348 w 474348"/>
                  <a:gd name="connsiteY5" fmla="*/ 669131 h 669131"/>
                  <a:gd name="connsiteX6" fmla="*/ 248129 w 474348"/>
                  <a:gd name="connsiteY6" fmla="*/ 669131 h 669131"/>
                  <a:gd name="connsiteX7" fmla="*/ 0 w 474348"/>
                  <a:gd name="connsiteY7" fmla="*/ 669131 h 669131"/>
                  <a:gd name="connsiteX8" fmla="*/ 0 w 474348"/>
                  <a:gd name="connsiteY8" fmla="*/ 669131 h 669131"/>
                  <a:gd name="connsiteX9" fmla="*/ 0 w 474348"/>
                  <a:gd name="connsiteY9" fmla="*/ 216516 h 669131"/>
                  <a:gd name="connsiteX10" fmla="*/ 192704 w 474348"/>
                  <a:gd name="connsiteY10" fmla="*/ 23812 h 669131"/>
                  <a:gd name="connsiteX0" fmla="*/ 192704 w 474348"/>
                  <a:gd name="connsiteY0" fmla="*/ 23812 h 669131"/>
                  <a:gd name="connsiteX1" fmla="*/ 265690 w 474348"/>
                  <a:gd name="connsiteY1" fmla="*/ 0 h 669131"/>
                  <a:gd name="connsiteX2" fmla="*/ 281644 w 474348"/>
                  <a:gd name="connsiteY2" fmla="*/ 23812 h 669131"/>
                  <a:gd name="connsiteX3" fmla="*/ 474348 w 474348"/>
                  <a:gd name="connsiteY3" fmla="*/ 216516 h 669131"/>
                  <a:gd name="connsiteX4" fmla="*/ 474348 w 474348"/>
                  <a:gd name="connsiteY4" fmla="*/ 669131 h 669131"/>
                  <a:gd name="connsiteX5" fmla="*/ 474348 w 474348"/>
                  <a:gd name="connsiteY5" fmla="*/ 669131 h 669131"/>
                  <a:gd name="connsiteX6" fmla="*/ 248129 w 474348"/>
                  <a:gd name="connsiteY6" fmla="*/ 669131 h 669131"/>
                  <a:gd name="connsiteX7" fmla="*/ 0 w 474348"/>
                  <a:gd name="connsiteY7" fmla="*/ 669131 h 669131"/>
                  <a:gd name="connsiteX8" fmla="*/ 0 w 474348"/>
                  <a:gd name="connsiteY8" fmla="*/ 669131 h 669131"/>
                  <a:gd name="connsiteX9" fmla="*/ 0 w 474348"/>
                  <a:gd name="connsiteY9" fmla="*/ 216516 h 669131"/>
                  <a:gd name="connsiteX10" fmla="*/ 192704 w 474348"/>
                  <a:gd name="connsiteY10" fmla="*/ 23812 h 669131"/>
                  <a:gd name="connsiteX0" fmla="*/ 192704 w 474348"/>
                  <a:gd name="connsiteY0" fmla="*/ 23812 h 669131"/>
                  <a:gd name="connsiteX1" fmla="*/ 265690 w 474348"/>
                  <a:gd name="connsiteY1" fmla="*/ 0 h 669131"/>
                  <a:gd name="connsiteX2" fmla="*/ 314250 w 474348"/>
                  <a:gd name="connsiteY2" fmla="*/ 24047 h 669131"/>
                  <a:gd name="connsiteX3" fmla="*/ 474348 w 474348"/>
                  <a:gd name="connsiteY3" fmla="*/ 216516 h 669131"/>
                  <a:gd name="connsiteX4" fmla="*/ 474348 w 474348"/>
                  <a:gd name="connsiteY4" fmla="*/ 669131 h 669131"/>
                  <a:gd name="connsiteX5" fmla="*/ 474348 w 474348"/>
                  <a:gd name="connsiteY5" fmla="*/ 669131 h 669131"/>
                  <a:gd name="connsiteX6" fmla="*/ 248129 w 474348"/>
                  <a:gd name="connsiteY6" fmla="*/ 669131 h 669131"/>
                  <a:gd name="connsiteX7" fmla="*/ 0 w 474348"/>
                  <a:gd name="connsiteY7" fmla="*/ 669131 h 669131"/>
                  <a:gd name="connsiteX8" fmla="*/ 0 w 474348"/>
                  <a:gd name="connsiteY8" fmla="*/ 669131 h 669131"/>
                  <a:gd name="connsiteX9" fmla="*/ 0 w 474348"/>
                  <a:gd name="connsiteY9" fmla="*/ 216516 h 669131"/>
                  <a:gd name="connsiteX10" fmla="*/ 192704 w 474348"/>
                  <a:gd name="connsiteY10" fmla="*/ 23812 h 669131"/>
                  <a:gd name="connsiteX0" fmla="*/ 192704 w 474348"/>
                  <a:gd name="connsiteY0" fmla="*/ 23812 h 669131"/>
                  <a:gd name="connsiteX1" fmla="*/ 265690 w 474348"/>
                  <a:gd name="connsiteY1" fmla="*/ 0 h 669131"/>
                  <a:gd name="connsiteX2" fmla="*/ 314250 w 474348"/>
                  <a:gd name="connsiteY2" fmla="*/ 24047 h 669131"/>
                  <a:gd name="connsiteX3" fmla="*/ 474348 w 474348"/>
                  <a:gd name="connsiteY3" fmla="*/ 216516 h 669131"/>
                  <a:gd name="connsiteX4" fmla="*/ 474348 w 474348"/>
                  <a:gd name="connsiteY4" fmla="*/ 669131 h 669131"/>
                  <a:gd name="connsiteX5" fmla="*/ 474348 w 474348"/>
                  <a:gd name="connsiteY5" fmla="*/ 669131 h 669131"/>
                  <a:gd name="connsiteX6" fmla="*/ 248129 w 474348"/>
                  <a:gd name="connsiteY6" fmla="*/ 669131 h 669131"/>
                  <a:gd name="connsiteX7" fmla="*/ 0 w 474348"/>
                  <a:gd name="connsiteY7" fmla="*/ 669131 h 669131"/>
                  <a:gd name="connsiteX8" fmla="*/ 0 w 474348"/>
                  <a:gd name="connsiteY8" fmla="*/ 669131 h 669131"/>
                  <a:gd name="connsiteX9" fmla="*/ 0 w 474348"/>
                  <a:gd name="connsiteY9" fmla="*/ 216516 h 669131"/>
                  <a:gd name="connsiteX10" fmla="*/ 192704 w 474348"/>
                  <a:gd name="connsiteY10" fmla="*/ 23812 h 669131"/>
                  <a:gd name="connsiteX0" fmla="*/ 192704 w 474348"/>
                  <a:gd name="connsiteY0" fmla="*/ 23812 h 669131"/>
                  <a:gd name="connsiteX1" fmla="*/ 265690 w 474348"/>
                  <a:gd name="connsiteY1" fmla="*/ 0 h 669131"/>
                  <a:gd name="connsiteX2" fmla="*/ 314250 w 474348"/>
                  <a:gd name="connsiteY2" fmla="*/ 24047 h 669131"/>
                  <a:gd name="connsiteX3" fmla="*/ 474348 w 474348"/>
                  <a:gd name="connsiteY3" fmla="*/ 216516 h 669131"/>
                  <a:gd name="connsiteX4" fmla="*/ 474348 w 474348"/>
                  <a:gd name="connsiteY4" fmla="*/ 669131 h 669131"/>
                  <a:gd name="connsiteX5" fmla="*/ 474348 w 474348"/>
                  <a:gd name="connsiteY5" fmla="*/ 669131 h 669131"/>
                  <a:gd name="connsiteX6" fmla="*/ 248129 w 474348"/>
                  <a:gd name="connsiteY6" fmla="*/ 669131 h 669131"/>
                  <a:gd name="connsiteX7" fmla="*/ 0 w 474348"/>
                  <a:gd name="connsiteY7" fmla="*/ 669131 h 669131"/>
                  <a:gd name="connsiteX8" fmla="*/ 0 w 474348"/>
                  <a:gd name="connsiteY8" fmla="*/ 669131 h 669131"/>
                  <a:gd name="connsiteX9" fmla="*/ 0 w 474348"/>
                  <a:gd name="connsiteY9" fmla="*/ 216516 h 669131"/>
                  <a:gd name="connsiteX10" fmla="*/ 192704 w 474348"/>
                  <a:gd name="connsiteY10" fmla="*/ 23812 h 669131"/>
                  <a:gd name="connsiteX0" fmla="*/ 174282 w 474348"/>
                  <a:gd name="connsiteY0" fmla="*/ 23596 h 669131"/>
                  <a:gd name="connsiteX1" fmla="*/ 265690 w 474348"/>
                  <a:gd name="connsiteY1" fmla="*/ 0 h 669131"/>
                  <a:gd name="connsiteX2" fmla="*/ 314250 w 474348"/>
                  <a:gd name="connsiteY2" fmla="*/ 24047 h 669131"/>
                  <a:gd name="connsiteX3" fmla="*/ 474348 w 474348"/>
                  <a:gd name="connsiteY3" fmla="*/ 216516 h 669131"/>
                  <a:gd name="connsiteX4" fmla="*/ 474348 w 474348"/>
                  <a:gd name="connsiteY4" fmla="*/ 669131 h 669131"/>
                  <a:gd name="connsiteX5" fmla="*/ 474348 w 474348"/>
                  <a:gd name="connsiteY5" fmla="*/ 669131 h 669131"/>
                  <a:gd name="connsiteX6" fmla="*/ 248129 w 474348"/>
                  <a:gd name="connsiteY6" fmla="*/ 669131 h 669131"/>
                  <a:gd name="connsiteX7" fmla="*/ 0 w 474348"/>
                  <a:gd name="connsiteY7" fmla="*/ 669131 h 669131"/>
                  <a:gd name="connsiteX8" fmla="*/ 0 w 474348"/>
                  <a:gd name="connsiteY8" fmla="*/ 669131 h 669131"/>
                  <a:gd name="connsiteX9" fmla="*/ 0 w 474348"/>
                  <a:gd name="connsiteY9" fmla="*/ 216516 h 669131"/>
                  <a:gd name="connsiteX10" fmla="*/ 174282 w 474348"/>
                  <a:gd name="connsiteY10" fmla="*/ 23596 h 669131"/>
                  <a:gd name="connsiteX0" fmla="*/ 174282 w 474348"/>
                  <a:gd name="connsiteY0" fmla="*/ 24619 h 670154"/>
                  <a:gd name="connsiteX1" fmla="*/ 216121 w 474348"/>
                  <a:gd name="connsiteY1" fmla="*/ 0 h 670154"/>
                  <a:gd name="connsiteX2" fmla="*/ 314250 w 474348"/>
                  <a:gd name="connsiteY2" fmla="*/ 25070 h 670154"/>
                  <a:gd name="connsiteX3" fmla="*/ 474348 w 474348"/>
                  <a:gd name="connsiteY3" fmla="*/ 217539 h 670154"/>
                  <a:gd name="connsiteX4" fmla="*/ 474348 w 474348"/>
                  <a:gd name="connsiteY4" fmla="*/ 670154 h 670154"/>
                  <a:gd name="connsiteX5" fmla="*/ 474348 w 474348"/>
                  <a:gd name="connsiteY5" fmla="*/ 670154 h 670154"/>
                  <a:gd name="connsiteX6" fmla="*/ 248129 w 474348"/>
                  <a:gd name="connsiteY6" fmla="*/ 670154 h 670154"/>
                  <a:gd name="connsiteX7" fmla="*/ 0 w 474348"/>
                  <a:gd name="connsiteY7" fmla="*/ 670154 h 670154"/>
                  <a:gd name="connsiteX8" fmla="*/ 0 w 474348"/>
                  <a:gd name="connsiteY8" fmla="*/ 670154 h 670154"/>
                  <a:gd name="connsiteX9" fmla="*/ 0 w 474348"/>
                  <a:gd name="connsiteY9" fmla="*/ 217539 h 670154"/>
                  <a:gd name="connsiteX10" fmla="*/ 174282 w 474348"/>
                  <a:gd name="connsiteY10" fmla="*/ 24619 h 670154"/>
                  <a:gd name="connsiteX0" fmla="*/ 174282 w 474348"/>
                  <a:gd name="connsiteY0" fmla="*/ 24619 h 670154"/>
                  <a:gd name="connsiteX1" fmla="*/ 216121 w 474348"/>
                  <a:gd name="connsiteY1" fmla="*/ 0 h 670154"/>
                  <a:gd name="connsiteX2" fmla="*/ 314250 w 474348"/>
                  <a:gd name="connsiteY2" fmla="*/ 25070 h 670154"/>
                  <a:gd name="connsiteX3" fmla="*/ 474348 w 474348"/>
                  <a:gd name="connsiteY3" fmla="*/ 217539 h 670154"/>
                  <a:gd name="connsiteX4" fmla="*/ 474348 w 474348"/>
                  <a:gd name="connsiteY4" fmla="*/ 670154 h 670154"/>
                  <a:gd name="connsiteX5" fmla="*/ 474348 w 474348"/>
                  <a:gd name="connsiteY5" fmla="*/ 670154 h 670154"/>
                  <a:gd name="connsiteX6" fmla="*/ 248129 w 474348"/>
                  <a:gd name="connsiteY6" fmla="*/ 670154 h 670154"/>
                  <a:gd name="connsiteX7" fmla="*/ 0 w 474348"/>
                  <a:gd name="connsiteY7" fmla="*/ 670154 h 670154"/>
                  <a:gd name="connsiteX8" fmla="*/ 0 w 474348"/>
                  <a:gd name="connsiteY8" fmla="*/ 670154 h 670154"/>
                  <a:gd name="connsiteX9" fmla="*/ 0 w 474348"/>
                  <a:gd name="connsiteY9" fmla="*/ 217539 h 670154"/>
                  <a:gd name="connsiteX10" fmla="*/ 174282 w 474348"/>
                  <a:gd name="connsiteY10" fmla="*/ 24619 h 670154"/>
                  <a:gd name="connsiteX0" fmla="*/ 174282 w 474348"/>
                  <a:gd name="connsiteY0" fmla="*/ 24619 h 670154"/>
                  <a:gd name="connsiteX1" fmla="*/ 216121 w 474348"/>
                  <a:gd name="connsiteY1" fmla="*/ 0 h 670154"/>
                  <a:gd name="connsiteX2" fmla="*/ 314250 w 474348"/>
                  <a:gd name="connsiteY2" fmla="*/ 25070 h 670154"/>
                  <a:gd name="connsiteX3" fmla="*/ 474348 w 474348"/>
                  <a:gd name="connsiteY3" fmla="*/ 217539 h 670154"/>
                  <a:gd name="connsiteX4" fmla="*/ 474348 w 474348"/>
                  <a:gd name="connsiteY4" fmla="*/ 670154 h 670154"/>
                  <a:gd name="connsiteX5" fmla="*/ 474348 w 474348"/>
                  <a:gd name="connsiteY5" fmla="*/ 670154 h 670154"/>
                  <a:gd name="connsiteX6" fmla="*/ 248129 w 474348"/>
                  <a:gd name="connsiteY6" fmla="*/ 670154 h 670154"/>
                  <a:gd name="connsiteX7" fmla="*/ 0 w 474348"/>
                  <a:gd name="connsiteY7" fmla="*/ 670154 h 670154"/>
                  <a:gd name="connsiteX8" fmla="*/ 0 w 474348"/>
                  <a:gd name="connsiteY8" fmla="*/ 670154 h 670154"/>
                  <a:gd name="connsiteX9" fmla="*/ 0 w 474348"/>
                  <a:gd name="connsiteY9" fmla="*/ 217539 h 670154"/>
                  <a:gd name="connsiteX10" fmla="*/ 174282 w 474348"/>
                  <a:gd name="connsiteY10" fmla="*/ 24619 h 670154"/>
                  <a:gd name="connsiteX0" fmla="*/ 174282 w 474348"/>
                  <a:gd name="connsiteY0" fmla="*/ 24619 h 670154"/>
                  <a:gd name="connsiteX1" fmla="*/ 216121 w 474348"/>
                  <a:gd name="connsiteY1" fmla="*/ 0 h 670154"/>
                  <a:gd name="connsiteX2" fmla="*/ 314250 w 474348"/>
                  <a:gd name="connsiteY2" fmla="*/ 25070 h 670154"/>
                  <a:gd name="connsiteX3" fmla="*/ 474348 w 474348"/>
                  <a:gd name="connsiteY3" fmla="*/ 217539 h 670154"/>
                  <a:gd name="connsiteX4" fmla="*/ 474348 w 474348"/>
                  <a:gd name="connsiteY4" fmla="*/ 670154 h 670154"/>
                  <a:gd name="connsiteX5" fmla="*/ 474348 w 474348"/>
                  <a:gd name="connsiteY5" fmla="*/ 670154 h 670154"/>
                  <a:gd name="connsiteX6" fmla="*/ 248129 w 474348"/>
                  <a:gd name="connsiteY6" fmla="*/ 670154 h 670154"/>
                  <a:gd name="connsiteX7" fmla="*/ 0 w 474348"/>
                  <a:gd name="connsiteY7" fmla="*/ 670154 h 670154"/>
                  <a:gd name="connsiteX8" fmla="*/ 0 w 474348"/>
                  <a:gd name="connsiteY8" fmla="*/ 670154 h 670154"/>
                  <a:gd name="connsiteX9" fmla="*/ 0 w 474348"/>
                  <a:gd name="connsiteY9" fmla="*/ 217539 h 670154"/>
                  <a:gd name="connsiteX10" fmla="*/ 174282 w 474348"/>
                  <a:gd name="connsiteY10" fmla="*/ 24619 h 670154"/>
                  <a:gd name="connsiteX0" fmla="*/ 148557 w 474348"/>
                  <a:gd name="connsiteY0" fmla="*/ 27264 h 670154"/>
                  <a:gd name="connsiteX1" fmla="*/ 216121 w 474348"/>
                  <a:gd name="connsiteY1" fmla="*/ 0 h 670154"/>
                  <a:gd name="connsiteX2" fmla="*/ 314250 w 474348"/>
                  <a:gd name="connsiteY2" fmla="*/ 25070 h 670154"/>
                  <a:gd name="connsiteX3" fmla="*/ 474348 w 474348"/>
                  <a:gd name="connsiteY3" fmla="*/ 217539 h 670154"/>
                  <a:gd name="connsiteX4" fmla="*/ 474348 w 474348"/>
                  <a:gd name="connsiteY4" fmla="*/ 670154 h 670154"/>
                  <a:gd name="connsiteX5" fmla="*/ 474348 w 474348"/>
                  <a:gd name="connsiteY5" fmla="*/ 670154 h 670154"/>
                  <a:gd name="connsiteX6" fmla="*/ 248129 w 474348"/>
                  <a:gd name="connsiteY6" fmla="*/ 670154 h 670154"/>
                  <a:gd name="connsiteX7" fmla="*/ 0 w 474348"/>
                  <a:gd name="connsiteY7" fmla="*/ 670154 h 670154"/>
                  <a:gd name="connsiteX8" fmla="*/ 0 w 474348"/>
                  <a:gd name="connsiteY8" fmla="*/ 670154 h 670154"/>
                  <a:gd name="connsiteX9" fmla="*/ 0 w 474348"/>
                  <a:gd name="connsiteY9" fmla="*/ 217539 h 670154"/>
                  <a:gd name="connsiteX10" fmla="*/ 148557 w 474348"/>
                  <a:gd name="connsiteY10" fmla="*/ 27264 h 670154"/>
                  <a:gd name="connsiteX0" fmla="*/ 148557 w 474348"/>
                  <a:gd name="connsiteY0" fmla="*/ 20950 h 663840"/>
                  <a:gd name="connsiteX1" fmla="*/ 214238 w 474348"/>
                  <a:gd name="connsiteY1" fmla="*/ 0 h 663840"/>
                  <a:gd name="connsiteX2" fmla="*/ 314250 w 474348"/>
                  <a:gd name="connsiteY2" fmla="*/ 18756 h 663840"/>
                  <a:gd name="connsiteX3" fmla="*/ 474348 w 474348"/>
                  <a:gd name="connsiteY3" fmla="*/ 211225 h 663840"/>
                  <a:gd name="connsiteX4" fmla="*/ 474348 w 474348"/>
                  <a:gd name="connsiteY4" fmla="*/ 663840 h 663840"/>
                  <a:gd name="connsiteX5" fmla="*/ 474348 w 474348"/>
                  <a:gd name="connsiteY5" fmla="*/ 663840 h 663840"/>
                  <a:gd name="connsiteX6" fmla="*/ 248129 w 474348"/>
                  <a:gd name="connsiteY6" fmla="*/ 663840 h 663840"/>
                  <a:gd name="connsiteX7" fmla="*/ 0 w 474348"/>
                  <a:gd name="connsiteY7" fmla="*/ 663840 h 663840"/>
                  <a:gd name="connsiteX8" fmla="*/ 0 w 474348"/>
                  <a:gd name="connsiteY8" fmla="*/ 663840 h 663840"/>
                  <a:gd name="connsiteX9" fmla="*/ 0 w 474348"/>
                  <a:gd name="connsiteY9" fmla="*/ 211225 h 663840"/>
                  <a:gd name="connsiteX10" fmla="*/ 148557 w 474348"/>
                  <a:gd name="connsiteY10" fmla="*/ 20950 h 663840"/>
                  <a:gd name="connsiteX0" fmla="*/ 148557 w 474348"/>
                  <a:gd name="connsiteY0" fmla="*/ 20950 h 663840"/>
                  <a:gd name="connsiteX1" fmla="*/ 214238 w 474348"/>
                  <a:gd name="connsiteY1" fmla="*/ 0 h 663840"/>
                  <a:gd name="connsiteX2" fmla="*/ 314250 w 474348"/>
                  <a:gd name="connsiteY2" fmla="*/ 18756 h 663840"/>
                  <a:gd name="connsiteX3" fmla="*/ 474348 w 474348"/>
                  <a:gd name="connsiteY3" fmla="*/ 211225 h 663840"/>
                  <a:gd name="connsiteX4" fmla="*/ 474348 w 474348"/>
                  <a:gd name="connsiteY4" fmla="*/ 663840 h 663840"/>
                  <a:gd name="connsiteX5" fmla="*/ 474348 w 474348"/>
                  <a:gd name="connsiteY5" fmla="*/ 663840 h 663840"/>
                  <a:gd name="connsiteX6" fmla="*/ 248129 w 474348"/>
                  <a:gd name="connsiteY6" fmla="*/ 663840 h 663840"/>
                  <a:gd name="connsiteX7" fmla="*/ 0 w 474348"/>
                  <a:gd name="connsiteY7" fmla="*/ 663840 h 663840"/>
                  <a:gd name="connsiteX8" fmla="*/ 0 w 474348"/>
                  <a:gd name="connsiteY8" fmla="*/ 663840 h 663840"/>
                  <a:gd name="connsiteX9" fmla="*/ 0 w 474348"/>
                  <a:gd name="connsiteY9" fmla="*/ 211225 h 663840"/>
                  <a:gd name="connsiteX10" fmla="*/ 148557 w 474348"/>
                  <a:gd name="connsiteY10" fmla="*/ 20950 h 663840"/>
                  <a:gd name="connsiteX0" fmla="*/ 148557 w 474348"/>
                  <a:gd name="connsiteY0" fmla="*/ 20950 h 663840"/>
                  <a:gd name="connsiteX1" fmla="*/ 214238 w 474348"/>
                  <a:gd name="connsiteY1" fmla="*/ 0 h 663840"/>
                  <a:gd name="connsiteX2" fmla="*/ 314250 w 474348"/>
                  <a:gd name="connsiteY2" fmla="*/ 18756 h 663840"/>
                  <a:gd name="connsiteX3" fmla="*/ 474348 w 474348"/>
                  <a:gd name="connsiteY3" fmla="*/ 211225 h 663840"/>
                  <a:gd name="connsiteX4" fmla="*/ 474348 w 474348"/>
                  <a:gd name="connsiteY4" fmla="*/ 663840 h 663840"/>
                  <a:gd name="connsiteX5" fmla="*/ 474348 w 474348"/>
                  <a:gd name="connsiteY5" fmla="*/ 663840 h 663840"/>
                  <a:gd name="connsiteX6" fmla="*/ 248129 w 474348"/>
                  <a:gd name="connsiteY6" fmla="*/ 663840 h 663840"/>
                  <a:gd name="connsiteX7" fmla="*/ 0 w 474348"/>
                  <a:gd name="connsiteY7" fmla="*/ 663840 h 663840"/>
                  <a:gd name="connsiteX8" fmla="*/ 0 w 474348"/>
                  <a:gd name="connsiteY8" fmla="*/ 663840 h 663840"/>
                  <a:gd name="connsiteX9" fmla="*/ 0 w 474348"/>
                  <a:gd name="connsiteY9" fmla="*/ 211225 h 663840"/>
                  <a:gd name="connsiteX10" fmla="*/ 148557 w 474348"/>
                  <a:gd name="connsiteY10" fmla="*/ 20950 h 663840"/>
                  <a:gd name="connsiteX0" fmla="*/ 144178 w 474348"/>
                  <a:gd name="connsiteY0" fmla="*/ 22667 h 663840"/>
                  <a:gd name="connsiteX1" fmla="*/ 214238 w 474348"/>
                  <a:gd name="connsiteY1" fmla="*/ 0 h 663840"/>
                  <a:gd name="connsiteX2" fmla="*/ 314250 w 474348"/>
                  <a:gd name="connsiteY2" fmla="*/ 18756 h 663840"/>
                  <a:gd name="connsiteX3" fmla="*/ 474348 w 474348"/>
                  <a:gd name="connsiteY3" fmla="*/ 211225 h 663840"/>
                  <a:gd name="connsiteX4" fmla="*/ 474348 w 474348"/>
                  <a:gd name="connsiteY4" fmla="*/ 663840 h 663840"/>
                  <a:gd name="connsiteX5" fmla="*/ 474348 w 474348"/>
                  <a:gd name="connsiteY5" fmla="*/ 663840 h 663840"/>
                  <a:gd name="connsiteX6" fmla="*/ 248129 w 474348"/>
                  <a:gd name="connsiteY6" fmla="*/ 663840 h 663840"/>
                  <a:gd name="connsiteX7" fmla="*/ 0 w 474348"/>
                  <a:gd name="connsiteY7" fmla="*/ 663840 h 663840"/>
                  <a:gd name="connsiteX8" fmla="*/ 0 w 474348"/>
                  <a:gd name="connsiteY8" fmla="*/ 663840 h 663840"/>
                  <a:gd name="connsiteX9" fmla="*/ 0 w 474348"/>
                  <a:gd name="connsiteY9" fmla="*/ 211225 h 663840"/>
                  <a:gd name="connsiteX10" fmla="*/ 144178 w 474348"/>
                  <a:gd name="connsiteY10" fmla="*/ 22667 h 663840"/>
                  <a:gd name="connsiteX0" fmla="*/ 144178 w 474348"/>
                  <a:gd name="connsiteY0" fmla="*/ 22667 h 663840"/>
                  <a:gd name="connsiteX1" fmla="*/ 214238 w 474348"/>
                  <a:gd name="connsiteY1" fmla="*/ 0 h 663840"/>
                  <a:gd name="connsiteX2" fmla="*/ 314250 w 474348"/>
                  <a:gd name="connsiteY2" fmla="*/ 18756 h 663840"/>
                  <a:gd name="connsiteX3" fmla="*/ 474348 w 474348"/>
                  <a:gd name="connsiteY3" fmla="*/ 211225 h 663840"/>
                  <a:gd name="connsiteX4" fmla="*/ 474348 w 474348"/>
                  <a:gd name="connsiteY4" fmla="*/ 663840 h 663840"/>
                  <a:gd name="connsiteX5" fmla="*/ 474348 w 474348"/>
                  <a:gd name="connsiteY5" fmla="*/ 663840 h 663840"/>
                  <a:gd name="connsiteX6" fmla="*/ 248129 w 474348"/>
                  <a:gd name="connsiteY6" fmla="*/ 663840 h 663840"/>
                  <a:gd name="connsiteX7" fmla="*/ 0 w 474348"/>
                  <a:gd name="connsiteY7" fmla="*/ 663840 h 663840"/>
                  <a:gd name="connsiteX8" fmla="*/ 0 w 474348"/>
                  <a:gd name="connsiteY8" fmla="*/ 663840 h 663840"/>
                  <a:gd name="connsiteX9" fmla="*/ 0 w 474348"/>
                  <a:gd name="connsiteY9" fmla="*/ 211225 h 663840"/>
                  <a:gd name="connsiteX10" fmla="*/ 144178 w 474348"/>
                  <a:gd name="connsiteY10" fmla="*/ 22667 h 663840"/>
                  <a:gd name="connsiteX0" fmla="*/ 144178 w 474348"/>
                  <a:gd name="connsiteY0" fmla="*/ 22667 h 663840"/>
                  <a:gd name="connsiteX1" fmla="*/ 214238 w 474348"/>
                  <a:gd name="connsiteY1" fmla="*/ 0 h 663840"/>
                  <a:gd name="connsiteX2" fmla="*/ 314250 w 474348"/>
                  <a:gd name="connsiteY2" fmla="*/ 18756 h 663840"/>
                  <a:gd name="connsiteX3" fmla="*/ 474348 w 474348"/>
                  <a:gd name="connsiteY3" fmla="*/ 211225 h 663840"/>
                  <a:gd name="connsiteX4" fmla="*/ 474348 w 474348"/>
                  <a:gd name="connsiteY4" fmla="*/ 663840 h 663840"/>
                  <a:gd name="connsiteX5" fmla="*/ 474348 w 474348"/>
                  <a:gd name="connsiteY5" fmla="*/ 663840 h 663840"/>
                  <a:gd name="connsiteX6" fmla="*/ 248129 w 474348"/>
                  <a:gd name="connsiteY6" fmla="*/ 663840 h 663840"/>
                  <a:gd name="connsiteX7" fmla="*/ 0 w 474348"/>
                  <a:gd name="connsiteY7" fmla="*/ 663840 h 663840"/>
                  <a:gd name="connsiteX8" fmla="*/ 0 w 474348"/>
                  <a:gd name="connsiteY8" fmla="*/ 663840 h 663840"/>
                  <a:gd name="connsiteX9" fmla="*/ 0 w 474348"/>
                  <a:gd name="connsiteY9" fmla="*/ 211225 h 663840"/>
                  <a:gd name="connsiteX10" fmla="*/ 144178 w 474348"/>
                  <a:gd name="connsiteY10" fmla="*/ 22667 h 663840"/>
                  <a:gd name="connsiteX0" fmla="*/ 144178 w 474348"/>
                  <a:gd name="connsiteY0" fmla="*/ 22667 h 663840"/>
                  <a:gd name="connsiteX1" fmla="*/ 214238 w 474348"/>
                  <a:gd name="connsiteY1" fmla="*/ 0 h 663840"/>
                  <a:gd name="connsiteX2" fmla="*/ 314250 w 474348"/>
                  <a:gd name="connsiteY2" fmla="*/ 18756 h 663840"/>
                  <a:gd name="connsiteX3" fmla="*/ 474348 w 474348"/>
                  <a:gd name="connsiteY3" fmla="*/ 211225 h 663840"/>
                  <a:gd name="connsiteX4" fmla="*/ 474348 w 474348"/>
                  <a:gd name="connsiteY4" fmla="*/ 663840 h 663840"/>
                  <a:gd name="connsiteX5" fmla="*/ 474348 w 474348"/>
                  <a:gd name="connsiteY5" fmla="*/ 663840 h 663840"/>
                  <a:gd name="connsiteX6" fmla="*/ 248129 w 474348"/>
                  <a:gd name="connsiteY6" fmla="*/ 663840 h 663840"/>
                  <a:gd name="connsiteX7" fmla="*/ 0 w 474348"/>
                  <a:gd name="connsiteY7" fmla="*/ 663840 h 663840"/>
                  <a:gd name="connsiteX8" fmla="*/ 0 w 474348"/>
                  <a:gd name="connsiteY8" fmla="*/ 663840 h 663840"/>
                  <a:gd name="connsiteX9" fmla="*/ 0 w 474348"/>
                  <a:gd name="connsiteY9" fmla="*/ 211225 h 663840"/>
                  <a:gd name="connsiteX10" fmla="*/ 144178 w 474348"/>
                  <a:gd name="connsiteY10" fmla="*/ 22667 h 6638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74348" h="663840">
                    <a:moveTo>
                      <a:pt x="144178" y="22667"/>
                    </a:moveTo>
                    <a:cubicBezTo>
                      <a:pt x="211732" y="-970"/>
                      <a:pt x="181869" y="7990"/>
                      <a:pt x="214238" y="0"/>
                    </a:cubicBezTo>
                    <a:cubicBezTo>
                      <a:pt x="259321" y="7224"/>
                      <a:pt x="221757" y="369"/>
                      <a:pt x="314250" y="18756"/>
                    </a:cubicBezTo>
                    <a:cubicBezTo>
                      <a:pt x="399877" y="51074"/>
                      <a:pt x="474348" y="104798"/>
                      <a:pt x="474348" y="211225"/>
                    </a:cubicBezTo>
                    <a:lnTo>
                      <a:pt x="474348" y="663840"/>
                    </a:lnTo>
                    <a:lnTo>
                      <a:pt x="474348" y="663840"/>
                    </a:lnTo>
                    <a:lnTo>
                      <a:pt x="248129" y="663840"/>
                    </a:lnTo>
                    <a:lnTo>
                      <a:pt x="0" y="663840"/>
                    </a:lnTo>
                    <a:lnTo>
                      <a:pt x="0" y="663840"/>
                    </a:lnTo>
                    <a:lnTo>
                      <a:pt x="0" y="211225"/>
                    </a:lnTo>
                    <a:cubicBezTo>
                      <a:pt x="0" y="104798"/>
                      <a:pt x="80700" y="56026"/>
                      <a:pt x="144178" y="22667"/>
                    </a:cubicBezTo>
                    <a:close/>
                  </a:path>
                </a:pathLst>
              </a:cu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82" name="Round Same Side Corner Rectangle 11"/>
              <p:cNvSpPr/>
              <p:nvPr/>
            </p:nvSpPr>
            <p:spPr>
              <a:xfrm rot="16200000">
                <a:off x="6912899" y="2339184"/>
                <a:ext cx="101418" cy="1051827"/>
              </a:xfrm>
              <a:custGeom>
                <a:avLst/>
                <a:gdLst>
                  <a:gd name="connsiteX0" fmla="*/ 192704 w 474348"/>
                  <a:gd name="connsiteY0" fmla="*/ 0 h 645319"/>
                  <a:gd name="connsiteX1" fmla="*/ 281644 w 474348"/>
                  <a:gd name="connsiteY1" fmla="*/ 0 h 645319"/>
                  <a:gd name="connsiteX2" fmla="*/ 474348 w 474348"/>
                  <a:gd name="connsiteY2" fmla="*/ 192704 h 645319"/>
                  <a:gd name="connsiteX3" fmla="*/ 474348 w 474348"/>
                  <a:gd name="connsiteY3" fmla="*/ 645319 h 645319"/>
                  <a:gd name="connsiteX4" fmla="*/ 474348 w 474348"/>
                  <a:gd name="connsiteY4" fmla="*/ 645319 h 645319"/>
                  <a:gd name="connsiteX5" fmla="*/ 0 w 474348"/>
                  <a:gd name="connsiteY5" fmla="*/ 645319 h 645319"/>
                  <a:gd name="connsiteX6" fmla="*/ 0 w 474348"/>
                  <a:gd name="connsiteY6" fmla="*/ 645319 h 645319"/>
                  <a:gd name="connsiteX7" fmla="*/ 0 w 474348"/>
                  <a:gd name="connsiteY7" fmla="*/ 192704 h 645319"/>
                  <a:gd name="connsiteX8" fmla="*/ 192704 w 474348"/>
                  <a:gd name="connsiteY8" fmla="*/ 0 h 645319"/>
                  <a:gd name="connsiteX0" fmla="*/ 192704 w 474348"/>
                  <a:gd name="connsiteY0" fmla="*/ 0 h 645319"/>
                  <a:gd name="connsiteX1" fmla="*/ 281644 w 474348"/>
                  <a:gd name="connsiteY1" fmla="*/ 0 h 645319"/>
                  <a:gd name="connsiteX2" fmla="*/ 474348 w 474348"/>
                  <a:gd name="connsiteY2" fmla="*/ 192704 h 645319"/>
                  <a:gd name="connsiteX3" fmla="*/ 474348 w 474348"/>
                  <a:gd name="connsiteY3" fmla="*/ 645319 h 645319"/>
                  <a:gd name="connsiteX4" fmla="*/ 474348 w 474348"/>
                  <a:gd name="connsiteY4" fmla="*/ 645319 h 645319"/>
                  <a:gd name="connsiteX5" fmla="*/ 248129 w 474348"/>
                  <a:gd name="connsiteY5" fmla="*/ 645319 h 645319"/>
                  <a:gd name="connsiteX6" fmla="*/ 0 w 474348"/>
                  <a:gd name="connsiteY6" fmla="*/ 645319 h 645319"/>
                  <a:gd name="connsiteX7" fmla="*/ 0 w 474348"/>
                  <a:gd name="connsiteY7" fmla="*/ 645319 h 645319"/>
                  <a:gd name="connsiteX8" fmla="*/ 0 w 474348"/>
                  <a:gd name="connsiteY8" fmla="*/ 192704 h 645319"/>
                  <a:gd name="connsiteX9" fmla="*/ 192704 w 474348"/>
                  <a:gd name="connsiteY9" fmla="*/ 0 h 645319"/>
                  <a:gd name="connsiteX0" fmla="*/ 192704 w 474348"/>
                  <a:gd name="connsiteY0" fmla="*/ 2381 h 647700"/>
                  <a:gd name="connsiteX1" fmla="*/ 240986 w 474348"/>
                  <a:gd name="connsiteY1" fmla="*/ 0 h 647700"/>
                  <a:gd name="connsiteX2" fmla="*/ 281644 w 474348"/>
                  <a:gd name="connsiteY2" fmla="*/ 2381 h 647700"/>
                  <a:gd name="connsiteX3" fmla="*/ 474348 w 474348"/>
                  <a:gd name="connsiteY3" fmla="*/ 195085 h 647700"/>
                  <a:gd name="connsiteX4" fmla="*/ 474348 w 474348"/>
                  <a:gd name="connsiteY4" fmla="*/ 647700 h 647700"/>
                  <a:gd name="connsiteX5" fmla="*/ 474348 w 474348"/>
                  <a:gd name="connsiteY5" fmla="*/ 647700 h 647700"/>
                  <a:gd name="connsiteX6" fmla="*/ 248129 w 474348"/>
                  <a:gd name="connsiteY6" fmla="*/ 647700 h 647700"/>
                  <a:gd name="connsiteX7" fmla="*/ 0 w 474348"/>
                  <a:gd name="connsiteY7" fmla="*/ 647700 h 647700"/>
                  <a:gd name="connsiteX8" fmla="*/ 0 w 474348"/>
                  <a:gd name="connsiteY8" fmla="*/ 647700 h 647700"/>
                  <a:gd name="connsiteX9" fmla="*/ 0 w 474348"/>
                  <a:gd name="connsiteY9" fmla="*/ 195085 h 647700"/>
                  <a:gd name="connsiteX10" fmla="*/ 192704 w 474348"/>
                  <a:gd name="connsiteY10" fmla="*/ 2381 h 647700"/>
                  <a:gd name="connsiteX0" fmla="*/ 192704 w 474348"/>
                  <a:gd name="connsiteY0" fmla="*/ 42862 h 688181"/>
                  <a:gd name="connsiteX1" fmla="*/ 240986 w 474348"/>
                  <a:gd name="connsiteY1" fmla="*/ 0 h 688181"/>
                  <a:gd name="connsiteX2" fmla="*/ 281644 w 474348"/>
                  <a:gd name="connsiteY2" fmla="*/ 42862 h 688181"/>
                  <a:gd name="connsiteX3" fmla="*/ 474348 w 474348"/>
                  <a:gd name="connsiteY3" fmla="*/ 235566 h 688181"/>
                  <a:gd name="connsiteX4" fmla="*/ 474348 w 474348"/>
                  <a:gd name="connsiteY4" fmla="*/ 688181 h 688181"/>
                  <a:gd name="connsiteX5" fmla="*/ 474348 w 474348"/>
                  <a:gd name="connsiteY5" fmla="*/ 688181 h 688181"/>
                  <a:gd name="connsiteX6" fmla="*/ 248129 w 474348"/>
                  <a:gd name="connsiteY6" fmla="*/ 688181 h 688181"/>
                  <a:gd name="connsiteX7" fmla="*/ 0 w 474348"/>
                  <a:gd name="connsiteY7" fmla="*/ 688181 h 688181"/>
                  <a:gd name="connsiteX8" fmla="*/ 0 w 474348"/>
                  <a:gd name="connsiteY8" fmla="*/ 688181 h 688181"/>
                  <a:gd name="connsiteX9" fmla="*/ 0 w 474348"/>
                  <a:gd name="connsiteY9" fmla="*/ 235566 h 688181"/>
                  <a:gd name="connsiteX10" fmla="*/ 192704 w 474348"/>
                  <a:gd name="connsiteY10" fmla="*/ 42862 h 688181"/>
                  <a:gd name="connsiteX0" fmla="*/ 192704 w 474348"/>
                  <a:gd name="connsiteY0" fmla="*/ 23812 h 669131"/>
                  <a:gd name="connsiteX1" fmla="*/ 265690 w 474348"/>
                  <a:gd name="connsiteY1" fmla="*/ 0 h 669131"/>
                  <a:gd name="connsiteX2" fmla="*/ 281644 w 474348"/>
                  <a:gd name="connsiteY2" fmla="*/ 23812 h 669131"/>
                  <a:gd name="connsiteX3" fmla="*/ 474348 w 474348"/>
                  <a:gd name="connsiteY3" fmla="*/ 216516 h 669131"/>
                  <a:gd name="connsiteX4" fmla="*/ 474348 w 474348"/>
                  <a:gd name="connsiteY4" fmla="*/ 669131 h 669131"/>
                  <a:gd name="connsiteX5" fmla="*/ 474348 w 474348"/>
                  <a:gd name="connsiteY5" fmla="*/ 669131 h 669131"/>
                  <a:gd name="connsiteX6" fmla="*/ 248129 w 474348"/>
                  <a:gd name="connsiteY6" fmla="*/ 669131 h 669131"/>
                  <a:gd name="connsiteX7" fmla="*/ 0 w 474348"/>
                  <a:gd name="connsiteY7" fmla="*/ 669131 h 669131"/>
                  <a:gd name="connsiteX8" fmla="*/ 0 w 474348"/>
                  <a:gd name="connsiteY8" fmla="*/ 669131 h 669131"/>
                  <a:gd name="connsiteX9" fmla="*/ 0 w 474348"/>
                  <a:gd name="connsiteY9" fmla="*/ 216516 h 669131"/>
                  <a:gd name="connsiteX10" fmla="*/ 192704 w 474348"/>
                  <a:gd name="connsiteY10" fmla="*/ 23812 h 669131"/>
                  <a:gd name="connsiteX0" fmla="*/ 192704 w 474348"/>
                  <a:gd name="connsiteY0" fmla="*/ 23812 h 669131"/>
                  <a:gd name="connsiteX1" fmla="*/ 265690 w 474348"/>
                  <a:gd name="connsiteY1" fmla="*/ 0 h 669131"/>
                  <a:gd name="connsiteX2" fmla="*/ 281644 w 474348"/>
                  <a:gd name="connsiteY2" fmla="*/ 23812 h 669131"/>
                  <a:gd name="connsiteX3" fmla="*/ 474348 w 474348"/>
                  <a:gd name="connsiteY3" fmla="*/ 216516 h 669131"/>
                  <a:gd name="connsiteX4" fmla="*/ 474348 w 474348"/>
                  <a:gd name="connsiteY4" fmla="*/ 669131 h 669131"/>
                  <a:gd name="connsiteX5" fmla="*/ 474348 w 474348"/>
                  <a:gd name="connsiteY5" fmla="*/ 669131 h 669131"/>
                  <a:gd name="connsiteX6" fmla="*/ 248129 w 474348"/>
                  <a:gd name="connsiteY6" fmla="*/ 669131 h 669131"/>
                  <a:gd name="connsiteX7" fmla="*/ 0 w 474348"/>
                  <a:gd name="connsiteY7" fmla="*/ 669131 h 669131"/>
                  <a:gd name="connsiteX8" fmla="*/ 0 w 474348"/>
                  <a:gd name="connsiteY8" fmla="*/ 669131 h 669131"/>
                  <a:gd name="connsiteX9" fmla="*/ 0 w 474348"/>
                  <a:gd name="connsiteY9" fmla="*/ 216516 h 669131"/>
                  <a:gd name="connsiteX10" fmla="*/ 192704 w 474348"/>
                  <a:gd name="connsiteY10" fmla="*/ 23812 h 669131"/>
                  <a:gd name="connsiteX0" fmla="*/ 192704 w 474348"/>
                  <a:gd name="connsiteY0" fmla="*/ 23812 h 669131"/>
                  <a:gd name="connsiteX1" fmla="*/ 265690 w 474348"/>
                  <a:gd name="connsiteY1" fmla="*/ 0 h 669131"/>
                  <a:gd name="connsiteX2" fmla="*/ 281644 w 474348"/>
                  <a:gd name="connsiteY2" fmla="*/ 23812 h 669131"/>
                  <a:gd name="connsiteX3" fmla="*/ 474348 w 474348"/>
                  <a:gd name="connsiteY3" fmla="*/ 216516 h 669131"/>
                  <a:gd name="connsiteX4" fmla="*/ 474348 w 474348"/>
                  <a:gd name="connsiteY4" fmla="*/ 669131 h 669131"/>
                  <a:gd name="connsiteX5" fmla="*/ 474348 w 474348"/>
                  <a:gd name="connsiteY5" fmla="*/ 669131 h 669131"/>
                  <a:gd name="connsiteX6" fmla="*/ 248129 w 474348"/>
                  <a:gd name="connsiteY6" fmla="*/ 669131 h 669131"/>
                  <a:gd name="connsiteX7" fmla="*/ 0 w 474348"/>
                  <a:gd name="connsiteY7" fmla="*/ 669131 h 669131"/>
                  <a:gd name="connsiteX8" fmla="*/ 0 w 474348"/>
                  <a:gd name="connsiteY8" fmla="*/ 669131 h 669131"/>
                  <a:gd name="connsiteX9" fmla="*/ 0 w 474348"/>
                  <a:gd name="connsiteY9" fmla="*/ 216516 h 669131"/>
                  <a:gd name="connsiteX10" fmla="*/ 192704 w 474348"/>
                  <a:gd name="connsiteY10" fmla="*/ 23812 h 669131"/>
                  <a:gd name="connsiteX0" fmla="*/ 192704 w 474348"/>
                  <a:gd name="connsiteY0" fmla="*/ 23812 h 669131"/>
                  <a:gd name="connsiteX1" fmla="*/ 265690 w 474348"/>
                  <a:gd name="connsiteY1" fmla="*/ 0 h 669131"/>
                  <a:gd name="connsiteX2" fmla="*/ 314250 w 474348"/>
                  <a:gd name="connsiteY2" fmla="*/ 24047 h 669131"/>
                  <a:gd name="connsiteX3" fmla="*/ 474348 w 474348"/>
                  <a:gd name="connsiteY3" fmla="*/ 216516 h 669131"/>
                  <a:gd name="connsiteX4" fmla="*/ 474348 w 474348"/>
                  <a:gd name="connsiteY4" fmla="*/ 669131 h 669131"/>
                  <a:gd name="connsiteX5" fmla="*/ 474348 w 474348"/>
                  <a:gd name="connsiteY5" fmla="*/ 669131 h 669131"/>
                  <a:gd name="connsiteX6" fmla="*/ 248129 w 474348"/>
                  <a:gd name="connsiteY6" fmla="*/ 669131 h 669131"/>
                  <a:gd name="connsiteX7" fmla="*/ 0 w 474348"/>
                  <a:gd name="connsiteY7" fmla="*/ 669131 h 669131"/>
                  <a:gd name="connsiteX8" fmla="*/ 0 w 474348"/>
                  <a:gd name="connsiteY8" fmla="*/ 669131 h 669131"/>
                  <a:gd name="connsiteX9" fmla="*/ 0 w 474348"/>
                  <a:gd name="connsiteY9" fmla="*/ 216516 h 669131"/>
                  <a:gd name="connsiteX10" fmla="*/ 192704 w 474348"/>
                  <a:gd name="connsiteY10" fmla="*/ 23812 h 669131"/>
                  <a:gd name="connsiteX0" fmla="*/ 192704 w 474348"/>
                  <a:gd name="connsiteY0" fmla="*/ 23812 h 669131"/>
                  <a:gd name="connsiteX1" fmla="*/ 265690 w 474348"/>
                  <a:gd name="connsiteY1" fmla="*/ 0 h 669131"/>
                  <a:gd name="connsiteX2" fmla="*/ 314250 w 474348"/>
                  <a:gd name="connsiteY2" fmla="*/ 24047 h 669131"/>
                  <a:gd name="connsiteX3" fmla="*/ 474348 w 474348"/>
                  <a:gd name="connsiteY3" fmla="*/ 216516 h 669131"/>
                  <a:gd name="connsiteX4" fmla="*/ 474348 w 474348"/>
                  <a:gd name="connsiteY4" fmla="*/ 669131 h 669131"/>
                  <a:gd name="connsiteX5" fmla="*/ 474348 w 474348"/>
                  <a:gd name="connsiteY5" fmla="*/ 669131 h 669131"/>
                  <a:gd name="connsiteX6" fmla="*/ 248129 w 474348"/>
                  <a:gd name="connsiteY6" fmla="*/ 669131 h 669131"/>
                  <a:gd name="connsiteX7" fmla="*/ 0 w 474348"/>
                  <a:gd name="connsiteY7" fmla="*/ 669131 h 669131"/>
                  <a:gd name="connsiteX8" fmla="*/ 0 w 474348"/>
                  <a:gd name="connsiteY8" fmla="*/ 669131 h 669131"/>
                  <a:gd name="connsiteX9" fmla="*/ 0 w 474348"/>
                  <a:gd name="connsiteY9" fmla="*/ 216516 h 669131"/>
                  <a:gd name="connsiteX10" fmla="*/ 192704 w 474348"/>
                  <a:gd name="connsiteY10" fmla="*/ 23812 h 669131"/>
                  <a:gd name="connsiteX0" fmla="*/ 192704 w 474348"/>
                  <a:gd name="connsiteY0" fmla="*/ 23812 h 669131"/>
                  <a:gd name="connsiteX1" fmla="*/ 265690 w 474348"/>
                  <a:gd name="connsiteY1" fmla="*/ 0 h 669131"/>
                  <a:gd name="connsiteX2" fmla="*/ 314250 w 474348"/>
                  <a:gd name="connsiteY2" fmla="*/ 24047 h 669131"/>
                  <a:gd name="connsiteX3" fmla="*/ 474348 w 474348"/>
                  <a:gd name="connsiteY3" fmla="*/ 216516 h 669131"/>
                  <a:gd name="connsiteX4" fmla="*/ 474348 w 474348"/>
                  <a:gd name="connsiteY4" fmla="*/ 669131 h 669131"/>
                  <a:gd name="connsiteX5" fmla="*/ 474348 w 474348"/>
                  <a:gd name="connsiteY5" fmla="*/ 669131 h 669131"/>
                  <a:gd name="connsiteX6" fmla="*/ 248129 w 474348"/>
                  <a:gd name="connsiteY6" fmla="*/ 669131 h 669131"/>
                  <a:gd name="connsiteX7" fmla="*/ 0 w 474348"/>
                  <a:gd name="connsiteY7" fmla="*/ 669131 h 669131"/>
                  <a:gd name="connsiteX8" fmla="*/ 0 w 474348"/>
                  <a:gd name="connsiteY8" fmla="*/ 669131 h 669131"/>
                  <a:gd name="connsiteX9" fmla="*/ 0 w 474348"/>
                  <a:gd name="connsiteY9" fmla="*/ 216516 h 669131"/>
                  <a:gd name="connsiteX10" fmla="*/ 192704 w 474348"/>
                  <a:gd name="connsiteY10" fmla="*/ 23812 h 669131"/>
                  <a:gd name="connsiteX0" fmla="*/ 174282 w 474348"/>
                  <a:gd name="connsiteY0" fmla="*/ 23596 h 669131"/>
                  <a:gd name="connsiteX1" fmla="*/ 265690 w 474348"/>
                  <a:gd name="connsiteY1" fmla="*/ 0 h 669131"/>
                  <a:gd name="connsiteX2" fmla="*/ 314250 w 474348"/>
                  <a:gd name="connsiteY2" fmla="*/ 24047 h 669131"/>
                  <a:gd name="connsiteX3" fmla="*/ 474348 w 474348"/>
                  <a:gd name="connsiteY3" fmla="*/ 216516 h 669131"/>
                  <a:gd name="connsiteX4" fmla="*/ 474348 w 474348"/>
                  <a:gd name="connsiteY4" fmla="*/ 669131 h 669131"/>
                  <a:gd name="connsiteX5" fmla="*/ 474348 w 474348"/>
                  <a:gd name="connsiteY5" fmla="*/ 669131 h 669131"/>
                  <a:gd name="connsiteX6" fmla="*/ 248129 w 474348"/>
                  <a:gd name="connsiteY6" fmla="*/ 669131 h 669131"/>
                  <a:gd name="connsiteX7" fmla="*/ 0 w 474348"/>
                  <a:gd name="connsiteY7" fmla="*/ 669131 h 669131"/>
                  <a:gd name="connsiteX8" fmla="*/ 0 w 474348"/>
                  <a:gd name="connsiteY8" fmla="*/ 669131 h 669131"/>
                  <a:gd name="connsiteX9" fmla="*/ 0 w 474348"/>
                  <a:gd name="connsiteY9" fmla="*/ 216516 h 669131"/>
                  <a:gd name="connsiteX10" fmla="*/ 174282 w 474348"/>
                  <a:gd name="connsiteY10" fmla="*/ 23596 h 669131"/>
                  <a:gd name="connsiteX0" fmla="*/ 174282 w 474348"/>
                  <a:gd name="connsiteY0" fmla="*/ 24619 h 670154"/>
                  <a:gd name="connsiteX1" fmla="*/ 216121 w 474348"/>
                  <a:gd name="connsiteY1" fmla="*/ 0 h 670154"/>
                  <a:gd name="connsiteX2" fmla="*/ 314250 w 474348"/>
                  <a:gd name="connsiteY2" fmla="*/ 25070 h 670154"/>
                  <a:gd name="connsiteX3" fmla="*/ 474348 w 474348"/>
                  <a:gd name="connsiteY3" fmla="*/ 217539 h 670154"/>
                  <a:gd name="connsiteX4" fmla="*/ 474348 w 474348"/>
                  <a:gd name="connsiteY4" fmla="*/ 670154 h 670154"/>
                  <a:gd name="connsiteX5" fmla="*/ 474348 w 474348"/>
                  <a:gd name="connsiteY5" fmla="*/ 670154 h 670154"/>
                  <a:gd name="connsiteX6" fmla="*/ 248129 w 474348"/>
                  <a:gd name="connsiteY6" fmla="*/ 670154 h 670154"/>
                  <a:gd name="connsiteX7" fmla="*/ 0 w 474348"/>
                  <a:gd name="connsiteY7" fmla="*/ 670154 h 670154"/>
                  <a:gd name="connsiteX8" fmla="*/ 0 w 474348"/>
                  <a:gd name="connsiteY8" fmla="*/ 670154 h 670154"/>
                  <a:gd name="connsiteX9" fmla="*/ 0 w 474348"/>
                  <a:gd name="connsiteY9" fmla="*/ 217539 h 670154"/>
                  <a:gd name="connsiteX10" fmla="*/ 174282 w 474348"/>
                  <a:gd name="connsiteY10" fmla="*/ 24619 h 670154"/>
                  <a:gd name="connsiteX0" fmla="*/ 174282 w 474348"/>
                  <a:gd name="connsiteY0" fmla="*/ 24619 h 670154"/>
                  <a:gd name="connsiteX1" fmla="*/ 216121 w 474348"/>
                  <a:gd name="connsiteY1" fmla="*/ 0 h 670154"/>
                  <a:gd name="connsiteX2" fmla="*/ 314250 w 474348"/>
                  <a:gd name="connsiteY2" fmla="*/ 25070 h 670154"/>
                  <a:gd name="connsiteX3" fmla="*/ 474348 w 474348"/>
                  <a:gd name="connsiteY3" fmla="*/ 217539 h 670154"/>
                  <a:gd name="connsiteX4" fmla="*/ 474348 w 474348"/>
                  <a:gd name="connsiteY4" fmla="*/ 670154 h 670154"/>
                  <a:gd name="connsiteX5" fmla="*/ 474348 w 474348"/>
                  <a:gd name="connsiteY5" fmla="*/ 670154 h 670154"/>
                  <a:gd name="connsiteX6" fmla="*/ 248129 w 474348"/>
                  <a:gd name="connsiteY6" fmla="*/ 670154 h 670154"/>
                  <a:gd name="connsiteX7" fmla="*/ 0 w 474348"/>
                  <a:gd name="connsiteY7" fmla="*/ 670154 h 670154"/>
                  <a:gd name="connsiteX8" fmla="*/ 0 w 474348"/>
                  <a:gd name="connsiteY8" fmla="*/ 670154 h 670154"/>
                  <a:gd name="connsiteX9" fmla="*/ 0 w 474348"/>
                  <a:gd name="connsiteY9" fmla="*/ 217539 h 670154"/>
                  <a:gd name="connsiteX10" fmla="*/ 174282 w 474348"/>
                  <a:gd name="connsiteY10" fmla="*/ 24619 h 670154"/>
                  <a:gd name="connsiteX0" fmla="*/ 174282 w 474348"/>
                  <a:gd name="connsiteY0" fmla="*/ 24619 h 670154"/>
                  <a:gd name="connsiteX1" fmla="*/ 216121 w 474348"/>
                  <a:gd name="connsiteY1" fmla="*/ 0 h 670154"/>
                  <a:gd name="connsiteX2" fmla="*/ 314250 w 474348"/>
                  <a:gd name="connsiteY2" fmla="*/ 25070 h 670154"/>
                  <a:gd name="connsiteX3" fmla="*/ 474348 w 474348"/>
                  <a:gd name="connsiteY3" fmla="*/ 217539 h 670154"/>
                  <a:gd name="connsiteX4" fmla="*/ 474348 w 474348"/>
                  <a:gd name="connsiteY4" fmla="*/ 670154 h 670154"/>
                  <a:gd name="connsiteX5" fmla="*/ 474348 w 474348"/>
                  <a:gd name="connsiteY5" fmla="*/ 670154 h 670154"/>
                  <a:gd name="connsiteX6" fmla="*/ 248129 w 474348"/>
                  <a:gd name="connsiteY6" fmla="*/ 670154 h 670154"/>
                  <a:gd name="connsiteX7" fmla="*/ 0 w 474348"/>
                  <a:gd name="connsiteY7" fmla="*/ 670154 h 670154"/>
                  <a:gd name="connsiteX8" fmla="*/ 0 w 474348"/>
                  <a:gd name="connsiteY8" fmla="*/ 670154 h 670154"/>
                  <a:gd name="connsiteX9" fmla="*/ 0 w 474348"/>
                  <a:gd name="connsiteY9" fmla="*/ 217539 h 670154"/>
                  <a:gd name="connsiteX10" fmla="*/ 174282 w 474348"/>
                  <a:gd name="connsiteY10" fmla="*/ 24619 h 670154"/>
                  <a:gd name="connsiteX0" fmla="*/ 174282 w 474348"/>
                  <a:gd name="connsiteY0" fmla="*/ 24619 h 670154"/>
                  <a:gd name="connsiteX1" fmla="*/ 216121 w 474348"/>
                  <a:gd name="connsiteY1" fmla="*/ 0 h 670154"/>
                  <a:gd name="connsiteX2" fmla="*/ 314250 w 474348"/>
                  <a:gd name="connsiteY2" fmla="*/ 25070 h 670154"/>
                  <a:gd name="connsiteX3" fmla="*/ 474348 w 474348"/>
                  <a:gd name="connsiteY3" fmla="*/ 217539 h 670154"/>
                  <a:gd name="connsiteX4" fmla="*/ 474348 w 474348"/>
                  <a:gd name="connsiteY4" fmla="*/ 670154 h 670154"/>
                  <a:gd name="connsiteX5" fmla="*/ 474348 w 474348"/>
                  <a:gd name="connsiteY5" fmla="*/ 670154 h 670154"/>
                  <a:gd name="connsiteX6" fmla="*/ 248129 w 474348"/>
                  <a:gd name="connsiteY6" fmla="*/ 670154 h 670154"/>
                  <a:gd name="connsiteX7" fmla="*/ 0 w 474348"/>
                  <a:gd name="connsiteY7" fmla="*/ 670154 h 670154"/>
                  <a:gd name="connsiteX8" fmla="*/ 0 w 474348"/>
                  <a:gd name="connsiteY8" fmla="*/ 670154 h 670154"/>
                  <a:gd name="connsiteX9" fmla="*/ 0 w 474348"/>
                  <a:gd name="connsiteY9" fmla="*/ 217539 h 670154"/>
                  <a:gd name="connsiteX10" fmla="*/ 174282 w 474348"/>
                  <a:gd name="connsiteY10" fmla="*/ 24619 h 670154"/>
                  <a:gd name="connsiteX0" fmla="*/ 148557 w 474348"/>
                  <a:gd name="connsiteY0" fmla="*/ 27264 h 670154"/>
                  <a:gd name="connsiteX1" fmla="*/ 216121 w 474348"/>
                  <a:gd name="connsiteY1" fmla="*/ 0 h 670154"/>
                  <a:gd name="connsiteX2" fmla="*/ 314250 w 474348"/>
                  <a:gd name="connsiteY2" fmla="*/ 25070 h 670154"/>
                  <a:gd name="connsiteX3" fmla="*/ 474348 w 474348"/>
                  <a:gd name="connsiteY3" fmla="*/ 217539 h 670154"/>
                  <a:gd name="connsiteX4" fmla="*/ 474348 w 474348"/>
                  <a:gd name="connsiteY4" fmla="*/ 670154 h 670154"/>
                  <a:gd name="connsiteX5" fmla="*/ 474348 w 474348"/>
                  <a:gd name="connsiteY5" fmla="*/ 670154 h 670154"/>
                  <a:gd name="connsiteX6" fmla="*/ 248129 w 474348"/>
                  <a:gd name="connsiteY6" fmla="*/ 670154 h 670154"/>
                  <a:gd name="connsiteX7" fmla="*/ 0 w 474348"/>
                  <a:gd name="connsiteY7" fmla="*/ 670154 h 670154"/>
                  <a:gd name="connsiteX8" fmla="*/ 0 w 474348"/>
                  <a:gd name="connsiteY8" fmla="*/ 670154 h 670154"/>
                  <a:gd name="connsiteX9" fmla="*/ 0 w 474348"/>
                  <a:gd name="connsiteY9" fmla="*/ 217539 h 670154"/>
                  <a:gd name="connsiteX10" fmla="*/ 148557 w 474348"/>
                  <a:gd name="connsiteY10" fmla="*/ 27264 h 670154"/>
                  <a:gd name="connsiteX0" fmla="*/ 148557 w 474348"/>
                  <a:gd name="connsiteY0" fmla="*/ 20950 h 663840"/>
                  <a:gd name="connsiteX1" fmla="*/ 214238 w 474348"/>
                  <a:gd name="connsiteY1" fmla="*/ 0 h 663840"/>
                  <a:gd name="connsiteX2" fmla="*/ 314250 w 474348"/>
                  <a:gd name="connsiteY2" fmla="*/ 18756 h 663840"/>
                  <a:gd name="connsiteX3" fmla="*/ 474348 w 474348"/>
                  <a:gd name="connsiteY3" fmla="*/ 211225 h 663840"/>
                  <a:gd name="connsiteX4" fmla="*/ 474348 w 474348"/>
                  <a:gd name="connsiteY4" fmla="*/ 663840 h 663840"/>
                  <a:gd name="connsiteX5" fmla="*/ 474348 w 474348"/>
                  <a:gd name="connsiteY5" fmla="*/ 663840 h 663840"/>
                  <a:gd name="connsiteX6" fmla="*/ 248129 w 474348"/>
                  <a:gd name="connsiteY6" fmla="*/ 663840 h 663840"/>
                  <a:gd name="connsiteX7" fmla="*/ 0 w 474348"/>
                  <a:gd name="connsiteY7" fmla="*/ 663840 h 663840"/>
                  <a:gd name="connsiteX8" fmla="*/ 0 w 474348"/>
                  <a:gd name="connsiteY8" fmla="*/ 663840 h 663840"/>
                  <a:gd name="connsiteX9" fmla="*/ 0 w 474348"/>
                  <a:gd name="connsiteY9" fmla="*/ 211225 h 663840"/>
                  <a:gd name="connsiteX10" fmla="*/ 148557 w 474348"/>
                  <a:gd name="connsiteY10" fmla="*/ 20950 h 663840"/>
                  <a:gd name="connsiteX0" fmla="*/ 148557 w 474348"/>
                  <a:gd name="connsiteY0" fmla="*/ 20950 h 663840"/>
                  <a:gd name="connsiteX1" fmla="*/ 214238 w 474348"/>
                  <a:gd name="connsiteY1" fmla="*/ 0 h 663840"/>
                  <a:gd name="connsiteX2" fmla="*/ 314250 w 474348"/>
                  <a:gd name="connsiteY2" fmla="*/ 18756 h 663840"/>
                  <a:gd name="connsiteX3" fmla="*/ 474348 w 474348"/>
                  <a:gd name="connsiteY3" fmla="*/ 211225 h 663840"/>
                  <a:gd name="connsiteX4" fmla="*/ 474348 w 474348"/>
                  <a:gd name="connsiteY4" fmla="*/ 663840 h 663840"/>
                  <a:gd name="connsiteX5" fmla="*/ 474348 w 474348"/>
                  <a:gd name="connsiteY5" fmla="*/ 663840 h 663840"/>
                  <a:gd name="connsiteX6" fmla="*/ 248129 w 474348"/>
                  <a:gd name="connsiteY6" fmla="*/ 663840 h 663840"/>
                  <a:gd name="connsiteX7" fmla="*/ 0 w 474348"/>
                  <a:gd name="connsiteY7" fmla="*/ 663840 h 663840"/>
                  <a:gd name="connsiteX8" fmla="*/ 0 w 474348"/>
                  <a:gd name="connsiteY8" fmla="*/ 663840 h 663840"/>
                  <a:gd name="connsiteX9" fmla="*/ 0 w 474348"/>
                  <a:gd name="connsiteY9" fmla="*/ 211225 h 663840"/>
                  <a:gd name="connsiteX10" fmla="*/ 148557 w 474348"/>
                  <a:gd name="connsiteY10" fmla="*/ 20950 h 663840"/>
                  <a:gd name="connsiteX0" fmla="*/ 148557 w 474348"/>
                  <a:gd name="connsiteY0" fmla="*/ 20950 h 663840"/>
                  <a:gd name="connsiteX1" fmla="*/ 214238 w 474348"/>
                  <a:gd name="connsiteY1" fmla="*/ 0 h 663840"/>
                  <a:gd name="connsiteX2" fmla="*/ 314250 w 474348"/>
                  <a:gd name="connsiteY2" fmla="*/ 18756 h 663840"/>
                  <a:gd name="connsiteX3" fmla="*/ 474348 w 474348"/>
                  <a:gd name="connsiteY3" fmla="*/ 211225 h 663840"/>
                  <a:gd name="connsiteX4" fmla="*/ 474348 w 474348"/>
                  <a:gd name="connsiteY4" fmla="*/ 663840 h 663840"/>
                  <a:gd name="connsiteX5" fmla="*/ 474348 w 474348"/>
                  <a:gd name="connsiteY5" fmla="*/ 663840 h 663840"/>
                  <a:gd name="connsiteX6" fmla="*/ 248129 w 474348"/>
                  <a:gd name="connsiteY6" fmla="*/ 663840 h 663840"/>
                  <a:gd name="connsiteX7" fmla="*/ 0 w 474348"/>
                  <a:gd name="connsiteY7" fmla="*/ 663840 h 663840"/>
                  <a:gd name="connsiteX8" fmla="*/ 0 w 474348"/>
                  <a:gd name="connsiteY8" fmla="*/ 663840 h 663840"/>
                  <a:gd name="connsiteX9" fmla="*/ 0 w 474348"/>
                  <a:gd name="connsiteY9" fmla="*/ 211225 h 663840"/>
                  <a:gd name="connsiteX10" fmla="*/ 148557 w 474348"/>
                  <a:gd name="connsiteY10" fmla="*/ 20950 h 663840"/>
                  <a:gd name="connsiteX0" fmla="*/ 144178 w 474348"/>
                  <a:gd name="connsiteY0" fmla="*/ 22667 h 663840"/>
                  <a:gd name="connsiteX1" fmla="*/ 214238 w 474348"/>
                  <a:gd name="connsiteY1" fmla="*/ 0 h 663840"/>
                  <a:gd name="connsiteX2" fmla="*/ 314250 w 474348"/>
                  <a:gd name="connsiteY2" fmla="*/ 18756 h 663840"/>
                  <a:gd name="connsiteX3" fmla="*/ 474348 w 474348"/>
                  <a:gd name="connsiteY3" fmla="*/ 211225 h 663840"/>
                  <a:gd name="connsiteX4" fmla="*/ 474348 w 474348"/>
                  <a:gd name="connsiteY4" fmla="*/ 663840 h 663840"/>
                  <a:gd name="connsiteX5" fmla="*/ 474348 w 474348"/>
                  <a:gd name="connsiteY5" fmla="*/ 663840 h 663840"/>
                  <a:gd name="connsiteX6" fmla="*/ 248129 w 474348"/>
                  <a:gd name="connsiteY6" fmla="*/ 663840 h 663840"/>
                  <a:gd name="connsiteX7" fmla="*/ 0 w 474348"/>
                  <a:gd name="connsiteY7" fmla="*/ 663840 h 663840"/>
                  <a:gd name="connsiteX8" fmla="*/ 0 w 474348"/>
                  <a:gd name="connsiteY8" fmla="*/ 663840 h 663840"/>
                  <a:gd name="connsiteX9" fmla="*/ 0 w 474348"/>
                  <a:gd name="connsiteY9" fmla="*/ 211225 h 663840"/>
                  <a:gd name="connsiteX10" fmla="*/ 144178 w 474348"/>
                  <a:gd name="connsiteY10" fmla="*/ 22667 h 663840"/>
                  <a:gd name="connsiteX0" fmla="*/ 144178 w 474348"/>
                  <a:gd name="connsiteY0" fmla="*/ 22667 h 663840"/>
                  <a:gd name="connsiteX1" fmla="*/ 214238 w 474348"/>
                  <a:gd name="connsiteY1" fmla="*/ 0 h 663840"/>
                  <a:gd name="connsiteX2" fmla="*/ 314250 w 474348"/>
                  <a:gd name="connsiteY2" fmla="*/ 18756 h 663840"/>
                  <a:gd name="connsiteX3" fmla="*/ 474348 w 474348"/>
                  <a:gd name="connsiteY3" fmla="*/ 211225 h 663840"/>
                  <a:gd name="connsiteX4" fmla="*/ 474348 w 474348"/>
                  <a:gd name="connsiteY4" fmla="*/ 663840 h 663840"/>
                  <a:gd name="connsiteX5" fmla="*/ 474348 w 474348"/>
                  <a:gd name="connsiteY5" fmla="*/ 663840 h 663840"/>
                  <a:gd name="connsiteX6" fmla="*/ 248129 w 474348"/>
                  <a:gd name="connsiteY6" fmla="*/ 663840 h 663840"/>
                  <a:gd name="connsiteX7" fmla="*/ 0 w 474348"/>
                  <a:gd name="connsiteY7" fmla="*/ 663840 h 663840"/>
                  <a:gd name="connsiteX8" fmla="*/ 0 w 474348"/>
                  <a:gd name="connsiteY8" fmla="*/ 663840 h 663840"/>
                  <a:gd name="connsiteX9" fmla="*/ 0 w 474348"/>
                  <a:gd name="connsiteY9" fmla="*/ 211225 h 663840"/>
                  <a:gd name="connsiteX10" fmla="*/ 144178 w 474348"/>
                  <a:gd name="connsiteY10" fmla="*/ 22667 h 663840"/>
                  <a:gd name="connsiteX0" fmla="*/ 144178 w 474348"/>
                  <a:gd name="connsiteY0" fmla="*/ 22667 h 663840"/>
                  <a:gd name="connsiteX1" fmla="*/ 214238 w 474348"/>
                  <a:gd name="connsiteY1" fmla="*/ 0 h 663840"/>
                  <a:gd name="connsiteX2" fmla="*/ 314250 w 474348"/>
                  <a:gd name="connsiteY2" fmla="*/ 18756 h 663840"/>
                  <a:gd name="connsiteX3" fmla="*/ 474348 w 474348"/>
                  <a:gd name="connsiteY3" fmla="*/ 211225 h 663840"/>
                  <a:gd name="connsiteX4" fmla="*/ 474348 w 474348"/>
                  <a:gd name="connsiteY4" fmla="*/ 663840 h 663840"/>
                  <a:gd name="connsiteX5" fmla="*/ 474348 w 474348"/>
                  <a:gd name="connsiteY5" fmla="*/ 663840 h 663840"/>
                  <a:gd name="connsiteX6" fmla="*/ 248129 w 474348"/>
                  <a:gd name="connsiteY6" fmla="*/ 663840 h 663840"/>
                  <a:gd name="connsiteX7" fmla="*/ 0 w 474348"/>
                  <a:gd name="connsiteY7" fmla="*/ 663840 h 663840"/>
                  <a:gd name="connsiteX8" fmla="*/ 0 w 474348"/>
                  <a:gd name="connsiteY8" fmla="*/ 663840 h 663840"/>
                  <a:gd name="connsiteX9" fmla="*/ 0 w 474348"/>
                  <a:gd name="connsiteY9" fmla="*/ 211225 h 663840"/>
                  <a:gd name="connsiteX10" fmla="*/ 144178 w 474348"/>
                  <a:gd name="connsiteY10" fmla="*/ 22667 h 663840"/>
                  <a:gd name="connsiteX0" fmla="*/ 144178 w 474348"/>
                  <a:gd name="connsiteY0" fmla="*/ 22667 h 663840"/>
                  <a:gd name="connsiteX1" fmla="*/ 214238 w 474348"/>
                  <a:gd name="connsiteY1" fmla="*/ 0 h 663840"/>
                  <a:gd name="connsiteX2" fmla="*/ 314250 w 474348"/>
                  <a:gd name="connsiteY2" fmla="*/ 18756 h 663840"/>
                  <a:gd name="connsiteX3" fmla="*/ 474348 w 474348"/>
                  <a:gd name="connsiteY3" fmla="*/ 211225 h 663840"/>
                  <a:gd name="connsiteX4" fmla="*/ 474348 w 474348"/>
                  <a:gd name="connsiteY4" fmla="*/ 663840 h 663840"/>
                  <a:gd name="connsiteX5" fmla="*/ 474348 w 474348"/>
                  <a:gd name="connsiteY5" fmla="*/ 663840 h 663840"/>
                  <a:gd name="connsiteX6" fmla="*/ 248129 w 474348"/>
                  <a:gd name="connsiteY6" fmla="*/ 663840 h 663840"/>
                  <a:gd name="connsiteX7" fmla="*/ 0 w 474348"/>
                  <a:gd name="connsiteY7" fmla="*/ 663840 h 663840"/>
                  <a:gd name="connsiteX8" fmla="*/ 0 w 474348"/>
                  <a:gd name="connsiteY8" fmla="*/ 663840 h 663840"/>
                  <a:gd name="connsiteX9" fmla="*/ 0 w 474348"/>
                  <a:gd name="connsiteY9" fmla="*/ 211225 h 663840"/>
                  <a:gd name="connsiteX10" fmla="*/ 144178 w 474348"/>
                  <a:gd name="connsiteY10" fmla="*/ 22667 h 6638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74348" h="663840">
                    <a:moveTo>
                      <a:pt x="144178" y="22667"/>
                    </a:moveTo>
                    <a:cubicBezTo>
                      <a:pt x="211732" y="-970"/>
                      <a:pt x="181869" y="7990"/>
                      <a:pt x="214238" y="0"/>
                    </a:cubicBezTo>
                    <a:cubicBezTo>
                      <a:pt x="259321" y="7224"/>
                      <a:pt x="221757" y="369"/>
                      <a:pt x="314250" y="18756"/>
                    </a:cubicBezTo>
                    <a:cubicBezTo>
                      <a:pt x="399877" y="51074"/>
                      <a:pt x="474348" y="104798"/>
                      <a:pt x="474348" y="211225"/>
                    </a:cubicBezTo>
                    <a:lnTo>
                      <a:pt x="474348" y="663840"/>
                    </a:lnTo>
                    <a:lnTo>
                      <a:pt x="474348" y="663840"/>
                    </a:lnTo>
                    <a:lnTo>
                      <a:pt x="248129" y="663840"/>
                    </a:lnTo>
                    <a:lnTo>
                      <a:pt x="0" y="663840"/>
                    </a:lnTo>
                    <a:lnTo>
                      <a:pt x="0" y="663840"/>
                    </a:lnTo>
                    <a:lnTo>
                      <a:pt x="0" y="211225"/>
                    </a:lnTo>
                    <a:cubicBezTo>
                      <a:pt x="0" y="104798"/>
                      <a:pt x="80700" y="56026"/>
                      <a:pt x="144178" y="22667"/>
                    </a:cubicBezTo>
                    <a:close/>
                  </a:path>
                </a:pathLst>
              </a:cu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grpSp>
        <p:grpSp>
          <p:nvGrpSpPr>
            <p:cNvPr id="83" name="Group 82"/>
            <p:cNvGrpSpPr/>
            <p:nvPr/>
          </p:nvGrpSpPr>
          <p:grpSpPr>
            <a:xfrm rot="15300000">
              <a:off x="6430508" y="2814389"/>
              <a:ext cx="2108839" cy="101418"/>
              <a:chOff x="6437694" y="2814389"/>
              <a:chExt cx="2108839" cy="101418"/>
            </a:xfrm>
          </p:grpSpPr>
          <p:sp>
            <p:nvSpPr>
              <p:cNvPr id="84" name="Round Same Side Corner Rectangle 11"/>
              <p:cNvSpPr/>
              <p:nvPr/>
            </p:nvSpPr>
            <p:spPr>
              <a:xfrm rot="5400000" flipH="1">
                <a:off x="7969911" y="2339184"/>
                <a:ext cx="101418" cy="1051827"/>
              </a:xfrm>
              <a:custGeom>
                <a:avLst/>
                <a:gdLst>
                  <a:gd name="connsiteX0" fmla="*/ 192704 w 474348"/>
                  <a:gd name="connsiteY0" fmla="*/ 0 h 645319"/>
                  <a:gd name="connsiteX1" fmla="*/ 281644 w 474348"/>
                  <a:gd name="connsiteY1" fmla="*/ 0 h 645319"/>
                  <a:gd name="connsiteX2" fmla="*/ 474348 w 474348"/>
                  <a:gd name="connsiteY2" fmla="*/ 192704 h 645319"/>
                  <a:gd name="connsiteX3" fmla="*/ 474348 w 474348"/>
                  <a:gd name="connsiteY3" fmla="*/ 645319 h 645319"/>
                  <a:gd name="connsiteX4" fmla="*/ 474348 w 474348"/>
                  <a:gd name="connsiteY4" fmla="*/ 645319 h 645319"/>
                  <a:gd name="connsiteX5" fmla="*/ 0 w 474348"/>
                  <a:gd name="connsiteY5" fmla="*/ 645319 h 645319"/>
                  <a:gd name="connsiteX6" fmla="*/ 0 w 474348"/>
                  <a:gd name="connsiteY6" fmla="*/ 645319 h 645319"/>
                  <a:gd name="connsiteX7" fmla="*/ 0 w 474348"/>
                  <a:gd name="connsiteY7" fmla="*/ 192704 h 645319"/>
                  <a:gd name="connsiteX8" fmla="*/ 192704 w 474348"/>
                  <a:gd name="connsiteY8" fmla="*/ 0 h 645319"/>
                  <a:gd name="connsiteX0" fmla="*/ 192704 w 474348"/>
                  <a:gd name="connsiteY0" fmla="*/ 0 h 645319"/>
                  <a:gd name="connsiteX1" fmla="*/ 281644 w 474348"/>
                  <a:gd name="connsiteY1" fmla="*/ 0 h 645319"/>
                  <a:gd name="connsiteX2" fmla="*/ 474348 w 474348"/>
                  <a:gd name="connsiteY2" fmla="*/ 192704 h 645319"/>
                  <a:gd name="connsiteX3" fmla="*/ 474348 w 474348"/>
                  <a:gd name="connsiteY3" fmla="*/ 645319 h 645319"/>
                  <a:gd name="connsiteX4" fmla="*/ 474348 w 474348"/>
                  <a:gd name="connsiteY4" fmla="*/ 645319 h 645319"/>
                  <a:gd name="connsiteX5" fmla="*/ 248129 w 474348"/>
                  <a:gd name="connsiteY5" fmla="*/ 645319 h 645319"/>
                  <a:gd name="connsiteX6" fmla="*/ 0 w 474348"/>
                  <a:gd name="connsiteY6" fmla="*/ 645319 h 645319"/>
                  <a:gd name="connsiteX7" fmla="*/ 0 w 474348"/>
                  <a:gd name="connsiteY7" fmla="*/ 645319 h 645319"/>
                  <a:gd name="connsiteX8" fmla="*/ 0 w 474348"/>
                  <a:gd name="connsiteY8" fmla="*/ 192704 h 645319"/>
                  <a:gd name="connsiteX9" fmla="*/ 192704 w 474348"/>
                  <a:gd name="connsiteY9" fmla="*/ 0 h 645319"/>
                  <a:gd name="connsiteX0" fmla="*/ 192704 w 474348"/>
                  <a:gd name="connsiteY0" fmla="*/ 2381 h 647700"/>
                  <a:gd name="connsiteX1" fmla="*/ 240986 w 474348"/>
                  <a:gd name="connsiteY1" fmla="*/ 0 h 647700"/>
                  <a:gd name="connsiteX2" fmla="*/ 281644 w 474348"/>
                  <a:gd name="connsiteY2" fmla="*/ 2381 h 647700"/>
                  <a:gd name="connsiteX3" fmla="*/ 474348 w 474348"/>
                  <a:gd name="connsiteY3" fmla="*/ 195085 h 647700"/>
                  <a:gd name="connsiteX4" fmla="*/ 474348 w 474348"/>
                  <a:gd name="connsiteY4" fmla="*/ 647700 h 647700"/>
                  <a:gd name="connsiteX5" fmla="*/ 474348 w 474348"/>
                  <a:gd name="connsiteY5" fmla="*/ 647700 h 647700"/>
                  <a:gd name="connsiteX6" fmla="*/ 248129 w 474348"/>
                  <a:gd name="connsiteY6" fmla="*/ 647700 h 647700"/>
                  <a:gd name="connsiteX7" fmla="*/ 0 w 474348"/>
                  <a:gd name="connsiteY7" fmla="*/ 647700 h 647700"/>
                  <a:gd name="connsiteX8" fmla="*/ 0 w 474348"/>
                  <a:gd name="connsiteY8" fmla="*/ 647700 h 647700"/>
                  <a:gd name="connsiteX9" fmla="*/ 0 w 474348"/>
                  <a:gd name="connsiteY9" fmla="*/ 195085 h 647700"/>
                  <a:gd name="connsiteX10" fmla="*/ 192704 w 474348"/>
                  <a:gd name="connsiteY10" fmla="*/ 2381 h 647700"/>
                  <a:gd name="connsiteX0" fmla="*/ 192704 w 474348"/>
                  <a:gd name="connsiteY0" fmla="*/ 42862 h 688181"/>
                  <a:gd name="connsiteX1" fmla="*/ 240986 w 474348"/>
                  <a:gd name="connsiteY1" fmla="*/ 0 h 688181"/>
                  <a:gd name="connsiteX2" fmla="*/ 281644 w 474348"/>
                  <a:gd name="connsiteY2" fmla="*/ 42862 h 688181"/>
                  <a:gd name="connsiteX3" fmla="*/ 474348 w 474348"/>
                  <a:gd name="connsiteY3" fmla="*/ 235566 h 688181"/>
                  <a:gd name="connsiteX4" fmla="*/ 474348 w 474348"/>
                  <a:gd name="connsiteY4" fmla="*/ 688181 h 688181"/>
                  <a:gd name="connsiteX5" fmla="*/ 474348 w 474348"/>
                  <a:gd name="connsiteY5" fmla="*/ 688181 h 688181"/>
                  <a:gd name="connsiteX6" fmla="*/ 248129 w 474348"/>
                  <a:gd name="connsiteY6" fmla="*/ 688181 h 688181"/>
                  <a:gd name="connsiteX7" fmla="*/ 0 w 474348"/>
                  <a:gd name="connsiteY7" fmla="*/ 688181 h 688181"/>
                  <a:gd name="connsiteX8" fmla="*/ 0 w 474348"/>
                  <a:gd name="connsiteY8" fmla="*/ 688181 h 688181"/>
                  <a:gd name="connsiteX9" fmla="*/ 0 w 474348"/>
                  <a:gd name="connsiteY9" fmla="*/ 235566 h 688181"/>
                  <a:gd name="connsiteX10" fmla="*/ 192704 w 474348"/>
                  <a:gd name="connsiteY10" fmla="*/ 42862 h 688181"/>
                  <a:gd name="connsiteX0" fmla="*/ 192704 w 474348"/>
                  <a:gd name="connsiteY0" fmla="*/ 23812 h 669131"/>
                  <a:gd name="connsiteX1" fmla="*/ 265690 w 474348"/>
                  <a:gd name="connsiteY1" fmla="*/ 0 h 669131"/>
                  <a:gd name="connsiteX2" fmla="*/ 281644 w 474348"/>
                  <a:gd name="connsiteY2" fmla="*/ 23812 h 669131"/>
                  <a:gd name="connsiteX3" fmla="*/ 474348 w 474348"/>
                  <a:gd name="connsiteY3" fmla="*/ 216516 h 669131"/>
                  <a:gd name="connsiteX4" fmla="*/ 474348 w 474348"/>
                  <a:gd name="connsiteY4" fmla="*/ 669131 h 669131"/>
                  <a:gd name="connsiteX5" fmla="*/ 474348 w 474348"/>
                  <a:gd name="connsiteY5" fmla="*/ 669131 h 669131"/>
                  <a:gd name="connsiteX6" fmla="*/ 248129 w 474348"/>
                  <a:gd name="connsiteY6" fmla="*/ 669131 h 669131"/>
                  <a:gd name="connsiteX7" fmla="*/ 0 w 474348"/>
                  <a:gd name="connsiteY7" fmla="*/ 669131 h 669131"/>
                  <a:gd name="connsiteX8" fmla="*/ 0 w 474348"/>
                  <a:gd name="connsiteY8" fmla="*/ 669131 h 669131"/>
                  <a:gd name="connsiteX9" fmla="*/ 0 w 474348"/>
                  <a:gd name="connsiteY9" fmla="*/ 216516 h 669131"/>
                  <a:gd name="connsiteX10" fmla="*/ 192704 w 474348"/>
                  <a:gd name="connsiteY10" fmla="*/ 23812 h 669131"/>
                  <a:gd name="connsiteX0" fmla="*/ 192704 w 474348"/>
                  <a:gd name="connsiteY0" fmla="*/ 23812 h 669131"/>
                  <a:gd name="connsiteX1" fmla="*/ 265690 w 474348"/>
                  <a:gd name="connsiteY1" fmla="*/ 0 h 669131"/>
                  <a:gd name="connsiteX2" fmla="*/ 281644 w 474348"/>
                  <a:gd name="connsiteY2" fmla="*/ 23812 h 669131"/>
                  <a:gd name="connsiteX3" fmla="*/ 474348 w 474348"/>
                  <a:gd name="connsiteY3" fmla="*/ 216516 h 669131"/>
                  <a:gd name="connsiteX4" fmla="*/ 474348 w 474348"/>
                  <a:gd name="connsiteY4" fmla="*/ 669131 h 669131"/>
                  <a:gd name="connsiteX5" fmla="*/ 474348 w 474348"/>
                  <a:gd name="connsiteY5" fmla="*/ 669131 h 669131"/>
                  <a:gd name="connsiteX6" fmla="*/ 248129 w 474348"/>
                  <a:gd name="connsiteY6" fmla="*/ 669131 h 669131"/>
                  <a:gd name="connsiteX7" fmla="*/ 0 w 474348"/>
                  <a:gd name="connsiteY7" fmla="*/ 669131 h 669131"/>
                  <a:gd name="connsiteX8" fmla="*/ 0 w 474348"/>
                  <a:gd name="connsiteY8" fmla="*/ 669131 h 669131"/>
                  <a:gd name="connsiteX9" fmla="*/ 0 w 474348"/>
                  <a:gd name="connsiteY9" fmla="*/ 216516 h 669131"/>
                  <a:gd name="connsiteX10" fmla="*/ 192704 w 474348"/>
                  <a:gd name="connsiteY10" fmla="*/ 23812 h 669131"/>
                  <a:gd name="connsiteX0" fmla="*/ 192704 w 474348"/>
                  <a:gd name="connsiteY0" fmla="*/ 23812 h 669131"/>
                  <a:gd name="connsiteX1" fmla="*/ 265690 w 474348"/>
                  <a:gd name="connsiteY1" fmla="*/ 0 h 669131"/>
                  <a:gd name="connsiteX2" fmla="*/ 281644 w 474348"/>
                  <a:gd name="connsiteY2" fmla="*/ 23812 h 669131"/>
                  <a:gd name="connsiteX3" fmla="*/ 474348 w 474348"/>
                  <a:gd name="connsiteY3" fmla="*/ 216516 h 669131"/>
                  <a:gd name="connsiteX4" fmla="*/ 474348 w 474348"/>
                  <a:gd name="connsiteY4" fmla="*/ 669131 h 669131"/>
                  <a:gd name="connsiteX5" fmla="*/ 474348 w 474348"/>
                  <a:gd name="connsiteY5" fmla="*/ 669131 h 669131"/>
                  <a:gd name="connsiteX6" fmla="*/ 248129 w 474348"/>
                  <a:gd name="connsiteY6" fmla="*/ 669131 h 669131"/>
                  <a:gd name="connsiteX7" fmla="*/ 0 w 474348"/>
                  <a:gd name="connsiteY7" fmla="*/ 669131 h 669131"/>
                  <a:gd name="connsiteX8" fmla="*/ 0 w 474348"/>
                  <a:gd name="connsiteY8" fmla="*/ 669131 h 669131"/>
                  <a:gd name="connsiteX9" fmla="*/ 0 w 474348"/>
                  <a:gd name="connsiteY9" fmla="*/ 216516 h 669131"/>
                  <a:gd name="connsiteX10" fmla="*/ 192704 w 474348"/>
                  <a:gd name="connsiteY10" fmla="*/ 23812 h 669131"/>
                  <a:gd name="connsiteX0" fmla="*/ 192704 w 474348"/>
                  <a:gd name="connsiteY0" fmla="*/ 23812 h 669131"/>
                  <a:gd name="connsiteX1" fmla="*/ 265690 w 474348"/>
                  <a:gd name="connsiteY1" fmla="*/ 0 h 669131"/>
                  <a:gd name="connsiteX2" fmla="*/ 314250 w 474348"/>
                  <a:gd name="connsiteY2" fmla="*/ 24047 h 669131"/>
                  <a:gd name="connsiteX3" fmla="*/ 474348 w 474348"/>
                  <a:gd name="connsiteY3" fmla="*/ 216516 h 669131"/>
                  <a:gd name="connsiteX4" fmla="*/ 474348 w 474348"/>
                  <a:gd name="connsiteY4" fmla="*/ 669131 h 669131"/>
                  <a:gd name="connsiteX5" fmla="*/ 474348 w 474348"/>
                  <a:gd name="connsiteY5" fmla="*/ 669131 h 669131"/>
                  <a:gd name="connsiteX6" fmla="*/ 248129 w 474348"/>
                  <a:gd name="connsiteY6" fmla="*/ 669131 h 669131"/>
                  <a:gd name="connsiteX7" fmla="*/ 0 w 474348"/>
                  <a:gd name="connsiteY7" fmla="*/ 669131 h 669131"/>
                  <a:gd name="connsiteX8" fmla="*/ 0 w 474348"/>
                  <a:gd name="connsiteY8" fmla="*/ 669131 h 669131"/>
                  <a:gd name="connsiteX9" fmla="*/ 0 w 474348"/>
                  <a:gd name="connsiteY9" fmla="*/ 216516 h 669131"/>
                  <a:gd name="connsiteX10" fmla="*/ 192704 w 474348"/>
                  <a:gd name="connsiteY10" fmla="*/ 23812 h 669131"/>
                  <a:gd name="connsiteX0" fmla="*/ 192704 w 474348"/>
                  <a:gd name="connsiteY0" fmla="*/ 23812 h 669131"/>
                  <a:gd name="connsiteX1" fmla="*/ 265690 w 474348"/>
                  <a:gd name="connsiteY1" fmla="*/ 0 h 669131"/>
                  <a:gd name="connsiteX2" fmla="*/ 314250 w 474348"/>
                  <a:gd name="connsiteY2" fmla="*/ 24047 h 669131"/>
                  <a:gd name="connsiteX3" fmla="*/ 474348 w 474348"/>
                  <a:gd name="connsiteY3" fmla="*/ 216516 h 669131"/>
                  <a:gd name="connsiteX4" fmla="*/ 474348 w 474348"/>
                  <a:gd name="connsiteY4" fmla="*/ 669131 h 669131"/>
                  <a:gd name="connsiteX5" fmla="*/ 474348 w 474348"/>
                  <a:gd name="connsiteY5" fmla="*/ 669131 h 669131"/>
                  <a:gd name="connsiteX6" fmla="*/ 248129 w 474348"/>
                  <a:gd name="connsiteY6" fmla="*/ 669131 h 669131"/>
                  <a:gd name="connsiteX7" fmla="*/ 0 w 474348"/>
                  <a:gd name="connsiteY7" fmla="*/ 669131 h 669131"/>
                  <a:gd name="connsiteX8" fmla="*/ 0 w 474348"/>
                  <a:gd name="connsiteY8" fmla="*/ 669131 h 669131"/>
                  <a:gd name="connsiteX9" fmla="*/ 0 w 474348"/>
                  <a:gd name="connsiteY9" fmla="*/ 216516 h 669131"/>
                  <a:gd name="connsiteX10" fmla="*/ 192704 w 474348"/>
                  <a:gd name="connsiteY10" fmla="*/ 23812 h 669131"/>
                  <a:gd name="connsiteX0" fmla="*/ 192704 w 474348"/>
                  <a:gd name="connsiteY0" fmla="*/ 23812 h 669131"/>
                  <a:gd name="connsiteX1" fmla="*/ 265690 w 474348"/>
                  <a:gd name="connsiteY1" fmla="*/ 0 h 669131"/>
                  <a:gd name="connsiteX2" fmla="*/ 314250 w 474348"/>
                  <a:gd name="connsiteY2" fmla="*/ 24047 h 669131"/>
                  <a:gd name="connsiteX3" fmla="*/ 474348 w 474348"/>
                  <a:gd name="connsiteY3" fmla="*/ 216516 h 669131"/>
                  <a:gd name="connsiteX4" fmla="*/ 474348 w 474348"/>
                  <a:gd name="connsiteY4" fmla="*/ 669131 h 669131"/>
                  <a:gd name="connsiteX5" fmla="*/ 474348 w 474348"/>
                  <a:gd name="connsiteY5" fmla="*/ 669131 h 669131"/>
                  <a:gd name="connsiteX6" fmla="*/ 248129 w 474348"/>
                  <a:gd name="connsiteY6" fmla="*/ 669131 h 669131"/>
                  <a:gd name="connsiteX7" fmla="*/ 0 w 474348"/>
                  <a:gd name="connsiteY7" fmla="*/ 669131 h 669131"/>
                  <a:gd name="connsiteX8" fmla="*/ 0 w 474348"/>
                  <a:gd name="connsiteY8" fmla="*/ 669131 h 669131"/>
                  <a:gd name="connsiteX9" fmla="*/ 0 w 474348"/>
                  <a:gd name="connsiteY9" fmla="*/ 216516 h 669131"/>
                  <a:gd name="connsiteX10" fmla="*/ 192704 w 474348"/>
                  <a:gd name="connsiteY10" fmla="*/ 23812 h 669131"/>
                  <a:gd name="connsiteX0" fmla="*/ 174282 w 474348"/>
                  <a:gd name="connsiteY0" fmla="*/ 23596 h 669131"/>
                  <a:gd name="connsiteX1" fmla="*/ 265690 w 474348"/>
                  <a:gd name="connsiteY1" fmla="*/ 0 h 669131"/>
                  <a:gd name="connsiteX2" fmla="*/ 314250 w 474348"/>
                  <a:gd name="connsiteY2" fmla="*/ 24047 h 669131"/>
                  <a:gd name="connsiteX3" fmla="*/ 474348 w 474348"/>
                  <a:gd name="connsiteY3" fmla="*/ 216516 h 669131"/>
                  <a:gd name="connsiteX4" fmla="*/ 474348 w 474348"/>
                  <a:gd name="connsiteY4" fmla="*/ 669131 h 669131"/>
                  <a:gd name="connsiteX5" fmla="*/ 474348 w 474348"/>
                  <a:gd name="connsiteY5" fmla="*/ 669131 h 669131"/>
                  <a:gd name="connsiteX6" fmla="*/ 248129 w 474348"/>
                  <a:gd name="connsiteY6" fmla="*/ 669131 h 669131"/>
                  <a:gd name="connsiteX7" fmla="*/ 0 w 474348"/>
                  <a:gd name="connsiteY7" fmla="*/ 669131 h 669131"/>
                  <a:gd name="connsiteX8" fmla="*/ 0 w 474348"/>
                  <a:gd name="connsiteY8" fmla="*/ 669131 h 669131"/>
                  <a:gd name="connsiteX9" fmla="*/ 0 w 474348"/>
                  <a:gd name="connsiteY9" fmla="*/ 216516 h 669131"/>
                  <a:gd name="connsiteX10" fmla="*/ 174282 w 474348"/>
                  <a:gd name="connsiteY10" fmla="*/ 23596 h 669131"/>
                  <a:gd name="connsiteX0" fmla="*/ 174282 w 474348"/>
                  <a:gd name="connsiteY0" fmla="*/ 24619 h 670154"/>
                  <a:gd name="connsiteX1" fmla="*/ 216121 w 474348"/>
                  <a:gd name="connsiteY1" fmla="*/ 0 h 670154"/>
                  <a:gd name="connsiteX2" fmla="*/ 314250 w 474348"/>
                  <a:gd name="connsiteY2" fmla="*/ 25070 h 670154"/>
                  <a:gd name="connsiteX3" fmla="*/ 474348 w 474348"/>
                  <a:gd name="connsiteY3" fmla="*/ 217539 h 670154"/>
                  <a:gd name="connsiteX4" fmla="*/ 474348 w 474348"/>
                  <a:gd name="connsiteY4" fmla="*/ 670154 h 670154"/>
                  <a:gd name="connsiteX5" fmla="*/ 474348 w 474348"/>
                  <a:gd name="connsiteY5" fmla="*/ 670154 h 670154"/>
                  <a:gd name="connsiteX6" fmla="*/ 248129 w 474348"/>
                  <a:gd name="connsiteY6" fmla="*/ 670154 h 670154"/>
                  <a:gd name="connsiteX7" fmla="*/ 0 w 474348"/>
                  <a:gd name="connsiteY7" fmla="*/ 670154 h 670154"/>
                  <a:gd name="connsiteX8" fmla="*/ 0 w 474348"/>
                  <a:gd name="connsiteY8" fmla="*/ 670154 h 670154"/>
                  <a:gd name="connsiteX9" fmla="*/ 0 w 474348"/>
                  <a:gd name="connsiteY9" fmla="*/ 217539 h 670154"/>
                  <a:gd name="connsiteX10" fmla="*/ 174282 w 474348"/>
                  <a:gd name="connsiteY10" fmla="*/ 24619 h 670154"/>
                  <a:gd name="connsiteX0" fmla="*/ 174282 w 474348"/>
                  <a:gd name="connsiteY0" fmla="*/ 24619 h 670154"/>
                  <a:gd name="connsiteX1" fmla="*/ 216121 w 474348"/>
                  <a:gd name="connsiteY1" fmla="*/ 0 h 670154"/>
                  <a:gd name="connsiteX2" fmla="*/ 314250 w 474348"/>
                  <a:gd name="connsiteY2" fmla="*/ 25070 h 670154"/>
                  <a:gd name="connsiteX3" fmla="*/ 474348 w 474348"/>
                  <a:gd name="connsiteY3" fmla="*/ 217539 h 670154"/>
                  <a:gd name="connsiteX4" fmla="*/ 474348 w 474348"/>
                  <a:gd name="connsiteY4" fmla="*/ 670154 h 670154"/>
                  <a:gd name="connsiteX5" fmla="*/ 474348 w 474348"/>
                  <a:gd name="connsiteY5" fmla="*/ 670154 h 670154"/>
                  <a:gd name="connsiteX6" fmla="*/ 248129 w 474348"/>
                  <a:gd name="connsiteY6" fmla="*/ 670154 h 670154"/>
                  <a:gd name="connsiteX7" fmla="*/ 0 w 474348"/>
                  <a:gd name="connsiteY7" fmla="*/ 670154 h 670154"/>
                  <a:gd name="connsiteX8" fmla="*/ 0 w 474348"/>
                  <a:gd name="connsiteY8" fmla="*/ 670154 h 670154"/>
                  <a:gd name="connsiteX9" fmla="*/ 0 w 474348"/>
                  <a:gd name="connsiteY9" fmla="*/ 217539 h 670154"/>
                  <a:gd name="connsiteX10" fmla="*/ 174282 w 474348"/>
                  <a:gd name="connsiteY10" fmla="*/ 24619 h 670154"/>
                  <a:gd name="connsiteX0" fmla="*/ 174282 w 474348"/>
                  <a:gd name="connsiteY0" fmla="*/ 24619 h 670154"/>
                  <a:gd name="connsiteX1" fmla="*/ 216121 w 474348"/>
                  <a:gd name="connsiteY1" fmla="*/ 0 h 670154"/>
                  <a:gd name="connsiteX2" fmla="*/ 314250 w 474348"/>
                  <a:gd name="connsiteY2" fmla="*/ 25070 h 670154"/>
                  <a:gd name="connsiteX3" fmla="*/ 474348 w 474348"/>
                  <a:gd name="connsiteY3" fmla="*/ 217539 h 670154"/>
                  <a:gd name="connsiteX4" fmla="*/ 474348 w 474348"/>
                  <a:gd name="connsiteY4" fmla="*/ 670154 h 670154"/>
                  <a:gd name="connsiteX5" fmla="*/ 474348 w 474348"/>
                  <a:gd name="connsiteY5" fmla="*/ 670154 h 670154"/>
                  <a:gd name="connsiteX6" fmla="*/ 248129 w 474348"/>
                  <a:gd name="connsiteY6" fmla="*/ 670154 h 670154"/>
                  <a:gd name="connsiteX7" fmla="*/ 0 w 474348"/>
                  <a:gd name="connsiteY7" fmla="*/ 670154 h 670154"/>
                  <a:gd name="connsiteX8" fmla="*/ 0 w 474348"/>
                  <a:gd name="connsiteY8" fmla="*/ 670154 h 670154"/>
                  <a:gd name="connsiteX9" fmla="*/ 0 w 474348"/>
                  <a:gd name="connsiteY9" fmla="*/ 217539 h 670154"/>
                  <a:gd name="connsiteX10" fmla="*/ 174282 w 474348"/>
                  <a:gd name="connsiteY10" fmla="*/ 24619 h 670154"/>
                  <a:gd name="connsiteX0" fmla="*/ 174282 w 474348"/>
                  <a:gd name="connsiteY0" fmla="*/ 24619 h 670154"/>
                  <a:gd name="connsiteX1" fmla="*/ 216121 w 474348"/>
                  <a:gd name="connsiteY1" fmla="*/ 0 h 670154"/>
                  <a:gd name="connsiteX2" fmla="*/ 314250 w 474348"/>
                  <a:gd name="connsiteY2" fmla="*/ 25070 h 670154"/>
                  <a:gd name="connsiteX3" fmla="*/ 474348 w 474348"/>
                  <a:gd name="connsiteY3" fmla="*/ 217539 h 670154"/>
                  <a:gd name="connsiteX4" fmla="*/ 474348 w 474348"/>
                  <a:gd name="connsiteY4" fmla="*/ 670154 h 670154"/>
                  <a:gd name="connsiteX5" fmla="*/ 474348 w 474348"/>
                  <a:gd name="connsiteY5" fmla="*/ 670154 h 670154"/>
                  <a:gd name="connsiteX6" fmla="*/ 248129 w 474348"/>
                  <a:gd name="connsiteY6" fmla="*/ 670154 h 670154"/>
                  <a:gd name="connsiteX7" fmla="*/ 0 w 474348"/>
                  <a:gd name="connsiteY7" fmla="*/ 670154 h 670154"/>
                  <a:gd name="connsiteX8" fmla="*/ 0 w 474348"/>
                  <a:gd name="connsiteY8" fmla="*/ 670154 h 670154"/>
                  <a:gd name="connsiteX9" fmla="*/ 0 w 474348"/>
                  <a:gd name="connsiteY9" fmla="*/ 217539 h 670154"/>
                  <a:gd name="connsiteX10" fmla="*/ 174282 w 474348"/>
                  <a:gd name="connsiteY10" fmla="*/ 24619 h 670154"/>
                  <a:gd name="connsiteX0" fmla="*/ 148557 w 474348"/>
                  <a:gd name="connsiteY0" fmla="*/ 27264 h 670154"/>
                  <a:gd name="connsiteX1" fmla="*/ 216121 w 474348"/>
                  <a:gd name="connsiteY1" fmla="*/ 0 h 670154"/>
                  <a:gd name="connsiteX2" fmla="*/ 314250 w 474348"/>
                  <a:gd name="connsiteY2" fmla="*/ 25070 h 670154"/>
                  <a:gd name="connsiteX3" fmla="*/ 474348 w 474348"/>
                  <a:gd name="connsiteY3" fmla="*/ 217539 h 670154"/>
                  <a:gd name="connsiteX4" fmla="*/ 474348 w 474348"/>
                  <a:gd name="connsiteY4" fmla="*/ 670154 h 670154"/>
                  <a:gd name="connsiteX5" fmla="*/ 474348 w 474348"/>
                  <a:gd name="connsiteY5" fmla="*/ 670154 h 670154"/>
                  <a:gd name="connsiteX6" fmla="*/ 248129 w 474348"/>
                  <a:gd name="connsiteY6" fmla="*/ 670154 h 670154"/>
                  <a:gd name="connsiteX7" fmla="*/ 0 w 474348"/>
                  <a:gd name="connsiteY7" fmla="*/ 670154 h 670154"/>
                  <a:gd name="connsiteX8" fmla="*/ 0 w 474348"/>
                  <a:gd name="connsiteY8" fmla="*/ 670154 h 670154"/>
                  <a:gd name="connsiteX9" fmla="*/ 0 w 474348"/>
                  <a:gd name="connsiteY9" fmla="*/ 217539 h 670154"/>
                  <a:gd name="connsiteX10" fmla="*/ 148557 w 474348"/>
                  <a:gd name="connsiteY10" fmla="*/ 27264 h 670154"/>
                  <a:gd name="connsiteX0" fmla="*/ 148557 w 474348"/>
                  <a:gd name="connsiteY0" fmla="*/ 20950 h 663840"/>
                  <a:gd name="connsiteX1" fmla="*/ 214238 w 474348"/>
                  <a:gd name="connsiteY1" fmla="*/ 0 h 663840"/>
                  <a:gd name="connsiteX2" fmla="*/ 314250 w 474348"/>
                  <a:gd name="connsiteY2" fmla="*/ 18756 h 663840"/>
                  <a:gd name="connsiteX3" fmla="*/ 474348 w 474348"/>
                  <a:gd name="connsiteY3" fmla="*/ 211225 h 663840"/>
                  <a:gd name="connsiteX4" fmla="*/ 474348 w 474348"/>
                  <a:gd name="connsiteY4" fmla="*/ 663840 h 663840"/>
                  <a:gd name="connsiteX5" fmla="*/ 474348 w 474348"/>
                  <a:gd name="connsiteY5" fmla="*/ 663840 h 663840"/>
                  <a:gd name="connsiteX6" fmla="*/ 248129 w 474348"/>
                  <a:gd name="connsiteY6" fmla="*/ 663840 h 663840"/>
                  <a:gd name="connsiteX7" fmla="*/ 0 w 474348"/>
                  <a:gd name="connsiteY7" fmla="*/ 663840 h 663840"/>
                  <a:gd name="connsiteX8" fmla="*/ 0 w 474348"/>
                  <a:gd name="connsiteY8" fmla="*/ 663840 h 663840"/>
                  <a:gd name="connsiteX9" fmla="*/ 0 w 474348"/>
                  <a:gd name="connsiteY9" fmla="*/ 211225 h 663840"/>
                  <a:gd name="connsiteX10" fmla="*/ 148557 w 474348"/>
                  <a:gd name="connsiteY10" fmla="*/ 20950 h 663840"/>
                  <a:gd name="connsiteX0" fmla="*/ 148557 w 474348"/>
                  <a:gd name="connsiteY0" fmla="*/ 20950 h 663840"/>
                  <a:gd name="connsiteX1" fmla="*/ 214238 w 474348"/>
                  <a:gd name="connsiteY1" fmla="*/ 0 h 663840"/>
                  <a:gd name="connsiteX2" fmla="*/ 314250 w 474348"/>
                  <a:gd name="connsiteY2" fmla="*/ 18756 h 663840"/>
                  <a:gd name="connsiteX3" fmla="*/ 474348 w 474348"/>
                  <a:gd name="connsiteY3" fmla="*/ 211225 h 663840"/>
                  <a:gd name="connsiteX4" fmla="*/ 474348 w 474348"/>
                  <a:gd name="connsiteY4" fmla="*/ 663840 h 663840"/>
                  <a:gd name="connsiteX5" fmla="*/ 474348 w 474348"/>
                  <a:gd name="connsiteY5" fmla="*/ 663840 h 663840"/>
                  <a:gd name="connsiteX6" fmla="*/ 248129 w 474348"/>
                  <a:gd name="connsiteY6" fmla="*/ 663840 h 663840"/>
                  <a:gd name="connsiteX7" fmla="*/ 0 w 474348"/>
                  <a:gd name="connsiteY7" fmla="*/ 663840 h 663840"/>
                  <a:gd name="connsiteX8" fmla="*/ 0 w 474348"/>
                  <a:gd name="connsiteY8" fmla="*/ 663840 h 663840"/>
                  <a:gd name="connsiteX9" fmla="*/ 0 w 474348"/>
                  <a:gd name="connsiteY9" fmla="*/ 211225 h 663840"/>
                  <a:gd name="connsiteX10" fmla="*/ 148557 w 474348"/>
                  <a:gd name="connsiteY10" fmla="*/ 20950 h 663840"/>
                  <a:gd name="connsiteX0" fmla="*/ 148557 w 474348"/>
                  <a:gd name="connsiteY0" fmla="*/ 20950 h 663840"/>
                  <a:gd name="connsiteX1" fmla="*/ 214238 w 474348"/>
                  <a:gd name="connsiteY1" fmla="*/ 0 h 663840"/>
                  <a:gd name="connsiteX2" fmla="*/ 314250 w 474348"/>
                  <a:gd name="connsiteY2" fmla="*/ 18756 h 663840"/>
                  <a:gd name="connsiteX3" fmla="*/ 474348 w 474348"/>
                  <a:gd name="connsiteY3" fmla="*/ 211225 h 663840"/>
                  <a:gd name="connsiteX4" fmla="*/ 474348 w 474348"/>
                  <a:gd name="connsiteY4" fmla="*/ 663840 h 663840"/>
                  <a:gd name="connsiteX5" fmla="*/ 474348 w 474348"/>
                  <a:gd name="connsiteY5" fmla="*/ 663840 h 663840"/>
                  <a:gd name="connsiteX6" fmla="*/ 248129 w 474348"/>
                  <a:gd name="connsiteY6" fmla="*/ 663840 h 663840"/>
                  <a:gd name="connsiteX7" fmla="*/ 0 w 474348"/>
                  <a:gd name="connsiteY7" fmla="*/ 663840 h 663840"/>
                  <a:gd name="connsiteX8" fmla="*/ 0 w 474348"/>
                  <a:gd name="connsiteY8" fmla="*/ 663840 h 663840"/>
                  <a:gd name="connsiteX9" fmla="*/ 0 w 474348"/>
                  <a:gd name="connsiteY9" fmla="*/ 211225 h 663840"/>
                  <a:gd name="connsiteX10" fmla="*/ 148557 w 474348"/>
                  <a:gd name="connsiteY10" fmla="*/ 20950 h 663840"/>
                  <a:gd name="connsiteX0" fmla="*/ 144178 w 474348"/>
                  <a:gd name="connsiteY0" fmla="*/ 22667 h 663840"/>
                  <a:gd name="connsiteX1" fmla="*/ 214238 w 474348"/>
                  <a:gd name="connsiteY1" fmla="*/ 0 h 663840"/>
                  <a:gd name="connsiteX2" fmla="*/ 314250 w 474348"/>
                  <a:gd name="connsiteY2" fmla="*/ 18756 h 663840"/>
                  <a:gd name="connsiteX3" fmla="*/ 474348 w 474348"/>
                  <a:gd name="connsiteY3" fmla="*/ 211225 h 663840"/>
                  <a:gd name="connsiteX4" fmla="*/ 474348 w 474348"/>
                  <a:gd name="connsiteY4" fmla="*/ 663840 h 663840"/>
                  <a:gd name="connsiteX5" fmla="*/ 474348 w 474348"/>
                  <a:gd name="connsiteY5" fmla="*/ 663840 h 663840"/>
                  <a:gd name="connsiteX6" fmla="*/ 248129 w 474348"/>
                  <a:gd name="connsiteY6" fmla="*/ 663840 h 663840"/>
                  <a:gd name="connsiteX7" fmla="*/ 0 w 474348"/>
                  <a:gd name="connsiteY7" fmla="*/ 663840 h 663840"/>
                  <a:gd name="connsiteX8" fmla="*/ 0 w 474348"/>
                  <a:gd name="connsiteY8" fmla="*/ 663840 h 663840"/>
                  <a:gd name="connsiteX9" fmla="*/ 0 w 474348"/>
                  <a:gd name="connsiteY9" fmla="*/ 211225 h 663840"/>
                  <a:gd name="connsiteX10" fmla="*/ 144178 w 474348"/>
                  <a:gd name="connsiteY10" fmla="*/ 22667 h 663840"/>
                  <a:gd name="connsiteX0" fmla="*/ 144178 w 474348"/>
                  <a:gd name="connsiteY0" fmla="*/ 22667 h 663840"/>
                  <a:gd name="connsiteX1" fmla="*/ 214238 w 474348"/>
                  <a:gd name="connsiteY1" fmla="*/ 0 h 663840"/>
                  <a:gd name="connsiteX2" fmla="*/ 314250 w 474348"/>
                  <a:gd name="connsiteY2" fmla="*/ 18756 h 663840"/>
                  <a:gd name="connsiteX3" fmla="*/ 474348 w 474348"/>
                  <a:gd name="connsiteY3" fmla="*/ 211225 h 663840"/>
                  <a:gd name="connsiteX4" fmla="*/ 474348 w 474348"/>
                  <a:gd name="connsiteY4" fmla="*/ 663840 h 663840"/>
                  <a:gd name="connsiteX5" fmla="*/ 474348 w 474348"/>
                  <a:gd name="connsiteY5" fmla="*/ 663840 h 663840"/>
                  <a:gd name="connsiteX6" fmla="*/ 248129 w 474348"/>
                  <a:gd name="connsiteY6" fmla="*/ 663840 h 663840"/>
                  <a:gd name="connsiteX7" fmla="*/ 0 w 474348"/>
                  <a:gd name="connsiteY7" fmla="*/ 663840 h 663840"/>
                  <a:gd name="connsiteX8" fmla="*/ 0 w 474348"/>
                  <a:gd name="connsiteY8" fmla="*/ 663840 h 663840"/>
                  <a:gd name="connsiteX9" fmla="*/ 0 w 474348"/>
                  <a:gd name="connsiteY9" fmla="*/ 211225 h 663840"/>
                  <a:gd name="connsiteX10" fmla="*/ 144178 w 474348"/>
                  <a:gd name="connsiteY10" fmla="*/ 22667 h 663840"/>
                  <a:gd name="connsiteX0" fmla="*/ 144178 w 474348"/>
                  <a:gd name="connsiteY0" fmla="*/ 22667 h 663840"/>
                  <a:gd name="connsiteX1" fmla="*/ 214238 w 474348"/>
                  <a:gd name="connsiteY1" fmla="*/ 0 h 663840"/>
                  <a:gd name="connsiteX2" fmla="*/ 314250 w 474348"/>
                  <a:gd name="connsiteY2" fmla="*/ 18756 h 663840"/>
                  <a:gd name="connsiteX3" fmla="*/ 474348 w 474348"/>
                  <a:gd name="connsiteY3" fmla="*/ 211225 h 663840"/>
                  <a:gd name="connsiteX4" fmla="*/ 474348 w 474348"/>
                  <a:gd name="connsiteY4" fmla="*/ 663840 h 663840"/>
                  <a:gd name="connsiteX5" fmla="*/ 474348 w 474348"/>
                  <a:gd name="connsiteY5" fmla="*/ 663840 h 663840"/>
                  <a:gd name="connsiteX6" fmla="*/ 248129 w 474348"/>
                  <a:gd name="connsiteY6" fmla="*/ 663840 h 663840"/>
                  <a:gd name="connsiteX7" fmla="*/ 0 w 474348"/>
                  <a:gd name="connsiteY7" fmla="*/ 663840 h 663840"/>
                  <a:gd name="connsiteX8" fmla="*/ 0 w 474348"/>
                  <a:gd name="connsiteY8" fmla="*/ 663840 h 663840"/>
                  <a:gd name="connsiteX9" fmla="*/ 0 w 474348"/>
                  <a:gd name="connsiteY9" fmla="*/ 211225 h 663840"/>
                  <a:gd name="connsiteX10" fmla="*/ 144178 w 474348"/>
                  <a:gd name="connsiteY10" fmla="*/ 22667 h 663840"/>
                  <a:gd name="connsiteX0" fmla="*/ 144178 w 474348"/>
                  <a:gd name="connsiteY0" fmla="*/ 22667 h 663840"/>
                  <a:gd name="connsiteX1" fmla="*/ 214238 w 474348"/>
                  <a:gd name="connsiteY1" fmla="*/ 0 h 663840"/>
                  <a:gd name="connsiteX2" fmla="*/ 314250 w 474348"/>
                  <a:gd name="connsiteY2" fmla="*/ 18756 h 663840"/>
                  <a:gd name="connsiteX3" fmla="*/ 474348 w 474348"/>
                  <a:gd name="connsiteY3" fmla="*/ 211225 h 663840"/>
                  <a:gd name="connsiteX4" fmla="*/ 474348 w 474348"/>
                  <a:gd name="connsiteY4" fmla="*/ 663840 h 663840"/>
                  <a:gd name="connsiteX5" fmla="*/ 474348 w 474348"/>
                  <a:gd name="connsiteY5" fmla="*/ 663840 h 663840"/>
                  <a:gd name="connsiteX6" fmla="*/ 248129 w 474348"/>
                  <a:gd name="connsiteY6" fmla="*/ 663840 h 663840"/>
                  <a:gd name="connsiteX7" fmla="*/ 0 w 474348"/>
                  <a:gd name="connsiteY7" fmla="*/ 663840 h 663840"/>
                  <a:gd name="connsiteX8" fmla="*/ 0 w 474348"/>
                  <a:gd name="connsiteY8" fmla="*/ 663840 h 663840"/>
                  <a:gd name="connsiteX9" fmla="*/ 0 w 474348"/>
                  <a:gd name="connsiteY9" fmla="*/ 211225 h 663840"/>
                  <a:gd name="connsiteX10" fmla="*/ 144178 w 474348"/>
                  <a:gd name="connsiteY10" fmla="*/ 22667 h 6638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74348" h="663840">
                    <a:moveTo>
                      <a:pt x="144178" y="22667"/>
                    </a:moveTo>
                    <a:cubicBezTo>
                      <a:pt x="211732" y="-970"/>
                      <a:pt x="181869" y="7990"/>
                      <a:pt x="214238" y="0"/>
                    </a:cubicBezTo>
                    <a:cubicBezTo>
                      <a:pt x="259321" y="7224"/>
                      <a:pt x="221757" y="369"/>
                      <a:pt x="314250" y="18756"/>
                    </a:cubicBezTo>
                    <a:cubicBezTo>
                      <a:pt x="399877" y="51074"/>
                      <a:pt x="474348" y="104798"/>
                      <a:pt x="474348" y="211225"/>
                    </a:cubicBezTo>
                    <a:lnTo>
                      <a:pt x="474348" y="663840"/>
                    </a:lnTo>
                    <a:lnTo>
                      <a:pt x="474348" y="663840"/>
                    </a:lnTo>
                    <a:lnTo>
                      <a:pt x="248129" y="663840"/>
                    </a:lnTo>
                    <a:lnTo>
                      <a:pt x="0" y="663840"/>
                    </a:lnTo>
                    <a:lnTo>
                      <a:pt x="0" y="663840"/>
                    </a:lnTo>
                    <a:lnTo>
                      <a:pt x="0" y="211225"/>
                    </a:lnTo>
                    <a:cubicBezTo>
                      <a:pt x="0" y="104798"/>
                      <a:pt x="80700" y="56026"/>
                      <a:pt x="144178" y="22667"/>
                    </a:cubicBezTo>
                    <a:close/>
                  </a:path>
                </a:pathLst>
              </a:cu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85" name="Round Same Side Corner Rectangle 11"/>
              <p:cNvSpPr/>
              <p:nvPr/>
            </p:nvSpPr>
            <p:spPr>
              <a:xfrm rot="16200000">
                <a:off x="6912899" y="2339184"/>
                <a:ext cx="101418" cy="1051827"/>
              </a:xfrm>
              <a:custGeom>
                <a:avLst/>
                <a:gdLst>
                  <a:gd name="connsiteX0" fmla="*/ 192704 w 474348"/>
                  <a:gd name="connsiteY0" fmla="*/ 0 h 645319"/>
                  <a:gd name="connsiteX1" fmla="*/ 281644 w 474348"/>
                  <a:gd name="connsiteY1" fmla="*/ 0 h 645319"/>
                  <a:gd name="connsiteX2" fmla="*/ 474348 w 474348"/>
                  <a:gd name="connsiteY2" fmla="*/ 192704 h 645319"/>
                  <a:gd name="connsiteX3" fmla="*/ 474348 w 474348"/>
                  <a:gd name="connsiteY3" fmla="*/ 645319 h 645319"/>
                  <a:gd name="connsiteX4" fmla="*/ 474348 w 474348"/>
                  <a:gd name="connsiteY4" fmla="*/ 645319 h 645319"/>
                  <a:gd name="connsiteX5" fmla="*/ 0 w 474348"/>
                  <a:gd name="connsiteY5" fmla="*/ 645319 h 645319"/>
                  <a:gd name="connsiteX6" fmla="*/ 0 w 474348"/>
                  <a:gd name="connsiteY6" fmla="*/ 645319 h 645319"/>
                  <a:gd name="connsiteX7" fmla="*/ 0 w 474348"/>
                  <a:gd name="connsiteY7" fmla="*/ 192704 h 645319"/>
                  <a:gd name="connsiteX8" fmla="*/ 192704 w 474348"/>
                  <a:gd name="connsiteY8" fmla="*/ 0 h 645319"/>
                  <a:gd name="connsiteX0" fmla="*/ 192704 w 474348"/>
                  <a:gd name="connsiteY0" fmla="*/ 0 h 645319"/>
                  <a:gd name="connsiteX1" fmla="*/ 281644 w 474348"/>
                  <a:gd name="connsiteY1" fmla="*/ 0 h 645319"/>
                  <a:gd name="connsiteX2" fmla="*/ 474348 w 474348"/>
                  <a:gd name="connsiteY2" fmla="*/ 192704 h 645319"/>
                  <a:gd name="connsiteX3" fmla="*/ 474348 w 474348"/>
                  <a:gd name="connsiteY3" fmla="*/ 645319 h 645319"/>
                  <a:gd name="connsiteX4" fmla="*/ 474348 w 474348"/>
                  <a:gd name="connsiteY4" fmla="*/ 645319 h 645319"/>
                  <a:gd name="connsiteX5" fmla="*/ 248129 w 474348"/>
                  <a:gd name="connsiteY5" fmla="*/ 645319 h 645319"/>
                  <a:gd name="connsiteX6" fmla="*/ 0 w 474348"/>
                  <a:gd name="connsiteY6" fmla="*/ 645319 h 645319"/>
                  <a:gd name="connsiteX7" fmla="*/ 0 w 474348"/>
                  <a:gd name="connsiteY7" fmla="*/ 645319 h 645319"/>
                  <a:gd name="connsiteX8" fmla="*/ 0 w 474348"/>
                  <a:gd name="connsiteY8" fmla="*/ 192704 h 645319"/>
                  <a:gd name="connsiteX9" fmla="*/ 192704 w 474348"/>
                  <a:gd name="connsiteY9" fmla="*/ 0 h 645319"/>
                  <a:gd name="connsiteX0" fmla="*/ 192704 w 474348"/>
                  <a:gd name="connsiteY0" fmla="*/ 2381 h 647700"/>
                  <a:gd name="connsiteX1" fmla="*/ 240986 w 474348"/>
                  <a:gd name="connsiteY1" fmla="*/ 0 h 647700"/>
                  <a:gd name="connsiteX2" fmla="*/ 281644 w 474348"/>
                  <a:gd name="connsiteY2" fmla="*/ 2381 h 647700"/>
                  <a:gd name="connsiteX3" fmla="*/ 474348 w 474348"/>
                  <a:gd name="connsiteY3" fmla="*/ 195085 h 647700"/>
                  <a:gd name="connsiteX4" fmla="*/ 474348 w 474348"/>
                  <a:gd name="connsiteY4" fmla="*/ 647700 h 647700"/>
                  <a:gd name="connsiteX5" fmla="*/ 474348 w 474348"/>
                  <a:gd name="connsiteY5" fmla="*/ 647700 h 647700"/>
                  <a:gd name="connsiteX6" fmla="*/ 248129 w 474348"/>
                  <a:gd name="connsiteY6" fmla="*/ 647700 h 647700"/>
                  <a:gd name="connsiteX7" fmla="*/ 0 w 474348"/>
                  <a:gd name="connsiteY7" fmla="*/ 647700 h 647700"/>
                  <a:gd name="connsiteX8" fmla="*/ 0 w 474348"/>
                  <a:gd name="connsiteY8" fmla="*/ 647700 h 647700"/>
                  <a:gd name="connsiteX9" fmla="*/ 0 w 474348"/>
                  <a:gd name="connsiteY9" fmla="*/ 195085 h 647700"/>
                  <a:gd name="connsiteX10" fmla="*/ 192704 w 474348"/>
                  <a:gd name="connsiteY10" fmla="*/ 2381 h 647700"/>
                  <a:gd name="connsiteX0" fmla="*/ 192704 w 474348"/>
                  <a:gd name="connsiteY0" fmla="*/ 42862 h 688181"/>
                  <a:gd name="connsiteX1" fmla="*/ 240986 w 474348"/>
                  <a:gd name="connsiteY1" fmla="*/ 0 h 688181"/>
                  <a:gd name="connsiteX2" fmla="*/ 281644 w 474348"/>
                  <a:gd name="connsiteY2" fmla="*/ 42862 h 688181"/>
                  <a:gd name="connsiteX3" fmla="*/ 474348 w 474348"/>
                  <a:gd name="connsiteY3" fmla="*/ 235566 h 688181"/>
                  <a:gd name="connsiteX4" fmla="*/ 474348 w 474348"/>
                  <a:gd name="connsiteY4" fmla="*/ 688181 h 688181"/>
                  <a:gd name="connsiteX5" fmla="*/ 474348 w 474348"/>
                  <a:gd name="connsiteY5" fmla="*/ 688181 h 688181"/>
                  <a:gd name="connsiteX6" fmla="*/ 248129 w 474348"/>
                  <a:gd name="connsiteY6" fmla="*/ 688181 h 688181"/>
                  <a:gd name="connsiteX7" fmla="*/ 0 w 474348"/>
                  <a:gd name="connsiteY7" fmla="*/ 688181 h 688181"/>
                  <a:gd name="connsiteX8" fmla="*/ 0 w 474348"/>
                  <a:gd name="connsiteY8" fmla="*/ 688181 h 688181"/>
                  <a:gd name="connsiteX9" fmla="*/ 0 w 474348"/>
                  <a:gd name="connsiteY9" fmla="*/ 235566 h 688181"/>
                  <a:gd name="connsiteX10" fmla="*/ 192704 w 474348"/>
                  <a:gd name="connsiteY10" fmla="*/ 42862 h 688181"/>
                  <a:gd name="connsiteX0" fmla="*/ 192704 w 474348"/>
                  <a:gd name="connsiteY0" fmla="*/ 23812 h 669131"/>
                  <a:gd name="connsiteX1" fmla="*/ 265690 w 474348"/>
                  <a:gd name="connsiteY1" fmla="*/ 0 h 669131"/>
                  <a:gd name="connsiteX2" fmla="*/ 281644 w 474348"/>
                  <a:gd name="connsiteY2" fmla="*/ 23812 h 669131"/>
                  <a:gd name="connsiteX3" fmla="*/ 474348 w 474348"/>
                  <a:gd name="connsiteY3" fmla="*/ 216516 h 669131"/>
                  <a:gd name="connsiteX4" fmla="*/ 474348 w 474348"/>
                  <a:gd name="connsiteY4" fmla="*/ 669131 h 669131"/>
                  <a:gd name="connsiteX5" fmla="*/ 474348 w 474348"/>
                  <a:gd name="connsiteY5" fmla="*/ 669131 h 669131"/>
                  <a:gd name="connsiteX6" fmla="*/ 248129 w 474348"/>
                  <a:gd name="connsiteY6" fmla="*/ 669131 h 669131"/>
                  <a:gd name="connsiteX7" fmla="*/ 0 w 474348"/>
                  <a:gd name="connsiteY7" fmla="*/ 669131 h 669131"/>
                  <a:gd name="connsiteX8" fmla="*/ 0 w 474348"/>
                  <a:gd name="connsiteY8" fmla="*/ 669131 h 669131"/>
                  <a:gd name="connsiteX9" fmla="*/ 0 w 474348"/>
                  <a:gd name="connsiteY9" fmla="*/ 216516 h 669131"/>
                  <a:gd name="connsiteX10" fmla="*/ 192704 w 474348"/>
                  <a:gd name="connsiteY10" fmla="*/ 23812 h 669131"/>
                  <a:gd name="connsiteX0" fmla="*/ 192704 w 474348"/>
                  <a:gd name="connsiteY0" fmla="*/ 23812 h 669131"/>
                  <a:gd name="connsiteX1" fmla="*/ 265690 w 474348"/>
                  <a:gd name="connsiteY1" fmla="*/ 0 h 669131"/>
                  <a:gd name="connsiteX2" fmla="*/ 281644 w 474348"/>
                  <a:gd name="connsiteY2" fmla="*/ 23812 h 669131"/>
                  <a:gd name="connsiteX3" fmla="*/ 474348 w 474348"/>
                  <a:gd name="connsiteY3" fmla="*/ 216516 h 669131"/>
                  <a:gd name="connsiteX4" fmla="*/ 474348 w 474348"/>
                  <a:gd name="connsiteY4" fmla="*/ 669131 h 669131"/>
                  <a:gd name="connsiteX5" fmla="*/ 474348 w 474348"/>
                  <a:gd name="connsiteY5" fmla="*/ 669131 h 669131"/>
                  <a:gd name="connsiteX6" fmla="*/ 248129 w 474348"/>
                  <a:gd name="connsiteY6" fmla="*/ 669131 h 669131"/>
                  <a:gd name="connsiteX7" fmla="*/ 0 w 474348"/>
                  <a:gd name="connsiteY7" fmla="*/ 669131 h 669131"/>
                  <a:gd name="connsiteX8" fmla="*/ 0 w 474348"/>
                  <a:gd name="connsiteY8" fmla="*/ 669131 h 669131"/>
                  <a:gd name="connsiteX9" fmla="*/ 0 w 474348"/>
                  <a:gd name="connsiteY9" fmla="*/ 216516 h 669131"/>
                  <a:gd name="connsiteX10" fmla="*/ 192704 w 474348"/>
                  <a:gd name="connsiteY10" fmla="*/ 23812 h 669131"/>
                  <a:gd name="connsiteX0" fmla="*/ 192704 w 474348"/>
                  <a:gd name="connsiteY0" fmla="*/ 23812 h 669131"/>
                  <a:gd name="connsiteX1" fmla="*/ 265690 w 474348"/>
                  <a:gd name="connsiteY1" fmla="*/ 0 h 669131"/>
                  <a:gd name="connsiteX2" fmla="*/ 281644 w 474348"/>
                  <a:gd name="connsiteY2" fmla="*/ 23812 h 669131"/>
                  <a:gd name="connsiteX3" fmla="*/ 474348 w 474348"/>
                  <a:gd name="connsiteY3" fmla="*/ 216516 h 669131"/>
                  <a:gd name="connsiteX4" fmla="*/ 474348 w 474348"/>
                  <a:gd name="connsiteY4" fmla="*/ 669131 h 669131"/>
                  <a:gd name="connsiteX5" fmla="*/ 474348 w 474348"/>
                  <a:gd name="connsiteY5" fmla="*/ 669131 h 669131"/>
                  <a:gd name="connsiteX6" fmla="*/ 248129 w 474348"/>
                  <a:gd name="connsiteY6" fmla="*/ 669131 h 669131"/>
                  <a:gd name="connsiteX7" fmla="*/ 0 w 474348"/>
                  <a:gd name="connsiteY7" fmla="*/ 669131 h 669131"/>
                  <a:gd name="connsiteX8" fmla="*/ 0 w 474348"/>
                  <a:gd name="connsiteY8" fmla="*/ 669131 h 669131"/>
                  <a:gd name="connsiteX9" fmla="*/ 0 w 474348"/>
                  <a:gd name="connsiteY9" fmla="*/ 216516 h 669131"/>
                  <a:gd name="connsiteX10" fmla="*/ 192704 w 474348"/>
                  <a:gd name="connsiteY10" fmla="*/ 23812 h 669131"/>
                  <a:gd name="connsiteX0" fmla="*/ 192704 w 474348"/>
                  <a:gd name="connsiteY0" fmla="*/ 23812 h 669131"/>
                  <a:gd name="connsiteX1" fmla="*/ 265690 w 474348"/>
                  <a:gd name="connsiteY1" fmla="*/ 0 h 669131"/>
                  <a:gd name="connsiteX2" fmla="*/ 314250 w 474348"/>
                  <a:gd name="connsiteY2" fmla="*/ 24047 h 669131"/>
                  <a:gd name="connsiteX3" fmla="*/ 474348 w 474348"/>
                  <a:gd name="connsiteY3" fmla="*/ 216516 h 669131"/>
                  <a:gd name="connsiteX4" fmla="*/ 474348 w 474348"/>
                  <a:gd name="connsiteY4" fmla="*/ 669131 h 669131"/>
                  <a:gd name="connsiteX5" fmla="*/ 474348 w 474348"/>
                  <a:gd name="connsiteY5" fmla="*/ 669131 h 669131"/>
                  <a:gd name="connsiteX6" fmla="*/ 248129 w 474348"/>
                  <a:gd name="connsiteY6" fmla="*/ 669131 h 669131"/>
                  <a:gd name="connsiteX7" fmla="*/ 0 w 474348"/>
                  <a:gd name="connsiteY7" fmla="*/ 669131 h 669131"/>
                  <a:gd name="connsiteX8" fmla="*/ 0 w 474348"/>
                  <a:gd name="connsiteY8" fmla="*/ 669131 h 669131"/>
                  <a:gd name="connsiteX9" fmla="*/ 0 w 474348"/>
                  <a:gd name="connsiteY9" fmla="*/ 216516 h 669131"/>
                  <a:gd name="connsiteX10" fmla="*/ 192704 w 474348"/>
                  <a:gd name="connsiteY10" fmla="*/ 23812 h 669131"/>
                  <a:gd name="connsiteX0" fmla="*/ 192704 w 474348"/>
                  <a:gd name="connsiteY0" fmla="*/ 23812 h 669131"/>
                  <a:gd name="connsiteX1" fmla="*/ 265690 w 474348"/>
                  <a:gd name="connsiteY1" fmla="*/ 0 h 669131"/>
                  <a:gd name="connsiteX2" fmla="*/ 314250 w 474348"/>
                  <a:gd name="connsiteY2" fmla="*/ 24047 h 669131"/>
                  <a:gd name="connsiteX3" fmla="*/ 474348 w 474348"/>
                  <a:gd name="connsiteY3" fmla="*/ 216516 h 669131"/>
                  <a:gd name="connsiteX4" fmla="*/ 474348 w 474348"/>
                  <a:gd name="connsiteY4" fmla="*/ 669131 h 669131"/>
                  <a:gd name="connsiteX5" fmla="*/ 474348 w 474348"/>
                  <a:gd name="connsiteY5" fmla="*/ 669131 h 669131"/>
                  <a:gd name="connsiteX6" fmla="*/ 248129 w 474348"/>
                  <a:gd name="connsiteY6" fmla="*/ 669131 h 669131"/>
                  <a:gd name="connsiteX7" fmla="*/ 0 w 474348"/>
                  <a:gd name="connsiteY7" fmla="*/ 669131 h 669131"/>
                  <a:gd name="connsiteX8" fmla="*/ 0 w 474348"/>
                  <a:gd name="connsiteY8" fmla="*/ 669131 h 669131"/>
                  <a:gd name="connsiteX9" fmla="*/ 0 w 474348"/>
                  <a:gd name="connsiteY9" fmla="*/ 216516 h 669131"/>
                  <a:gd name="connsiteX10" fmla="*/ 192704 w 474348"/>
                  <a:gd name="connsiteY10" fmla="*/ 23812 h 669131"/>
                  <a:gd name="connsiteX0" fmla="*/ 192704 w 474348"/>
                  <a:gd name="connsiteY0" fmla="*/ 23812 h 669131"/>
                  <a:gd name="connsiteX1" fmla="*/ 265690 w 474348"/>
                  <a:gd name="connsiteY1" fmla="*/ 0 h 669131"/>
                  <a:gd name="connsiteX2" fmla="*/ 314250 w 474348"/>
                  <a:gd name="connsiteY2" fmla="*/ 24047 h 669131"/>
                  <a:gd name="connsiteX3" fmla="*/ 474348 w 474348"/>
                  <a:gd name="connsiteY3" fmla="*/ 216516 h 669131"/>
                  <a:gd name="connsiteX4" fmla="*/ 474348 w 474348"/>
                  <a:gd name="connsiteY4" fmla="*/ 669131 h 669131"/>
                  <a:gd name="connsiteX5" fmla="*/ 474348 w 474348"/>
                  <a:gd name="connsiteY5" fmla="*/ 669131 h 669131"/>
                  <a:gd name="connsiteX6" fmla="*/ 248129 w 474348"/>
                  <a:gd name="connsiteY6" fmla="*/ 669131 h 669131"/>
                  <a:gd name="connsiteX7" fmla="*/ 0 w 474348"/>
                  <a:gd name="connsiteY7" fmla="*/ 669131 h 669131"/>
                  <a:gd name="connsiteX8" fmla="*/ 0 w 474348"/>
                  <a:gd name="connsiteY8" fmla="*/ 669131 h 669131"/>
                  <a:gd name="connsiteX9" fmla="*/ 0 w 474348"/>
                  <a:gd name="connsiteY9" fmla="*/ 216516 h 669131"/>
                  <a:gd name="connsiteX10" fmla="*/ 192704 w 474348"/>
                  <a:gd name="connsiteY10" fmla="*/ 23812 h 669131"/>
                  <a:gd name="connsiteX0" fmla="*/ 174282 w 474348"/>
                  <a:gd name="connsiteY0" fmla="*/ 23596 h 669131"/>
                  <a:gd name="connsiteX1" fmla="*/ 265690 w 474348"/>
                  <a:gd name="connsiteY1" fmla="*/ 0 h 669131"/>
                  <a:gd name="connsiteX2" fmla="*/ 314250 w 474348"/>
                  <a:gd name="connsiteY2" fmla="*/ 24047 h 669131"/>
                  <a:gd name="connsiteX3" fmla="*/ 474348 w 474348"/>
                  <a:gd name="connsiteY3" fmla="*/ 216516 h 669131"/>
                  <a:gd name="connsiteX4" fmla="*/ 474348 w 474348"/>
                  <a:gd name="connsiteY4" fmla="*/ 669131 h 669131"/>
                  <a:gd name="connsiteX5" fmla="*/ 474348 w 474348"/>
                  <a:gd name="connsiteY5" fmla="*/ 669131 h 669131"/>
                  <a:gd name="connsiteX6" fmla="*/ 248129 w 474348"/>
                  <a:gd name="connsiteY6" fmla="*/ 669131 h 669131"/>
                  <a:gd name="connsiteX7" fmla="*/ 0 w 474348"/>
                  <a:gd name="connsiteY7" fmla="*/ 669131 h 669131"/>
                  <a:gd name="connsiteX8" fmla="*/ 0 w 474348"/>
                  <a:gd name="connsiteY8" fmla="*/ 669131 h 669131"/>
                  <a:gd name="connsiteX9" fmla="*/ 0 w 474348"/>
                  <a:gd name="connsiteY9" fmla="*/ 216516 h 669131"/>
                  <a:gd name="connsiteX10" fmla="*/ 174282 w 474348"/>
                  <a:gd name="connsiteY10" fmla="*/ 23596 h 669131"/>
                  <a:gd name="connsiteX0" fmla="*/ 174282 w 474348"/>
                  <a:gd name="connsiteY0" fmla="*/ 24619 h 670154"/>
                  <a:gd name="connsiteX1" fmla="*/ 216121 w 474348"/>
                  <a:gd name="connsiteY1" fmla="*/ 0 h 670154"/>
                  <a:gd name="connsiteX2" fmla="*/ 314250 w 474348"/>
                  <a:gd name="connsiteY2" fmla="*/ 25070 h 670154"/>
                  <a:gd name="connsiteX3" fmla="*/ 474348 w 474348"/>
                  <a:gd name="connsiteY3" fmla="*/ 217539 h 670154"/>
                  <a:gd name="connsiteX4" fmla="*/ 474348 w 474348"/>
                  <a:gd name="connsiteY4" fmla="*/ 670154 h 670154"/>
                  <a:gd name="connsiteX5" fmla="*/ 474348 w 474348"/>
                  <a:gd name="connsiteY5" fmla="*/ 670154 h 670154"/>
                  <a:gd name="connsiteX6" fmla="*/ 248129 w 474348"/>
                  <a:gd name="connsiteY6" fmla="*/ 670154 h 670154"/>
                  <a:gd name="connsiteX7" fmla="*/ 0 w 474348"/>
                  <a:gd name="connsiteY7" fmla="*/ 670154 h 670154"/>
                  <a:gd name="connsiteX8" fmla="*/ 0 w 474348"/>
                  <a:gd name="connsiteY8" fmla="*/ 670154 h 670154"/>
                  <a:gd name="connsiteX9" fmla="*/ 0 w 474348"/>
                  <a:gd name="connsiteY9" fmla="*/ 217539 h 670154"/>
                  <a:gd name="connsiteX10" fmla="*/ 174282 w 474348"/>
                  <a:gd name="connsiteY10" fmla="*/ 24619 h 670154"/>
                  <a:gd name="connsiteX0" fmla="*/ 174282 w 474348"/>
                  <a:gd name="connsiteY0" fmla="*/ 24619 h 670154"/>
                  <a:gd name="connsiteX1" fmla="*/ 216121 w 474348"/>
                  <a:gd name="connsiteY1" fmla="*/ 0 h 670154"/>
                  <a:gd name="connsiteX2" fmla="*/ 314250 w 474348"/>
                  <a:gd name="connsiteY2" fmla="*/ 25070 h 670154"/>
                  <a:gd name="connsiteX3" fmla="*/ 474348 w 474348"/>
                  <a:gd name="connsiteY3" fmla="*/ 217539 h 670154"/>
                  <a:gd name="connsiteX4" fmla="*/ 474348 w 474348"/>
                  <a:gd name="connsiteY4" fmla="*/ 670154 h 670154"/>
                  <a:gd name="connsiteX5" fmla="*/ 474348 w 474348"/>
                  <a:gd name="connsiteY5" fmla="*/ 670154 h 670154"/>
                  <a:gd name="connsiteX6" fmla="*/ 248129 w 474348"/>
                  <a:gd name="connsiteY6" fmla="*/ 670154 h 670154"/>
                  <a:gd name="connsiteX7" fmla="*/ 0 w 474348"/>
                  <a:gd name="connsiteY7" fmla="*/ 670154 h 670154"/>
                  <a:gd name="connsiteX8" fmla="*/ 0 w 474348"/>
                  <a:gd name="connsiteY8" fmla="*/ 670154 h 670154"/>
                  <a:gd name="connsiteX9" fmla="*/ 0 w 474348"/>
                  <a:gd name="connsiteY9" fmla="*/ 217539 h 670154"/>
                  <a:gd name="connsiteX10" fmla="*/ 174282 w 474348"/>
                  <a:gd name="connsiteY10" fmla="*/ 24619 h 670154"/>
                  <a:gd name="connsiteX0" fmla="*/ 174282 w 474348"/>
                  <a:gd name="connsiteY0" fmla="*/ 24619 h 670154"/>
                  <a:gd name="connsiteX1" fmla="*/ 216121 w 474348"/>
                  <a:gd name="connsiteY1" fmla="*/ 0 h 670154"/>
                  <a:gd name="connsiteX2" fmla="*/ 314250 w 474348"/>
                  <a:gd name="connsiteY2" fmla="*/ 25070 h 670154"/>
                  <a:gd name="connsiteX3" fmla="*/ 474348 w 474348"/>
                  <a:gd name="connsiteY3" fmla="*/ 217539 h 670154"/>
                  <a:gd name="connsiteX4" fmla="*/ 474348 w 474348"/>
                  <a:gd name="connsiteY4" fmla="*/ 670154 h 670154"/>
                  <a:gd name="connsiteX5" fmla="*/ 474348 w 474348"/>
                  <a:gd name="connsiteY5" fmla="*/ 670154 h 670154"/>
                  <a:gd name="connsiteX6" fmla="*/ 248129 w 474348"/>
                  <a:gd name="connsiteY6" fmla="*/ 670154 h 670154"/>
                  <a:gd name="connsiteX7" fmla="*/ 0 w 474348"/>
                  <a:gd name="connsiteY7" fmla="*/ 670154 h 670154"/>
                  <a:gd name="connsiteX8" fmla="*/ 0 w 474348"/>
                  <a:gd name="connsiteY8" fmla="*/ 670154 h 670154"/>
                  <a:gd name="connsiteX9" fmla="*/ 0 w 474348"/>
                  <a:gd name="connsiteY9" fmla="*/ 217539 h 670154"/>
                  <a:gd name="connsiteX10" fmla="*/ 174282 w 474348"/>
                  <a:gd name="connsiteY10" fmla="*/ 24619 h 670154"/>
                  <a:gd name="connsiteX0" fmla="*/ 174282 w 474348"/>
                  <a:gd name="connsiteY0" fmla="*/ 24619 h 670154"/>
                  <a:gd name="connsiteX1" fmla="*/ 216121 w 474348"/>
                  <a:gd name="connsiteY1" fmla="*/ 0 h 670154"/>
                  <a:gd name="connsiteX2" fmla="*/ 314250 w 474348"/>
                  <a:gd name="connsiteY2" fmla="*/ 25070 h 670154"/>
                  <a:gd name="connsiteX3" fmla="*/ 474348 w 474348"/>
                  <a:gd name="connsiteY3" fmla="*/ 217539 h 670154"/>
                  <a:gd name="connsiteX4" fmla="*/ 474348 w 474348"/>
                  <a:gd name="connsiteY4" fmla="*/ 670154 h 670154"/>
                  <a:gd name="connsiteX5" fmla="*/ 474348 w 474348"/>
                  <a:gd name="connsiteY5" fmla="*/ 670154 h 670154"/>
                  <a:gd name="connsiteX6" fmla="*/ 248129 w 474348"/>
                  <a:gd name="connsiteY6" fmla="*/ 670154 h 670154"/>
                  <a:gd name="connsiteX7" fmla="*/ 0 w 474348"/>
                  <a:gd name="connsiteY7" fmla="*/ 670154 h 670154"/>
                  <a:gd name="connsiteX8" fmla="*/ 0 w 474348"/>
                  <a:gd name="connsiteY8" fmla="*/ 670154 h 670154"/>
                  <a:gd name="connsiteX9" fmla="*/ 0 w 474348"/>
                  <a:gd name="connsiteY9" fmla="*/ 217539 h 670154"/>
                  <a:gd name="connsiteX10" fmla="*/ 174282 w 474348"/>
                  <a:gd name="connsiteY10" fmla="*/ 24619 h 670154"/>
                  <a:gd name="connsiteX0" fmla="*/ 148557 w 474348"/>
                  <a:gd name="connsiteY0" fmla="*/ 27264 h 670154"/>
                  <a:gd name="connsiteX1" fmla="*/ 216121 w 474348"/>
                  <a:gd name="connsiteY1" fmla="*/ 0 h 670154"/>
                  <a:gd name="connsiteX2" fmla="*/ 314250 w 474348"/>
                  <a:gd name="connsiteY2" fmla="*/ 25070 h 670154"/>
                  <a:gd name="connsiteX3" fmla="*/ 474348 w 474348"/>
                  <a:gd name="connsiteY3" fmla="*/ 217539 h 670154"/>
                  <a:gd name="connsiteX4" fmla="*/ 474348 w 474348"/>
                  <a:gd name="connsiteY4" fmla="*/ 670154 h 670154"/>
                  <a:gd name="connsiteX5" fmla="*/ 474348 w 474348"/>
                  <a:gd name="connsiteY5" fmla="*/ 670154 h 670154"/>
                  <a:gd name="connsiteX6" fmla="*/ 248129 w 474348"/>
                  <a:gd name="connsiteY6" fmla="*/ 670154 h 670154"/>
                  <a:gd name="connsiteX7" fmla="*/ 0 w 474348"/>
                  <a:gd name="connsiteY7" fmla="*/ 670154 h 670154"/>
                  <a:gd name="connsiteX8" fmla="*/ 0 w 474348"/>
                  <a:gd name="connsiteY8" fmla="*/ 670154 h 670154"/>
                  <a:gd name="connsiteX9" fmla="*/ 0 w 474348"/>
                  <a:gd name="connsiteY9" fmla="*/ 217539 h 670154"/>
                  <a:gd name="connsiteX10" fmla="*/ 148557 w 474348"/>
                  <a:gd name="connsiteY10" fmla="*/ 27264 h 670154"/>
                  <a:gd name="connsiteX0" fmla="*/ 148557 w 474348"/>
                  <a:gd name="connsiteY0" fmla="*/ 20950 h 663840"/>
                  <a:gd name="connsiteX1" fmla="*/ 214238 w 474348"/>
                  <a:gd name="connsiteY1" fmla="*/ 0 h 663840"/>
                  <a:gd name="connsiteX2" fmla="*/ 314250 w 474348"/>
                  <a:gd name="connsiteY2" fmla="*/ 18756 h 663840"/>
                  <a:gd name="connsiteX3" fmla="*/ 474348 w 474348"/>
                  <a:gd name="connsiteY3" fmla="*/ 211225 h 663840"/>
                  <a:gd name="connsiteX4" fmla="*/ 474348 w 474348"/>
                  <a:gd name="connsiteY4" fmla="*/ 663840 h 663840"/>
                  <a:gd name="connsiteX5" fmla="*/ 474348 w 474348"/>
                  <a:gd name="connsiteY5" fmla="*/ 663840 h 663840"/>
                  <a:gd name="connsiteX6" fmla="*/ 248129 w 474348"/>
                  <a:gd name="connsiteY6" fmla="*/ 663840 h 663840"/>
                  <a:gd name="connsiteX7" fmla="*/ 0 w 474348"/>
                  <a:gd name="connsiteY7" fmla="*/ 663840 h 663840"/>
                  <a:gd name="connsiteX8" fmla="*/ 0 w 474348"/>
                  <a:gd name="connsiteY8" fmla="*/ 663840 h 663840"/>
                  <a:gd name="connsiteX9" fmla="*/ 0 w 474348"/>
                  <a:gd name="connsiteY9" fmla="*/ 211225 h 663840"/>
                  <a:gd name="connsiteX10" fmla="*/ 148557 w 474348"/>
                  <a:gd name="connsiteY10" fmla="*/ 20950 h 663840"/>
                  <a:gd name="connsiteX0" fmla="*/ 148557 w 474348"/>
                  <a:gd name="connsiteY0" fmla="*/ 20950 h 663840"/>
                  <a:gd name="connsiteX1" fmla="*/ 214238 w 474348"/>
                  <a:gd name="connsiteY1" fmla="*/ 0 h 663840"/>
                  <a:gd name="connsiteX2" fmla="*/ 314250 w 474348"/>
                  <a:gd name="connsiteY2" fmla="*/ 18756 h 663840"/>
                  <a:gd name="connsiteX3" fmla="*/ 474348 w 474348"/>
                  <a:gd name="connsiteY3" fmla="*/ 211225 h 663840"/>
                  <a:gd name="connsiteX4" fmla="*/ 474348 w 474348"/>
                  <a:gd name="connsiteY4" fmla="*/ 663840 h 663840"/>
                  <a:gd name="connsiteX5" fmla="*/ 474348 w 474348"/>
                  <a:gd name="connsiteY5" fmla="*/ 663840 h 663840"/>
                  <a:gd name="connsiteX6" fmla="*/ 248129 w 474348"/>
                  <a:gd name="connsiteY6" fmla="*/ 663840 h 663840"/>
                  <a:gd name="connsiteX7" fmla="*/ 0 w 474348"/>
                  <a:gd name="connsiteY7" fmla="*/ 663840 h 663840"/>
                  <a:gd name="connsiteX8" fmla="*/ 0 w 474348"/>
                  <a:gd name="connsiteY8" fmla="*/ 663840 h 663840"/>
                  <a:gd name="connsiteX9" fmla="*/ 0 w 474348"/>
                  <a:gd name="connsiteY9" fmla="*/ 211225 h 663840"/>
                  <a:gd name="connsiteX10" fmla="*/ 148557 w 474348"/>
                  <a:gd name="connsiteY10" fmla="*/ 20950 h 663840"/>
                  <a:gd name="connsiteX0" fmla="*/ 148557 w 474348"/>
                  <a:gd name="connsiteY0" fmla="*/ 20950 h 663840"/>
                  <a:gd name="connsiteX1" fmla="*/ 214238 w 474348"/>
                  <a:gd name="connsiteY1" fmla="*/ 0 h 663840"/>
                  <a:gd name="connsiteX2" fmla="*/ 314250 w 474348"/>
                  <a:gd name="connsiteY2" fmla="*/ 18756 h 663840"/>
                  <a:gd name="connsiteX3" fmla="*/ 474348 w 474348"/>
                  <a:gd name="connsiteY3" fmla="*/ 211225 h 663840"/>
                  <a:gd name="connsiteX4" fmla="*/ 474348 w 474348"/>
                  <a:gd name="connsiteY4" fmla="*/ 663840 h 663840"/>
                  <a:gd name="connsiteX5" fmla="*/ 474348 w 474348"/>
                  <a:gd name="connsiteY5" fmla="*/ 663840 h 663840"/>
                  <a:gd name="connsiteX6" fmla="*/ 248129 w 474348"/>
                  <a:gd name="connsiteY6" fmla="*/ 663840 h 663840"/>
                  <a:gd name="connsiteX7" fmla="*/ 0 w 474348"/>
                  <a:gd name="connsiteY7" fmla="*/ 663840 h 663840"/>
                  <a:gd name="connsiteX8" fmla="*/ 0 w 474348"/>
                  <a:gd name="connsiteY8" fmla="*/ 663840 h 663840"/>
                  <a:gd name="connsiteX9" fmla="*/ 0 w 474348"/>
                  <a:gd name="connsiteY9" fmla="*/ 211225 h 663840"/>
                  <a:gd name="connsiteX10" fmla="*/ 148557 w 474348"/>
                  <a:gd name="connsiteY10" fmla="*/ 20950 h 663840"/>
                  <a:gd name="connsiteX0" fmla="*/ 144178 w 474348"/>
                  <a:gd name="connsiteY0" fmla="*/ 22667 h 663840"/>
                  <a:gd name="connsiteX1" fmla="*/ 214238 w 474348"/>
                  <a:gd name="connsiteY1" fmla="*/ 0 h 663840"/>
                  <a:gd name="connsiteX2" fmla="*/ 314250 w 474348"/>
                  <a:gd name="connsiteY2" fmla="*/ 18756 h 663840"/>
                  <a:gd name="connsiteX3" fmla="*/ 474348 w 474348"/>
                  <a:gd name="connsiteY3" fmla="*/ 211225 h 663840"/>
                  <a:gd name="connsiteX4" fmla="*/ 474348 w 474348"/>
                  <a:gd name="connsiteY4" fmla="*/ 663840 h 663840"/>
                  <a:gd name="connsiteX5" fmla="*/ 474348 w 474348"/>
                  <a:gd name="connsiteY5" fmla="*/ 663840 h 663840"/>
                  <a:gd name="connsiteX6" fmla="*/ 248129 w 474348"/>
                  <a:gd name="connsiteY6" fmla="*/ 663840 h 663840"/>
                  <a:gd name="connsiteX7" fmla="*/ 0 w 474348"/>
                  <a:gd name="connsiteY7" fmla="*/ 663840 h 663840"/>
                  <a:gd name="connsiteX8" fmla="*/ 0 w 474348"/>
                  <a:gd name="connsiteY8" fmla="*/ 663840 h 663840"/>
                  <a:gd name="connsiteX9" fmla="*/ 0 w 474348"/>
                  <a:gd name="connsiteY9" fmla="*/ 211225 h 663840"/>
                  <a:gd name="connsiteX10" fmla="*/ 144178 w 474348"/>
                  <a:gd name="connsiteY10" fmla="*/ 22667 h 663840"/>
                  <a:gd name="connsiteX0" fmla="*/ 144178 w 474348"/>
                  <a:gd name="connsiteY0" fmla="*/ 22667 h 663840"/>
                  <a:gd name="connsiteX1" fmla="*/ 214238 w 474348"/>
                  <a:gd name="connsiteY1" fmla="*/ 0 h 663840"/>
                  <a:gd name="connsiteX2" fmla="*/ 314250 w 474348"/>
                  <a:gd name="connsiteY2" fmla="*/ 18756 h 663840"/>
                  <a:gd name="connsiteX3" fmla="*/ 474348 w 474348"/>
                  <a:gd name="connsiteY3" fmla="*/ 211225 h 663840"/>
                  <a:gd name="connsiteX4" fmla="*/ 474348 w 474348"/>
                  <a:gd name="connsiteY4" fmla="*/ 663840 h 663840"/>
                  <a:gd name="connsiteX5" fmla="*/ 474348 w 474348"/>
                  <a:gd name="connsiteY5" fmla="*/ 663840 h 663840"/>
                  <a:gd name="connsiteX6" fmla="*/ 248129 w 474348"/>
                  <a:gd name="connsiteY6" fmla="*/ 663840 h 663840"/>
                  <a:gd name="connsiteX7" fmla="*/ 0 w 474348"/>
                  <a:gd name="connsiteY7" fmla="*/ 663840 h 663840"/>
                  <a:gd name="connsiteX8" fmla="*/ 0 w 474348"/>
                  <a:gd name="connsiteY8" fmla="*/ 663840 h 663840"/>
                  <a:gd name="connsiteX9" fmla="*/ 0 w 474348"/>
                  <a:gd name="connsiteY9" fmla="*/ 211225 h 663840"/>
                  <a:gd name="connsiteX10" fmla="*/ 144178 w 474348"/>
                  <a:gd name="connsiteY10" fmla="*/ 22667 h 663840"/>
                  <a:gd name="connsiteX0" fmla="*/ 144178 w 474348"/>
                  <a:gd name="connsiteY0" fmla="*/ 22667 h 663840"/>
                  <a:gd name="connsiteX1" fmla="*/ 214238 w 474348"/>
                  <a:gd name="connsiteY1" fmla="*/ 0 h 663840"/>
                  <a:gd name="connsiteX2" fmla="*/ 314250 w 474348"/>
                  <a:gd name="connsiteY2" fmla="*/ 18756 h 663840"/>
                  <a:gd name="connsiteX3" fmla="*/ 474348 w 474348"/>
                  <a:gd name="connsiteY3" fmla="*/ 211225 h 663840"/>
                  <a:gd name="connsiteX4" fmla="*/ 474348 w 474348"/>
                  <a:gd name="connsiteY4" fmla="*/ 663840 h 663840"/>
                  <a:gd name="connsiteX5" fmla="*/ 474348 w 474348"/>
                  <a:gd name="connsiteY5" fmla="*/ 663840 h 663840"/>
                  <a:gd name="connsiteX6" fmla="*/ 248129 w 474348"/>
                  <a:gd name="connsiteY6" fmla="*/ 663840 h 663840"/>
                  <a:gd name="connsiteX7" fmla="*/ 0 w 474348"/>
                  <a:gd name="connsiteY7" fmla="*/ 663840 h 663840"/>
                  <a:gd name="connsiteX8" fmla="*/ 0 w 474348"/>
                  <a:gd name="connsiteY8" fmla="*/ 663840 h 663840"/>
                  <a:gd name="connsiteX9" fmla="*/ 0 w 474348"/>
                  <a:gd name="connsiteY9" fmla="*/ 211225 h 663840"/>
                  <a:gd name="connsiteX10" fmla="*/ 144178 w 474348"/>
                  <a:gd name="connsiteY10" fmla="*/ 22667 h 663840"/>
                  <a:gd name="connsiteX0" fmla="*/ 144178 w 474348"/>
                  <a:gd name="connsiteY0" fmla="*/ 22667 h 663840"/>
                  <a:gd name="connsiteX1" fmla="*/ 214238 w 474348"/>
                  <a:gd name="connsiteY1" fmla="*/ 0 h 663840"/>
                  <a:gd name="connsiteX2" fmla="*/ 314250 w 474348"/>
                  <a:gd name="connsiteY2" fmla="*/ 18756 h 663840"/>
                  <a:gd name="connsiteX3" fmla="*/ 474348 w 474348"/>
                  <a:gd name="connsiteY3" fmla="*/ 211225 h 663840"/>
                  <a:gd name="connsiteX4" fmla="*/ 474348 w 474348"/>
                  <a:gd name="connsiteY4" fmla="*/ 663840 h 663840"/>
                  <a:gd name="connsiteX5" fmla="*/ 474348 w 474348"/>
                  <a:gd name="connsiteY5" fmla="*/ 663840 h 663840"/>
                  <a:gd name="connsiteX6" fmla="*/ 248129 w 474348"/>
                  <a:gd name="connsiteY6" fmla="*/ 663840 h 663840"/>
                  <a:gd name="connsiteX7" fmla="*/ 0 w 474348"/>
                  <a:gd name="connsiteY7" fmla="*/ 663840 h 663840"/>
                  <a:gd name="connsiteX8" fmla="*/ 0 w 474348"/>
                  <a:gd name="connsiteY8" fmla="*/ 663840 h 663840"/>
                  <a:gd name="connsiteX9" fmla="*/ 0 w 474348"/>
                  <a:gd name="connsiteY9" fmla="*/ 211225 h 663840"/>
                  <a:gd name="connsiteX10" fmla="*/ 144178 w 474348"/>
                  <a:gd name="connsiteY10" fmla="*/ 22667 h 6638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74348" h="663840">
                    <a:moveTo>
                      <a:pt x="144178" y="22667"/>
                    </a:moveTo>
                    <a:cubicBezTo>
                      <a:pt x="211732" y="-970"/>
                      <a:pt x="181869" y="7990"/>
                      <a:pt x="214238" y="0"/>
                    </a:cubicBezTo>
                    <a:cubicBezTo>
                      <a:pt x="259321" y="7224"/>
                      <a:pt x="221757" y="369"/>
                      <a:pt x="314250" y="18756"/>
                    </a:cubicBezTo>
                    <a:cubicBezTo>
                      <a:pt x="399877" y="51074"/>
                      <a:pt x="474348" y="104798"/>
                      <a:pt x="474348" y="211225"/>
                    </a:cubicBezTo>
                    <a:lnTo>
                      <a:pt x="474348" y="663840"/>
                    </a:lnTo>
                    <a:lnTo>
                      <a:pt x="474348" y="663840"/>
                    </a:lnTo>
                    <a:lnTo>
                      <a:pt x="248129" y="663840"/>
                    </a:lnTo>
                    <a:lnTo>
                      <a:pt x="0" y="663840"/>
                    </a:lnTo>
                    <a:lnTo>
                      <a:pt x="0" y="663840"/>
                    </a:lnTo>
                    <a:lnTo>
                      <a:pt x="0" y="211225"/>
                    </a:lnTo>
                    <a:cubicBezTo>
                      <a:pt x="0" y="104798"/>
                      <a:pt x="80700" y="56026"/>
                      <a:pt x="144178" y="22667"/>
                    </a:cubicBezTo>
                    <a:close/>
                  </a:path>
                </a:pathLst>
              </a:cu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grpSp>
      </p:grpSp>
      <p:sp>
        <p:nvSpPr>
          <p:cNvPr id="34" name="Oval 33"/>
          <p:cNvSpPr/>
          <p:nvPr/>
        </p:nvSpPr>
        <p:spPr>
          <a:xfrm flipH="1">
            <a:off x="7397574" y="2770558"/>
            <a:ext cx="189078" cy="189077"/>
          </a:xfrm>
          <a:prstGeom prst="ellipse">
            <a:avLst/>
          </a:prstGeom>
          <a:solidFill>
            <a:schemeClr val="bg1"/>
          </a:solidFill>
          <a:ln w="50800">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14107903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8" presetClass="emph" presetSubtype="0" repeatCount="indefinite" fill="hold" nodeType="withEffect">
                                  <p:stCondLst>
                                    <p:cond delay="0"/>
                                  </p:stCondLst>
                                  <p:childTnLst>
                                    <p:animRot by="21600000">
                                      <p:cBhvr>
                                        <p:cTn id="6" dur="5000" fill="hold"/>
                                        <p:tgtEl>
                                          <p:spTgt spid="10372"/>
                                        </p:tgtEl>
                                        <p:attrNameLst>
                                          <p:attrName>r</p:attrName>
                                        </p:attrNameLst>
                                      </p:cBhvr>
                                    </p:animRot>
                                  </p:childTnLst>
                                </p:cTn>
                              </p:par>
                              <p:par>
                                <p:cTn id="7" presetID="8" presetClass="emph" presetSubtype="0" repeatCount="indefinite" fill="hold" nodeType="withEffect">
                                  <p:stCondLst>
                                    <p:cond delay="0"/>
                                  </p:stCondLst>
                                  <p:childTnLst>
                                    <p:animRot by="21600000">
                                      <p:cBhvr>
                                        <p:cTn id="8" dur="5000" fill="hold"/>
                                        <p:tgtEl>
                                          <p:spTgt spid="10374"/>
                                        </p:tgtEl>
                                        <p:attrNameLst>
                                          <p:attrName>r</p:attrName>
                                        </p:attrNameLst>
                                      </p:cBhvr>
                                    </p:animRo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ext uri="{D42A27DB-BD31-4B8C-83A1-F6EECF244321}">
                <p14:modId xmlns:p14="http://schemas.microsoft.com/office/powerpoint/2010/main" val="49900661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371"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grpSp>
        <p:nvGrpSpPr>
          <p:cNvPr id="4" name="Group 3"/>
          <p:cNvGrpSpPr/>
          <p:nvPr/>
        </p:nvGrpSpPr>
        <p:grpSpPr>
          <a:xfrm>
            <a:off x="1156568" y="1673236"/>
            <a:ext cx="4257279" cy="2964572"/>
            <a:chOff x="0" y="2240510"/>
            <a:chExt cx="2773647" cy="1931440"/>
          </a:xfrm>
        </p:grpSpPr>
        <p:grpSp>
          <p:nvGrpSpPr>
            <p:cNvPr id="188" name="Group 187"/>
            <p:cNvGrpSpPr/>
            <p:nvPr/>
          </p:nvGrpSpPr>
          <p:grpSpPr>
            <a:xfrm flipH="1">
              <a:off x="0" y="2895176"/>
              <a:ext cx="474837" cy="736896"/>
              <a:chOff x="274646" y="-1004072"/>
              <a:chExt cx="5446648" cy="8452622"/>
            </a:xfrm>
            <a:effectLst/>
          </p:grpSpPr>
          <p:sp>
            <p:nvSpPr>
              <p:cNvPr id="189" name="Isosceles Triangle 188"/>
              <p:cNvSpPr/>
              <p:nvPr/>
            </p:nvSpPr>
            <p:spPr>
              <a:xfrm>
                <a:off x="2789660" y="1551279"/>
                <a:ext cx="575648" cy="5897271"/>
              </a:xfrm>
              <a:prstGeom prst="triangle">
                <a:avLst>
                  <a:gd name="adj" fmla="val 5330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90" name="Group 189"/>
              <p:cNvGrpSpPr/>
              <p:nvPr/>
            </p:nvGrpSpPr>
            <p:grpSpPr>
              <a:xfrm>
                <a:off x="274646" y="-1004072"/>
                <a:ext cx="5446648" cy="3713114"/>
                <a:chOff x="274646" y="-1004072"/>
                <a:chExt cx="5446648" cy="3713114"/>
              </a:xfrm>
            </p:grpSpPr>
            <p:sp>
              <p:nvSpPr>
                <p:cNvPr id="191" name="Round Same Side Corner Rectangle 11"/>
                <p:cNvSpPr/>
                <p:nvPr/>
              </p:nvSpPr>
              <p:spPr>
                <a:xfrm rot="240000">
                  <a:off x="3037776" y="-1004072"/>
                  <a:ext cx="251846" cy="2632765"/>
                </a:xfrm>
                <a:custGeom>
                  <a:avLst/>
                  <a:gdLst>
                    <a:gd name="connsiteX0" fmla="*/ 192704 w 474348"/>
                    <a:gd name="connsiteY0" fmla="*/ 0 h 645319"/>
                    <a:gd name="connsiteX1" fmla="*/ 281644 w 474348"/>
                    <a:gd name="connsiteY1" fmla="*/ 0 h 645319"/>
                    <a:gd name="connsiteX2" fmla="*/ 474348 w 474348"/>
                    <a:gd name="connsiteY2" fmla="*/ 192704 h 645319"/>
                    <a:gd name="connsiteX3" fmla="*/ 474348 w 474348"/>
                    <a:gd name="connsiteY3" fmla="*/ 645319 h 645319"/>
                    <a:gd name="connsiteX4" fmla="*/ 474348 w 474348"/>
                    <a:gd name="connsiteY4" fmla="*/ 645319 h 645319"/>
                    <a:gd name="connsiteX5" fmla="*/ 0 w 474348"/>
                    <a:gd name="connsiteY5" fmla="*/ 645319 h 645319"/>
                    <a:gd name="connsiteX6" fmla="*/ 0 w 474348"/>
                    <a:gd name="connsiteY6" fmla="*/ 645319 h 645319"/>
                    <a:gd name="connsiteX7" fmla="*/ 0 w 474348"/>
                    <a:gd name="connsiteY7" fmla="*/ 192704 h 645319"/>
                    <a:gd name="connsiteX8" fmla="*/ 192704 w 474348"/>
                    <a:gd name="connsiteY8" fmla="*/ 0 h 645319"/>
                    <a:gd name="connsiteX0" fmla="*/ 192704 w 474348"/>
                    <a:gd name="connsiteY0" fmla="*/ 0 h 645319"/>
                    <a:gd name="connsiteX1" fmla="*/ 281644 w 474348"/>
                    <a:gd name="connsiteY1" fmla="*/ 0 h 645319"/>
                    <a:gd name="connsiteX2" fmla="*/ 474348 w 474348"/>
                    <a:gd name="connsiteY2" fmla="*/ 192704 h 645319"/>
                    <a:gd name="connsiteX3" fmla="*/ 474348 w 474348"/>
                    <a:gd name="connsiteY3" fmla="*/ 645319 h 645319"/>
                    <a:gd name="connsiteX4" fmla="*/ 474348 w 474348"/>
                    <a:gd name="connsiteY4" fmla="*/ 645319 h 645319"/>
                    <a:gd name="connsiteX5" fmla="*/ 248129 w 474348"/>
                    <a:gd name="connsiteY5" fmla="*/ 645319 h 645319"/>
                    <a:gd name="connsiteX6" fmla="*/ 0 w 474348"/>
                    <a:gd name="connsiteY6" fmla="*/ 645319 h 645319"/>
                    <a:gd name="connsiteX7" fmla="*/ 0 w 474348"/>
                    <a:gd name="connsiteY7" fmla="*/ 645319 h 645319"/>
                    <a:gd name="connsiteX8" fmla="*/ 0 w 474348"/>
                    <a:gd name="connsiteY8" fmla="*/ 192704 h 645319"/>
                    <a:gd name="connsiteX9" fmla="*/ 192704 w 474348"/>
                    <a:gd name="connsiteY9" fmla="*/ 0 h 645319"/>
                    <a:gd name="connsiteX0" fmla="*/ 192704 w 474348"/>
                    <a:gd name="connsiteY0" fmla="*/ 2381 h 647700"/>
                    <a:gd name="connsiteX1" fmla="*/ 240986 w 474348"/>
                    <a:gd name="connsiteY1" fmla="*/ 0 h 647700"/>
                    <a:gd name="connsiteX2" fmla="*/ 281644 w 474348"/>
                    <a:gd name="connsiteY2" fmla="*/ 2381 h 647700"/>
                    <a:gd name="connsiteX3" fmla="*/ 474348 w 474348"/>
                    <a:gd name="connsiteY3" fmla="*/ 195085 h 647700"/>
                    <a:gd name="connsiteX4" fmla="*/ 474348 w 474348"/>
                    <a:gd name="connsiteY4" fmla="*/ 647700 h 647700"/>
                    <a:gd name="connsiteX5" fmla="*/ 474348 w 474348"/>
                    <a:gd name="connsiteY5" fmla="*/ 647700 h 647700"/>
                    <a:gd name="connsiteX6" fmla="*/ 248129 w 474348"/>
                    <a:gd name="connsiteY6" fmla="*/ 647700 h 647700"/>
                    <a:gd name="connsiteX7" fmla="*/ 0 w 474348"/>
                    <a:gd name="connsiteY7" fmla="*/ 647700 h 647700"/>
                    <a:gd name="connsiteX8" fmla="*/ 0 w 474348"/>
                    <a:gd name="connsiteY8" fmla="*/ 647700 h 647700"/>
                    <a:gd name="connsiteX9" fmla="*/ 0 w 474348"/>
                    <a:gd name="connsiteY9" fmla="*/ 195085 h 647700"/>
                    <a:gd name="connsiteX10" fmla="*/ 192704 w 474348"/>
                    <a:gd name="connsiteY10" fmla="*/ 2381 h 647700"/>
                    <a:gd name="connsiteX0" fmla="*/ 192704 w 474348"/>
                    <a:gd name="connsiteY0" fmla="*/ 42862 h 688181"/>
                    <a:gd name="connsiteX1" fmla="*/ 240986 w 474348"/>
                    <a:gd name="connsiteY1" fmla="*/ 0 h 688181"/>
                    <a:gd name="connsiteX2" fmla="*/ 281644 w 474348"/>
                    <a:gd name="connsiteY2" fmla="*/ 42862 h 688181"/>
                    <a:gd name="connsiteX3" fmla="*/ 474348 w 474348"/>
                    <a:gd name="connsiteY3" fmla="*/ 235566 h 688181"/>
                    <a:gd name="connsiteX4" fmla="*/ 474348 w 474348"/>
                    <a:gd name="connsiteY4" fmla="*/ 688181 h 688181"/>
                    <a:gd name="connsiteX5" fmla="*/ 474348 w 474348"/>
                    <a:gd name="connsiteY5" fmla="*/ 688181 h 688181"/>
                    <a:gd name="connsiteX6" fmla="*/ 248129 w 474348"/>
                    <a:gd name="connsiteY6" fmla="*/ 688181 h 688181"/>
                    <a:gd name="connsiteX7" fmla="*/ 0 w 474348"/>
                    <a:gd name="connsiteY7" fmla="*/ 688181 h 688181"/>
                    <a:gd name="connsiteX8" fmla="*/ 0 w 474348"/>
                    <a:gd name="connsiteY8" fmla="*/ 688181 h 688181"/>
                    <a:gd name="connsiteX9" fmla="*/ 0 w 474348"/>
                    <a:gd name="connsiteY9" fmla="*/ 235566 h 688181"/>
                    <a:gd name="connsiteX10" fmla="*/ 192704 w 474348"/>
                    <a:gd name="connsiteY10" fmla="*/ 42862 h 688181"/>
                    <a:gd name="connsiteX0" fmla="*/ 192704 w 474348"/>
                    <a:gd name="connsiteY0" fmla="*/ 23812 h 669131"/>
                    <a:gd name="connsiteX1" fmla="*/ 265690 w 474348"/>
                    <a:gd name="connsiteY1" fmla="*/ 0 h 669131"/>
                    <a:gd name="connsiteX2" fmla="*/ 281644 w 474348"/>
                    <a:gd name="connsiteY2" fmla="*/ 23812 h 669131"/>
                    <a:gd name="connsiteX3" fmla="*/ 474348 w 474348"/>
                    <a:gd name="connsiteY3" fmla="*/ 216516 h 669131"/>
                    <a:gd name="connsiteX4" fmla="*/ 474348 w 474348"/>
                    <a:gd name="connsiteY4" fmla="*/ 669131 h 669131"/>
                    <a:gd name="connsiteX5" fmla="*/ 474348 w 474348"/>
                    <a:gd name="connsiteY5" fmla="*/ 669131 h 669131"/>
                    <a:gd name="connsiteX6" fmla="*/ 248129 w 474348"/>
                    <a:gd name="connsiteY6" fmla="*/ 669131 h 669131"/>
                    <a:gd name="connsiteX7" fmla="*/ 0 w 474348"/>
                    <a:gd name="connsiteY7" fmla="*/ 669131 h 669131"/>
                    <a:gd name="connsiteX8" fmla="*/ 0 w 474348"/>
                    <a:gd name="connsiteY8" fmla="*/ 669131 h 669131"/>
                    <a:gd name="connsiteX9" fmla="*/ 0 w 474348"/>
                    <a:gd name="connsiteY9" fmla="*/ 216516 h 669131"/>
                    <a:gd name="connsiteX10" fmla="*/ 192704 w 474348"/>
                    <a:gd name="connsiteY10" fmla="*/ 23812 h 669131"/>
                    <a:gd name="connsiteX0" fmla="*/ 192704 w 474348"/>
                    <a:gd name="connsiteY0" fmla="*/ 23812 h 669131"/>
                    <a:gd name="connsiteX1" fmla="*/ 265690 w 474348"/>
                    <a:gd name="connsiteY1" fmla="*/ 0 h 669131"/>
                    <a:gd name="connsiteX2" fmla="*/ 281644 w 474348"/>
                    <a:gd name="connsiteY2" fmla="*/ 23812 h 669131"/>
                    <a:gd name="connsiteX3" fmla="*/ 474348 w 474348"/>
                    <a:gd name="connsiteY3" fmla="*/ 216516 h 669131"/>
                    <a:gd name="connsiteX4" fmla="*/ 474348 w 474348"/>
                    <a:gd name="connsiteY4" fmla="*/ 669131 h 669131"/>
                    <a:gd name="connsiteX5" fmla="*/ 474348 w 474348"/>
                    <a:gd name="connsiteY5" fmla="*/ 669131 h 669131"/>
                    <a:gd name="connsiteX6" fmla="*/ 248129 w 474348"/>
                    <a:gd name="connsiteY6" fmla="*/ 669131 h 669131"/>
                    <a:gd name="connsiteX7" fmla="*/ 0 w 474348"/>
                    <a:gd name="connsiteY7" fmla="*/ 669131 h 669131"/>
                    <a:gd name="connsiteX8" fmla="*/ 0 w 474348"/>
                    <a:gd name="connsiteY8" fmla="*/ 669131 h 669131"/>
                    <a:gd name="connsiteX9" fmla="*/ 0 w 474348"/>
                    <a:gd name="connsiteY9" fmla="*/ 216516 h 669131"/>
                    <a:gd name="connsiteX10" fmla="*/ 192704 w 474348"/>
                    <a:gd name="connsiteY10" fmla="*/ 23812 h 669131"/>
                    <a:gd name="connsiteX0" fmla="*/ 192704 w 474348"/>
                    <a:gd name="connsiteY0" fmla="*/ 23812 h 669131"/>
                    <a:gd name="connsiteX1" fmla="*/ 265690 w 474348"/>
                    <a:gd name="connsiteY1" fmla="*/ 0 h 669131"/>
                    <a:gd name="connsiteX2" fmla="*/ 281644 w 474348"/>
                    <a:gd name="connsiteY2" fmla="*/ 23812 h 669131"/>
                    <a:gd name="connsiteX3" fmla="*/ 474348 w 474348"/>
                    <a:gd name="connsiteY3" fmla="*/ 216516 h 669131"/>
                    <a:gd name="connsiteX4" fmla="*/ 474348 w 474348"/>
                    <a:gd name="connsiteY4" fmla="*/ 669131 h 669131"/>
                    <a:gd name="connsiteX5" fmla="*/ 474348 w 474348"/>
                    <a:gd name="connsiteY5" fmla="*/ 669131 h 669131"/>
                    <a:gd name="connsiteX6" fmla="*/ 248129 w 474348"/>
                    <a:gd name="connsiteY6" fmla="*/ 669131 h 669131"/>
                    <a:gd name="connsiteX7" fmla="*/ 0 w 474348"/>
                    <a:gd name="connsiteY7" fmla="*/ 669131 h 669131"/>
                    <a:gd name="connsiteX8" fmla="*/ 0 w 474348"/>
                    <a:gd name="connsiteY8" fmla="*/ 669131 h 669131"/>
                    <a:gd name="connsiteX9" fmla="*/ 0 w 474348"/>
                    <a:gd name="connsiteY9" fmla="*/ 216516 h 669131"/>
                    <a:gd name="connsiteX10" fmla="*/ 192704 w 474348"/>
                    <a:gd name="connsiteY10" fmla="*/ 23812 h 669131"/>
                    <a:gd name="connsiteX0" fmla="*/ 192704 w 474348"/>
                    <a:gd name="connsiteY0" fmla="*/ 23812 h 669131"/>
                    <a:gd name="connsiteX1" fmla="*/ 265690 w 474348"/>
                    <a:gd name="connsiteY1" fmla="*/ 0 h 669131"/>
                    <a:gd name="connsiteX2" fmla="*/ 281644 w 474348"/>
                    <a:gd name="connsiteY2" fmla="*/ 23812 h 669131"/>
                    <a:gd name="connsiteX3" fmla="*/ 474348 w 474348"/>
                    <a:gd name="connsiteY3" fmla="*/ 216516 h 669131"/>
                    <a:gd name="connsiteX4" fmla="*/ 474348 w 474348"/>
                    <a:gd name="connsiteY4" fmla="*/ 669131 h 669131"/>
                    <a:gd name="connsiteX5" fmla="*/ 474348 w 474348"/>
                    <a:gd name="connsiteY5" fmla="*/ 669131 h 669131"/>
                    <a:gd name="connsiteX6" fmla="*/ 248129 w 474348"/>
                    <a:gd name="connsiteY6" fmla="*/ 669131 h 669131"/>
                    <a:gd name="connsiteX7" fmla="*/ 0 w 474348"/>
                    <a:gd name="connsiteY7" fmla="*/ 669131 h 669131"/>
                    <a:gd name="connsiteX8" fmla="*/ 0 w 474348"/>
                    <a:gd name="connsiteY8" fmla="*/ 669131 h 669131"/>
                    <a:gd name="connsiteX9" fmla="*/ 0 w 474348"/>
                    <a:gd name="connsiteY9" fmla="*/ 216516 h 669131"/>
                    <a:gd name="connsiteX10" fmla="*/ 192704 w 474348"/>
                    <a:gd name="connsiteY10" fmla="*/ 23812 h 669131"/>
                    <a:gd name="connsiteX0" fmla="*/ 192704 w 474348"/>
                    <a:gd name="connsiteY0" fmla="*/ 23812 h 669131"/>
                    <a:gd name="connsiteX1" fmla="*/ 265690 w 474348"/>
                    <a:gd name="connsiteY1" fmla="*/ 0 h 669131"/>
                    <a:gd name="connsiteX2" fmla="*/ 281644 w 474348"/>
                    <a:gd name="connsiteY2" fmla="*/ 23812 h 669131"/>
                    <a:gd name="connsiteX3" fmla="*/ 474348 w 474348"/>
                    <a:gd name="connsiteY3" fmla="*/ 216516 h 669131"/>
                    <a:gd name="connsiteX4" fmla="*/ 474348 w 474348"/>
                    <a:gd name="connsiteY4" fmla="*/ 669131 h 669131"/>
                    <a:gd name="connsiteX5" fmla="*/ 474348 w 474348"/>
                    <a:gd name="connsiteY5" fmla="*/ 669131 h 669131"/>
                    <a:gd name="connsiteX6" fmla="*/ 248129 w 474348"/>
                    <a:gd name="connsiteY6" fmla="*/ 669131 h 669131"/>
                    <a:gd name="connsiteX7" fmla="*/ 0 w 474348"/>
                    <a:gd name="connsiteY7" fmla="*/ 669131 h 669131"/>
                    <a:gd name="connsiteX8" fmla="*/ 0 w 474348"/>
                    <a:gd name="connsiteY8" fmla="*/ 669131 h 669131"/>
                    <a:gd name="connsiteX9" fmla="*/ 0 w 474348"/>
                    <a:gd name="connsiteY9" fmla="*/ 216516 h 669131"/>
                    <a:gd name="connsiteX10" fmla="*/ 192704 w 474348"/>
                    <a:gd name="connsiteY10" fmla="*/ 23812 h 669131"/>
                    <a:gd name="connsiteX0" fmla="*/ 192704 w 474348"/>
                    <a:gd name="connsiteY0" fmla="*/ 23812 h 669131"/>
                    <a:gd name="connsiteX1" fmla="*/ 265690 w 474348"/>
                    <a:gd name="connsiteY1" fmla="*/ 0 h 669131"/>
                    <a:gd name="connsiteX2" fmla="*/ 299854 w 474348"/>
                    <a:gd name="connsiteY2" fmla="*/ 24247 h 669131"/>
                    <a:gd name="connsiteX3" fmla="*/ 474348 w 474348"/>
                    <a:gd name="connsiteY3" fmla="*/ 216516 h 669131"/>
                    <a:gd name="connsiteX4" fmla="*/ 474348 w 474348"/>
                    <a:gd name="connsiteY4" fmla="*/ 669131 h 669131"/>
                    <a:gd name="connsiteX5" fmla="*/ 474348 w 474348"/>
                    <a:gd name="connsiteY5" fmla="*/ 669131 h 669131"/>
                    <a:gd name="connsiteX6" fmla="*/ 248129 w 474348"/>
                    <a:gd name="connsiteY6" fmla="*/ 669131 h 669131"/>
                    <a:gd name="connsiteX7" fmla="*/ 0 w 474348"/>
                    <a:gd name="connsiteY7" fmla="*/ 669131 h 669131"/>
                    <a:gd name="connsiteX8" fmla="*/ 0 w 474348"/>
                    <a:gd name="connsiteY8" fmla="*/ 669131 h 669131"/>
                    <a:gd name="connsiteX9" fmla="*/ 0 w 474348"/>
                    <a:gd name="connsiteY9" fmla="*/ 216516 h 669131"/>
                    <a:gd name="connsiteX10" fmla="*/ 192704 w 474348"/>
                    <a:gd name="connsiteY10" fmla="*/ 23812 h 669131"/>
                    <a:gd name="connsiteX0" fmla="*/ 192704 w 474348"/>
                    <a:gd name="connsiteY0" fmla="*/ 23812 h 669131"/>
                    <a:gd name="connsiteX1" fmla="*/ 265690 w 474348"/>
                    <a:gd name="connsiteY1" fmla="*/ 0 h 669131"/>
                    <a:gd name="connsiteX2" fmla="*/ 299854 w 474348"/>
                    <a:gd name="connsiteY2" fmla="*/ 24247 h 669131"/>
                    <a:gd name="connsiteX3" fmla="*/ 474348 w 474348"/>
                    <a:gd name="connsiteY3" fmla="*/ 216516 h 669131"/>
                    <a:gd name="connsiteX4" fmla="*/ 474348 w 474348"/>
                    <a:gd name="connsiteY4" fmla="*/ 669131 h 669131"/>
                    <a:gd name="connsiteX5" fmla="*/ 474348 w 474348"/>
                    <a:gd name="connsiteY5" fmla="*/ 669131 h 669131"/>
                    <a:gd name="connsiteX6" fmla="*/ 248129 w 474348"/>
                    <a:gd name="connsiteY6" fmla="*/ 669131 h 669131"/>
                    <a:gd name="connsiteX7" fmla="*/ 0 w 474348"/>
                    <a:gd name="connsiteY7" fmla="*/ 669131 h 669131"/>
                    <a:gd name="connsiteX8" fmla="*/ 0 w 474348"/>
                    <a:gd name="connsiteY8" fmla="*/ 669131 h 669131"/>
                    <a:gd name="connsiteX9" fmla="*/ 0 w 474348"/>
                    <a:gd name="connsiteY9" fmla="*/ 216516 h 669131"/>
                    <a:gd name="connsiteX10" fmla="*/ 192704 w 474348"/>
                    <a:gd name="connsiteY10" fmla="*/ 23812 h 669131"/>
                    <a:gd name="connsiteX0" fmla="*/ 192704 w 474348"/>
                    <a:gd name="connsiteY0" fmla="*/ 23812 h 669131"/>
                    <a:gd name="connsiteX1" fmla="*/ 265690 w 474348"/>
                    <a:gd name="connsiteY1" fmla="*/ 0 h 669131"/>
                    <a:gd name="connsiteX2" fmla="*/ 299854 w 474348"/>
                    <a:gd name="connsiteY2" fmla="*/ 24247 h 669131"/>
                    <a:gd name="connsiteX3" fmla="*/ 474348 w 474348"/>
                    <a:gd name="connsiteY3" fmla="*/ 216516 h 669131"/>
                    <a:gd name="connsiteX4" fmla="*/ 474348 w 474348"/>
                    <a:gd name="connsiteY4" fmla="*/ 669131 h 669131"/>
                    <a:gd name="connsiteX5" fmla="*/ 474348 w 474348"/>
                    <a:gd name="connsiteY5" fmla="*/ 669131 h 669131"/>
                    <a:gd name="connsiteX6" fmla="*/ 248129 w 474348"/>
                    <a:gd name="connsiteY6" fmla="*/ 669131 h 669131"/>
                    <a:gd name="connsiteX7" fmla="*/ 0 w 474348"/>
                    <a:gd name="connsiteY7" fmla="*/ 669131 h 669131"/>
                    <a:gd name="connsiteX8" fmla="*/ 0 w 474348"/>
                    <a:gd name="connsiteY8" fmla="*/ 669131 h 669131"/>
                    <a:gd name="connsiteX9" fmla="*/ 0 w 474348"/>
                    <a:gd name="connsiteY9" fmla="*/ 216516 h 669131"/>
                    <a:gd name="connsiteX10" fmla="*/ 192704 w 474348"/>
                    <a:gd name="connsiteY10" fmla="*/ 23812 h 669131"/>
                    <a:gd name="connsiteX0" fmla="*/ 192704 w 474348"/>
                    <a:gd name="connsiteY0" fmla="*/ 23812 h 669131"/>
                    <a:gd name="connsiteX1" fmla="*/ 265690 w 474348"/>
                    <a:gd name="connsiteY1" fmla="*/ 0 h 669131"/>
                    <a:gd name="connsiteX2" fmla="*/ 299854 w 474348"/>
                    <a:gd name="connsiteY2" fmla="*/ 24247 h 669131"/>
                    <a:gd name="connsiteX3" fmla="*/ 474348 w 474348"/>
                    <a:gd name="connsiteY3" fmla="*/ 216516 h 669131"/>
                    <a:gd name="connsiteX4" fmla="*/ 474348 w 474348"/>
                    <a:gd name="connsiteY4" fmla="*/ 669131 h 669131"/>
                    <a:gd name="connsiteX5" fmla="*/ 474348 w 474348"/>
                    <a:gd name="connsiteY5" fmla="*/ 669131 h 669131"/>
                    <a:gd name="connsiteX6" fmla="*/ 248129 w 474348"/>
                    <a:gd name="connsiteY6" fmla="*/ 669131 h 669131"/>
                    <a:gd name="connsiteX7" fmla="*/ 0 w 474348"/>
                    <a:gd name="connsiteY7" fmla="*/ 669131 h 669131"/>
                    <a:gd name="connsiteX8" fmla="*/ 0 w 474348"/>
                    <a:gd name="connsiteY8" fmla="*/ 669131 h 669131"/>
                    <a:gd name="connsiteX9" fmla="*/ 0 w 474348"/>
                    <a:gd name="connsiteY9" fmla="*/ 216516 h 669131"/>
                    <a:gd name="connsiteX10" fmla="*/ 192704 w 474348"/>
                    <a:gd name="connsiteY10" fmla="*/ 23812 h 669131"/>
                    <a:gd name="connsiteX0" fmla="*/ 192704 w 474348"/>
                    <a:gd name="connsiteY0" fmla="*/ 23812 h 669131"/>
                    <a:gd name="connsiteX1" fmla="*/ 265690 w 474348"/>
                    <a:gd name="connsiteY1" fmla="*/ 0 h 669131"/>
                    <a:gd name="connsiteX2" fmla="*/ 317751 w 474348"/>
                    <a:gd name="connsiteY2" fmla="*/ 24078 h 669131"/>
                    <a:gd name="connsiteX3" fmla="*/ 474348 w 474348"/>
                    <a:gd name="connsiteY3" fmla="*/ 216516 h 669131"/>
                    <a:gd name="connsiteX4" fmla="*/ 474348 w 474348"/>
                    <a:gd name="connsiteY4" fmla="*/ 669131 h 669131"/>
                    <a:gd name="connsiteX5" fmla="*/ 474348 w 474348"/>
                    <a:gd name="connsiteY5" fmla="*/ 669131 h 669131"/>
                    <a:gd name="connsiteX6" fmla="*/ 248129 w 474348"/>
                    <a:gd name="connsiteY6" fmla="*/ 669131 h 669131"/>
                    <a:gd name="connsiteX7" fmla="*/ 0 w 474348"/>
                    <a:gd name="connsiteY7" fmla="*/ 669131 h 669131"/>
                    <a:gd name="connsiteX8" fmla="*/ 0 w 474348"/>
                    <a:gd name="connsiteY8" fmla="*/ 669131 h 669131"/>
                    <a:gd name="connsiteX9" fmla="*/ 0 w 474348"/>
                    <a:gd name="connsiteY9" fmla="*/ 216516 h 669131"/>
                    <a:gd name="connsiteX10" fmla="*/ 192704 w 474348"/>
                    <a:gd name="connsiteY10" fmla="*/ 23812 h 669131"/>
                    <a:gd name="connsiteX0" fmla="*/ 192704 w 474348"/>
                    <a:gd name="connsiteY0" fmla="*/ 23812 h 669131"/>
                    <a:gd name="connsiteX1" fmla="*/ 265690 w 474348"/>
                    <a:gd name="connsiteY1" fmla="*/ 0 h 669131"/>
                    <a:gd name="connsiteX2" fmla="*/ 317751 w 474348"/>
                    <a:gd name="connsiteY2" fmla="*/ 24078 h 669131"/>
                    <a:gd name="connsiteX3" fmla="*/ 474348 w 474348"/>
                    <a:gd name="connsiteY3" fmla="*/ 216516 h 669131"/>
                    <a:gd name="connsiteX4" fmla="*/ 474348 w 474348"/>
                    <a:gd name="connsiteY4" fmla="*/ 669131 h 669131"/>
                    <a:gd name="connsiteX5" fmla="*/ 474348 w 474348"/>
                    <a:gd name="connsiteY5" fmla="*/ 669131 h 669131"/>
                    <a:gd name="connsiteX6" fmla="*/ 248129 w 474348"/>
                    <a:gd name="connsiteY6" fmla="*/ 669131 h 669131"/>
                    <a:gd name="connsiteX7" fmla="*/ 0 w 474348"/>
                    <a:gd name="connsiteY7" fmla="*/ 669131 h 669131"/>
                    <a:gd name="connsiteX8" fmla="*/ 0 w 474348"/>
                    <a:gd name="connsiteY8" fmla="*/ 669131 h 669131"/>
                    <a:gd name="connsiteX9" fmla="*/ 0 w 474348"/>
                    <a:gd name="connsiteY9" fmla="*/ 216516 h 669131"/>
                    <a:gd name="connsiteX10" fmla="*/ 192704 w 474348"/>
                    <a:gd name="connsiteY10" fmla="*/ 23812 h 6691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74348" h="669131">
                      <a:moveTo>
                        <a:pt x="192704" y="23812"/>
                      </a:moveTo>
                      <a:cubicBezTo>
                        <a:pt x="263527" y="1482"/>
                        <a:pt x="241361" y="7937"/>
                        <a:pt x="265690" y="0"/>
                      </a:cubicBezTo>
                      <a:cubicBezTo>
                        <a:pt x="271008" y="7937"/>
                        <a:pt x="263093" y="-988"/>
                        <a:pt x="317751" y="24078"/>
                      </a:cubicBezTo>
                      <a:cubicBezTo>
                        <a:pt x="369579" y="48860"/>
                        <a:pt x="474348" y="110089"/>
                        <a:pt x="474348" y="216516"/>
                      </a:cubicBezTo>
                      <a:lnTo>
                        <a:pt x="474348" y="669131"/>
                      </a:lnTo>
                      <a:lnTo>
                        <a:pt x="474348" y="669131"/>
                      </a:lnTo>
                      <a:lnTo>
                        <a:pt x="248129" y="669131"/>
                      </a:lnTo>
                      <a:lnTo>
                        <a:pt x="0" y="669131"/>
                      </a:lnTo>
                      <a:lnTo>
                        <a:pt x="0" y="669131"/>
                      </a:lnTo>
                      <a:lnTo>
                        <a:pt x="0" y="216516"/>
                      </a:lnTo>
                      <a:cubicBezTo>
                        <a:pt x="0" y="110089"/>
                        <a:pt x="141340" y="43314"/>
                        <a:pt x="192704" y="23812"/>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92" name="Round Same Side Corner Rectangle 11"/>
                <p:cNvSpPr/>
                <p:nvPr/>
              </p:nvSpPr>
              <p:spPr>
                <a:xfrm rot="15060000">
                  <a:off x="1454696" y="1026331"/>
                  <a:ext cx="251846" cy="2611946"/>
                </a:xfrm>
                <a:custGeom>
                  <a:avLst/>
                  <a:gdLst>
                    <a:gd name="connsiteX0" fmla="*/ 192704 w 474348"/>
                    <a:gd name="connsiteY0" fmla="*/ 0 h 645319"/>
                    <a:gd name="connsiteX1" fmla="*/ 281644 w 474348"/>
                    <a:gd name="connsiteY1" fmla="*/ 0 h 645319"/>
                    <a:gd name="connsiteX2" fmla="*/ 474348 w 474348"/>
                    <a:gd name="connsiteY2" fmla="*/ 192704 h 645319"/>
                    <a:gd name="connsiteX3" fmla="*/ 474348 w 474348"/>
                    <a:gd name="connsiteY3" fmla="*/ 645319 h 645319"/>
                    <a:gd name="connsiteX4" fmla="*/ 474348 w 474348"/>
                    <a:gd name="connsiteY4" fmla="*/ 645319 h 645319"/>
                    <a:gd name="connsiteX5" fmla="*/ 0 w 474348"/>
                    <a:gd name="connsiteY5" fmla="*/ 645319 h 645319"/>
                    <a:gd name="connsiteX6" fmla="*/ 0 w 474348"/>
                    <a:gd name="connsiteY6" fmla="*/ 645319 h 645319"/>
                    <a:gd name="connsiteX7" fmla="*/ 0 w 474348"/>
                    <a:gd name="connsiteY7" fmla="*/ 192704 h 645319"/>
                    <a:gd name="connsiteX8" fmla="*/ 192704 w 474348"/>
                    <a:gd name="connsiteY8" fmla="*/ 0 h 645319"/>
                    <a:gd name="connsiteX0" fmla="*/ 192704 w 474348"/>
                    <a:gd name="connsiteY0" fmla="*/ 0 h 645319"/>
                    <a:gd name="connsiteX1" fmla="*/ 281644 w 474348"/>
                    <a:gd name="connsiteY1" fmla="*/ 0 h 645319"/>
                    <a:gd name="connsiteX2" fmla="*/ 474348 w 474348"/>
                    <a:gd name="connsiteY2" fmla="*/ 192704 h 645319"/>
                    <a:gd name="connsiteX3" fmla="*/ 474348 w 474348"/>
                    <a:gd name="connsiteY3" fmla="*/ 645319 h 645319"/>
                    <a:gd name="connsiteX4" fmla="*/ 474348 w 474348"/>
                    <a:gd name="connsiteY4" fmla="*/ 645319 h 645319"/>
                    <a:gd name="connsiteX5" fmla="*/ 248129 w 474348"/>
                    <a:gd name="connsiteY5" fmla="*/ 645319 h 645319"/>
                    <a:gd name="connsiteX6" fmla="*/ 0 w 474348"/>
                    <a:gd name="connsiteY6" fmla="*/ 645319 h 645319"/>
                    <a:gd name="connsiteX7" fmla="*/ 0 w 474348"/>
                    <a:gd name="connsiteY7" fmla="*/ 645319 h 645319"/>
                    <a:gd name="connsiteX8" fmla="*/ 0 w 474348"/>
                    <a:gd name="connsiteY8" fmla="*/ 192704 h 645319"/>
                    <a:gd name="connsiteX9" fmla="*/ 192704 w 474348"/>
                    <a:gd name="connsiteY9" fmla="*/ 0 h 645319"/>
                    <a:gd name="connsiteX0" fmla="*/ 192704 w 474348"/>
                    <a:gd name="connsiteY0" fmla="*/ 2381 h 647700"/>
                    <a:gd name="connsiteX1" fmla="*/ 240986 w 474348"/>
                    <a:gd name="connsiteY1" fmla="*/ 0 h 647700"/>
                    <a:gd name="connsiteX2" fmla="*/ 281644 w 474348"/>
                    <a:gd name="connsiteY2" fmla="*/ 2381 h 647700"/>
                    <a:gd name="connsiteX3" fmla="*/ 474348 w 474348"/>
                    <a:gd name="connsiteY3" fmla="*/ 195085 h 647700"/>
                    <a:gd name="connsiteX4" fmla="*/ 474348 w 474348"/>
                    <a:gd name="connsiteY4" fmla="*/ 647700 h 647700"/>
                    <a:gd name="connsiteX5" fmla="*/ 474348 w 474348"/>
                    <a:gd name="connsiteY5" fmla="*/ 647700 h 647700"/>
                    <a:gd name="connsiteX6" fmla="*/ 248129 w 474348"/>
                    <a:gd name="connsiteY6" fmla="*/ 647700 h 647700"/>
                    <a:gd name="connsiteX7" fmla="*/ 0 w 474348"/>
                    <a:gd name="connsiteY7" fmla="*/ 647700 h 647700"/>
                    <a:gd name="connsiteX8" fmla="*/ 0 w 474348"/>
                    <a:gd name="connsiteY8" fmla="*/ 647700 h 647700"/>
                    <a:gd name="connsiteX9" fmla="*/ 0 w 474348"/>
                    <a:gd name="connsiteY9" fmla="*/ 195085 h 647700"/>
                    <a:gd name="connsiteX10" fmla="*/ 192704 w 474348"/>
                    <a:gd name="connsiteY10" fmla="*/ 2381 h 647700"/>
                    <a:gd name="connsiteX0" fmla="*/ 192704 w 474348"/>
                    <a:gd name="connsiteY0" fmla="*/ 42862 h 688181"/>
                    <a:gd name="connsiteX1" fmla="*/ 240986 w 474348"/>
                    <a:gd name="connsiteY1" fmla="*/ 0 h 688181"/>
                    <a:gd name="connsiteX2" fmla="*/ 281644 w 474348"/>
                    <a:gd name="connsiteY2" fmla="*/ 42862 h 688181"/>
                    <a:gd name="connsiteX3" fmla="*/ 474348 w 474348"/>
                    <a:gd name="connsiteY3" fmla="*/ 235566 h 688181"/>
                    <a:gd name="connsiteX4" fmla="*/ 474348 w 474348"/>
                    <a:gd name="connsiteY4" fmla="*/ 688181 h 688181"/>
                    <a:gd name="connsiteX5" fmla="*/ 474348 w 474348"/>
                    <a:gd name="connsiteY5" fmla="*/ 688181 h 688181"/>
                    <a:gd name="connsiteX6" fmla="*/ 248129 w 474348"/>
                    <a:gd name="connsiteY6" fmla="*/ 688181 h 688181"/>
                    <a:gd name="connsiteX7" fmla="*/ 0 w 474348"/>
                    <a:gd name="connsiteY7" fmla="*/ 688181 h 688181"/>
                    <a:gd name="connsiteX8" fmla="*/ 0 w 474348"/>
                    <a:gd name="connsiteY8" fmla="*/ 688181 h 688181"/>
                    <a:gd name="connsiteX9" fmla="*/ 0 w 474348"/>
                    <a:gd name="connsiteY9" fmla="*/ 235566 h 688181"/>
                    <a:gd name="connsiteX10" fmla="*/ 192704 w 474348"/>
                    <a:gd name="connsiteY10" fmla="*/ 42862 h 688181"/>
                    <a:gd name="connsiteX0" fmla="*/ 192704 w 474348"/>
                    <a:gd name="connsiteY0" fmla="*/ 23812 h 669131"/>
                    <a:gd name="connsiteX1" fmla="*/ 265690 w 474348"/>
                    <a:gd name="connsiteY1" fmla="*/ 0 h 669131"/>
                    <a:gd name="connsiteX2" fmla="*/ 281644 w 474348"/>
                    <a:gd name="connsiteY2" fmla="*/ 23812 h 669131"/>
                    <a:gd name="connsiteX3" fmla="*/ 474348 w 474348"/>
                    <a:gd name="connsiteY3" fmla="*/ 216516 h 669131"/>
                    <a:gd name="connsiteX4" fmla="*/ 474348 w 474348"/>
                    <a:gd name="connsiteY4" fmla="*/ 669131 h 669131"/>
                    <a:gd name="connsiteX5" fmla="*/ 474348 w 474348"/>
                    <a:gd name="connsiteY5" fmla="*/ 669131 h 669131"/>
                    <a:gd name="connsiteX6" fmla="*/ 248129 w 474348"/>
                    <a:gd name="connsiteY6" fmla="*/ 669131 h 669131"/>
                    <a:gd name="connsiteX7" fmla="*/ 0 w 474348"/>
                    <a:gd name="connsiteY7" fmla="*/ 669131 h 669131"/>
                    <a:gd name="connsiteX8" fmla="*/ 0 w 474348"/>
                    <a:gd name="connsiteY8" fmla="*/ 669131 h 669131"/>
                    <a:gd name="connsiteX9" fmla="*/ 0 w 474348"/>
                    <a:gd name="connsiteY9" fmla="*/ 216516 h 669131"/>
                    <a:gd name="connsiteX10" fmla="*/ 192704 w 474348"/>
                    <a:gd name="connsiteY10" fmla="*/ 23812 h 669131"/>
                    <a:gd name="connsiteX0" fmla="*/ 192704 w 474348"/>
                    <a:gd name="connsiteY0" fmla="*/ 23812 h 669131"/>
                    <a:gd name="connsiteX1" fmla="*/ 265690 w 474348"/>
                    <a:gd name="connsiteY1" fmla="*/ 0 h 669131"/>
                    <a:gd name="connsiteX2" fmla="*/ 281644 w 474348"/>
                    <a:gd name="connsiteY2" fmla="*/ 23812 h 669131"/>
                    <a:gd name="connsiteX3" fmla="*/ 474348 w 474348"/>
                    <a:gd name="connsiteY3" fmla="*/ 216516 h 669131"/>
                    <a:gd name="connsiteX4" fmla="*/ 474348 w 474348"/>
                    <a:gd name="connsiteY4" fmla="*/ 669131 h 669131"/>
                    <a:gd name="connsiteX5" fmla="*/ 474348 w 474348"/>
                    <a:gd name="connsiteY5" fmla="*/ 669131 h 669131"/>
                    <a:gd name="connsiteX6" fmla="*/ 248129 w 474348"/>
                    <a:gd name="connsiteY6" fmla="*/ 669131 h 669131"/>
                    <a:gd name="connsiteX7" fmla="*/ 0 w 474348"/>
                    <a:gd name="connsiteY7" fmla="*/ 669131 h 669131"/>
                    <a:gd name="connsiteX8" fmla="*/ 0 w 474348"/>
                    <a:gd name="connsiteY8" fmla="*/ 669131 h 669131"/>
                    <a:gd name="connsiteX9" fmla="*/ 0 w 474348"/>
                    <a:gd name="connsiteY9" fmla="*/ 216516 h 669131"/>
                    <a:gd name="connsiteX10" fmla="*/ 192704 w 474348"/>
                    <a:gd name="connsiteY10" fmla="*/ 23812 h 669131"/>
                    <a:gd name="connsiteX0" fmla="*/ 192704 w 474348"/>
                    <a:gd name="connsiteY0" fmla="*/ 23812 h 669131"/>
                    <a:gd name="connsiteX1" fmla="*/ 265690 w 474348"/>
                    <a:gd name="connsiteY1" fmla="*/ 0 h 669131"/>
                    <a:gd name="connsiteX2" fmla="*/ 281644 w 474348"/>
                    <a:gd name="connsiteY2" fmla="*/ 23812 h 669131"/>
                    <a:gd name="connsiteX3" fmla="*/ 474348 w 474348"/>
                    <a:gd name="connsiteY3" fmla="*/ 216516 h 669131"/>
                    <a:gd name="connsiteX4" fmla="*/ 474348 w 474348"/>
                    <a:gd name="connsiteY4" fmla="*/ 669131 h 669131"/>
                    <a:gd name="connsiteX5" fmla="*/ 474348 w 474348"/>
                    <a:gd name="connsiteY5" fmla="*/ 669131 h 669131"/>
                    <a:gd name="connsiteX6" fmla="*/ 248129 w 474348"/>
                    <a:gd name="connsiteY6" fmla="*/ 669131 h 669131"/>
                    <a:gd name="connsiteX7" fmla="*/ 0 w 474348"/>
                    <a:gd name="connsiteY7" fmla="*/ 669131 h 669131"/>
                    <a:gd name="connsiteX8" fmla="*/ 0 w 474348"/>
                    <a:gd name="connsiteY8" fmla="*/ 669131 h 669131"/>
                    <a:gd name="connsiteX9" fmla="*/ 0 w 474348"/>
                    <a:gd name="connsiteY9" fmla="*/ 216516 h 669131"/>
                    <a:gd name="connsiteX10" fmla="*/ 192704 w 474348"/>
                    <a:gd name="connsiteY10" fmla="*/ 23812 h 669131"/>
                    <a:gd name="connsiteX0" fmla="*/ 192704 w 474348"/>
                    <a:gd name="connsiteY0" fmla="*/ 23812 h 669131"/>
                    <a:gd name="connsiteX1" fmla="*/ 265690 w 474348"/>
                    <a:gd name="connsiteY1" fmla="*/ 0 h 669131"/>
                    <a:gd name="connsiteX2" fmla="*/ 314250 w 474348"/>
                    <a:gd name="connsiteY2" fmla="*/ 24047 h 669131"/>
                    <a:gd name="connsiteX3" fmla="*/ 474348 w 474348"/>
                    <a:gd name="connsiteY3" fmla="*/ 216516 h 669131"/>
                    <a:gd name="connsiteX4" fmla="*/ 474348 w 474348"/>
                    <a:gd name="connsiteY4" fmla="*/ 669131 h 669131"/>
                    <a:gd name="connsiteX5" fmla="*/ 474348 w 474348"/>
                    <a:gd name="connsiteY5" fmla="*/ 669131 h 669131"/>
                    <a:gd name="connsiteX6" fmla="*/ 248129 w 474348"/>
                    <a:gd name="connsiteY6" fmla="*/ 669131 h 669131"/>
                    <a:gd name="connsiteX7" fmla="*/ 0 w 474348"/>
                    <a:gd name="connsiteY7" fmla="*/ 669131 h 669131"/>
                    <a:gd name="connsiteX8" fmla="*/ 0 w 474348"/>
                    <a:gd name="connsiteY8" fmla="*/ 669131 h 669131"/>
                    <a:gd name="connsiteX9" fmla="*/ 0 w 474348"/>
                    <a:gd name="connsiteY9" fmla="*/ 216516 h 669131"/>
                    <a:gd name="connsiteX10" fmla="*/ 192704 w 474348"/>
                    <a:gd name="connsiteY10" fmla="*/ 23812 h 669131"/>
                    <a:gd name="connsiteX0" fmla="*/ 192704 w 474348"/>
                    <a:gd name="connsiteY0" fmla="*/ 23812 h 669131"/>
                    <a:gd name="connsiteX1" fmla="*/ 265690 w 474348"/>
                    <a:gd name="connsiteY1" fmla="*/ 0 h 669131"/>
                    <a:gd name="connsiteX2" fmla="*/ 314250 w 474348"/>
                    <a:gd name="connsiteY2" fmla="*/ 24047 h 669131"/>
                    <a:gd name="connsiteX3" fmla="*/ 474348 w 474348"/>
                    <a:gd name="connsiteY3" fmla="*/ 216516 h 669131"/>
                    <a:gd name="connsiteX4" fmla="*/ 474348 w 474348"/>
                    <a:gd name="connsiteY4" fmla="*/ 669131 h 669131"/>
                    <a:gd name="connsiteX5" fmla="*/ 474348 w 474348"/>
                    <a:gd name="connsiteY5" fmla="*/ 669131 h 669131"/>
                    <a:gd name="connsiteX6" fmla="*/ 248129 w 474348"/>
                    <a:gd name="connsiteY6" fmla="*/ 669131 h 669131"/>
                    <a:gd name="connsiteX7" fmla="*/ 0 w 474348"/>
                    <a:gd name="connsiteY7" fmla="*/ 669131 h 669131"/>
                    <a:gd name="connsiteX8" fmla="*/ 0 w 474348"/>
                    <a:gd name="connsiteY8" fmla="*/ 669131 h 669131"/>
                    <a:gd name="connsiteX9" fmla="*/ 0 w 474348"/>
                    <a:gd name="connsiteY9" fmla="*/ 216516 h 669131"/>
                    <a:gd name="connsiteX10" fmla="*/ 192704 w 474348"/>
                    <a:gd name="connsiteY10" fmla="*/ 23812 h 669131"/>
                    <a:gd name="connsiteX0" fmla="*/ 192704 w 474348"/>
                    <a:gd name="connsiteY0" fmla="*/ 23812 h 669131"/>
                    <a:gd name="connsiteX1" fmla="*/ 265690 w 474348"/>
                    <a:gd name="connsiteY1" fmla="*/ 0 h 669131"/>
                    <a:gd name="connsiteX2" fmla="*/ 314250 w 474348"/>
                    <a:gd name="connsiteY2" fmla="*/ 24047 h 669131"/>
                    <a:gd name="connsiteX3" fmla="*/ 474348 w 474348"/>
                    <a:gd name="connsiteY3" fmla="*/ 216516 h 669131"/>
                    <a:gd name="connsiteX4" fmla="*/ 474348 w 474348"/>
                    <a:gd name="connsiteY4" fmla="*/ 669131 h 669131"/>
                    <a:gd name="connsiteX5" fmla="*/ 474348 w 474348"/>
                    <a:gd name="connsiteY5" fmla="*/ 669131 h 669131"/>
                    <a:gd name="connsiteX6" fmla="*/ 248129 w 474348"/>
                    <a:gd name="connsiteY6" fmla="*/ 669131 h 669131"/>
                    <a:gd name="connsiteX7" fmla="*/ 0 w 474348"/>
                    <a:gd name="connsiteY7" fmla="*/ 669131 h 669131"/>
                    <a:gd name="connsiteX8" fmla="*/ 0 w 474348"/>
                    <a:gd name="connsiteY8" fmla="*/ 669131 h 669131"/>
                    <a:gd name="connsiteX9" fmla="*/ 0 w 474348"/>
                    <a:gd name="connsiteY9" fmla="*/ 216516 h 669131"/>
                    <a:gd name="connsiteX10" fmla="*/ 192704 w 474348"/>
                    <a:gd name="connsiteY10" fmla="*/ 23812 h 669131"/>
                    <a:gd name="connsiteX0" fmla="*/ 174282 w 474348"/>
                    <a:gd name="connsiteY0" fmla="*/ 23596 h 669131"/>
                    <a:gd name="connsiteX1" fmla="*/ 265690 w 474348"/>
                    <a:gd name="connsiteY1" fmla="*/ 0 h 669131"/>
                    <a:gd name="connsiteX2" fmla="*/ 314250 w 474348"/>
                    <a:gd name="connsiteY2" fmla="*/ 24047 h 669131"/>
                    <a:gd name="connsiteX3" fmla="*/ 474348 w 474348"/>
                    <a:gd name="connsiteY3" fmla="*/ 216516 h 669131"/>
                    <a:gd name="connsiteX4" fmla="*/ 474348 w 474348"/>
                    <a:gd name="connsiteY4" fmla="*/ 669131 h 669131"/>
                    <a:gd name="connsiteX5" fmla="*/ 474348 w 474348"/>
                    <a:gd name="connsiteY5" fmla="*/ 669131 h 669131"/>
                    <a:gd name="connsiteX6" fmla="*/ 248129 w 474348"/>
                    <a:gd name="connsiteY6" fmla="*/ 669131 h 669131"/>
                    <a:gd name="connsiteX7" fmla="*/ 0 w 474348"/>
                    <a:gd name="connsiteY7" fmla="*/ 669131 h 669131"/>
                    <a:gd name="connsiteX8" fmla="*/ 0 w 474348"/>
                    <a:gd name="connsiteY8" fmla="*/ 669131 h 669131"/>
                    <a:gd name="connsiteX9" fmla="*/ 0 w 474348"/>
                    <a:gd name="connsiteY9" fmla="*/ 216516 h 669131"/>
                    <a:gd name="connsiteX10" fmla="*/ 174282 w 474348"/>
                    <a:gd name="connsiteY10" fmla="*/ 23596 h 669131"/>
                    <a:gd name="connsiteX0" fmla="*/ 174282 w 474348"/>
                    <a:gd name="connsiteY0" fmla="*/ 24619 h 670154"/>
                    <a:gd name="connsiteX1" fmla="*/ 216121 w 474348"/>
                    <a:gd name="connsiteY1" fmla="*/ 0 h 670154"/>
                    <a:gd name="connsiteX2" fmla="*/ 314250 w 474348"/>
                    <a:gd name="connsiteY2" fmla="*/ 25070 h 670154"/>
                    <a:gd name="connsiteX3" fmla="*/ 474348 w 474348"/>
                    <a:gd name="connsiteY3" fmla="*/ 217539 h 670154"/>
                    <a:gd name="connsiteX4" fmla="*/ 474348 w 474348"/>
                    <a:gd name="connsiteY4" fmla="*/ 670154 h 670154"/>
                    <a:gd name="connsiteX5" fmla="*/ 474348 w 474348"/>
                    <a:gd name="connsiteY5" fmla="*/ 670154 h 670154"/>
                    <a:gd name="connsiteX6" fmla="*/ 248129 w 474348"/>
                    <a:gd name="connsiteY6" fmla="*/ 670154 h 670154"/>
                    <a:gd name="connsiteX7" fmla="*/ 0 w 474348"/>
                    <a:gd name="connsiteY7" fmla="*/ 670154 h 670154"/>
                    <a:gd name="connsiteX8" fmla="*/ 0 w 474348"/>
                    <a:gd name="connsiteY8" fmla="*/ 670154 h 670154"/>
                    <a:gd name="connsiteX9" fmla="*/ 0 w 474348"/>
                    <a:gd name="connsiteY9" fmla="*/ 217539 h 670154"/>
                    <a:gd name="connsiteX10" fmla="*/ 174282 w 474348"/>
                    <a:gd name="connsiteY10" fmla="*/ 24619 h 670154"/>
                    <a:gd name="connsiteX0" fmla="*/ 174282 w 474348"/>
                    <a:gd name="connsiteY0" fmla="*/ 24619 h 670154"/>
                    <a:gd name="connsiteX1" fmla="*/ 216121 w 474348"/>
                    <a:gd name="connsiteY1" fmla="*/ 0 h 670154"/>
                    <a:gd name="connsiteX2" fmla="*/ 314250 w 474348"/>
                    <a:gd name="connsiteY2" fmla="*/ 25070 h 670154"/>
                    <a:gd name="connsiteX3" fmla="*/ 474348 w 474348"/>
                    <a:gd name="connsiteY3" fmla="*/ 217539 h 670154"/>
                    <a:gd name="connsiteX4" fmla="*/ 474348 w 474348"/>
                    <a:gd name="connsiteY4" fmla="*/ 670154 h 670154"/>
                    <a:gd name="connsiteX5" fmla="*/ 474348 w 474348"/>
                    <a:gd name="connsiteY5" fmla="*/ 670154 h 670154"/>
                    <a:gd name="connsiteX6" fmla="*/ 248129 w 474348"/>
                    <a:gd name="connsiteY6" fmla="*/ 670154 h 670154"/>
                    <a:gd name="connsiteX7" fmla="*/ 0 w 474348"/>
                    <a:gd name="connsiteY7" fmla="*/ 670154 h 670154"/>
                    <a:gd name="connsiteX8" fmla="*/ 0 w 474348"/>
                    <a:gd name="connsiteY8" fmla="*/ 670154 h 670154"/>
                    <a:gd name="connsiteX9" fmla="*/ 0 w 474348"/>
                    <a:gd name="connsiteY9" fmla="*/ 217539 h 670154"/>
                    <a:gd name="connsiteX10" fmla="*/ 174282 w 474348"/>
                    <a:gd name="connsiteY10" fmla="*/ 24619 h 670154"/>
                    <a:gd name="connsiteX0" fmla="*/ 174282 w 474348"/>
                    <a:gd name="connsiteY0" fmla="*/ 24619 h 670154"/>
                    <a:gd name="connsiteX1" fmla="*/ 216121 w 474348"/>
                    <a:gd name="connsiteY1" fmla="*/ 0 h 670154"/>
                    <a:gd name="connsiteX2" fmla="*/ 314250 w 474348"/>
                    <a:gd name="connsiteY2" fmla="*/ 25070 h 670154"/>
                    <a:gd name="connsiteX3" fmla="*/ 474348 w 474348"/>
                    <a:gd name="connsiteY3" fmla="*/ 217539 h 670154"/>
                    <a:gd name="connsiteX4" fmla="*/ 474348 w 474348"/>
                    <a:gd name="connsiteY4" fmla="*/ 670154 h 670154"/>
                    <a:gd name="connsiteX5" fmla="*/ 474348 w 474348"/>
                    <a:gd name="connsiteY5" fmla="*/ 670154 h 670154"/>
                    <a:gd name="connsiteX6" fmla="*/ 248129 w 474348"/>
                    <a:gd name="connsiteY6" fmla="*/ 670154 h 670154"/>
                    <a:gd name="connsiteX7" fmla="*/ 0 w 474348"/>
                    <a:gd name="connsiteY7" fmla="*/ 670154 h 670154"/>
                    <a:gd name="connsiteX8" fmla="*/ 0 w 474348"/>
                    <a:gd name="connsiteY8" fmla="*/ 670154 h 670154"/>
                    <a:gd name="connsiteX9" fmla="*/ 0 w 474348"/>
                    <a:gd name="connsiteY9" fmla="*/ 217539 h 670154"/>
                    <a:gd name="connsiteX10" fmla="*/ 174282 w 474348"/>
                    <a:gd name="connsiteY10" fmla="*/ 24619 h 670154"/>
                    <a:gd name="connsiteX0" fmla="*/ 174282 w 474348"/>
                    <a:gd name="connsiteY0" fmla="*/ 24619 h 670154"/>
                    <a:gd name="connsiteX1" fmla="*/ 216121 w 474348"/>
                    <a:gd name="connsiteY1" fmla="*/ 0 h 670154"/>
                    <a:gd name="connsiteX2" fmla="*/ 314250 w 474348"/>
                    <a:gd name="connsiteY2" fmla="*/ 25070 h 670154"/>
                    <a:gd name="connsiteX3" fmla="*/ 474348 w 474348"/>
                    <a:gd name="connsiteY3" fmla="*/ 217539 h 670154"/>
                    <a:gd name="connsiteX4" fmla="*/ 474348 w 474348"/>
                    <a:gd name="connsiteY4" fmla="*/ 670154 h 670154"/>
                    <a:gd name="connsiteX5" fmla="*/ 474348 w 474348"/>
                    <a:gd name="connsiteY5" fmla="*/ 670154 h 670154"/>
                    <a:gd name="connsiteX6" fmla="*/ 248129 w 474348"/>
                    <a:gd name="connsiteY6" fmla="*/ 670154 h 670154"/>
                    <a:gd name="connsiteX7" fmla="*/ 0 w 474348"/>
                    <a:gd name="connsiteY7" fmla="*/ 670154 h 670154"/>
                    <a:gd name="connsiteX8" fmla="*/ 0 w 474348"/>
                    <a:gd name="connsiteY8" fmla="*/ 670154 h 670154"/>
                    <a:gd name="connsiteX9" fmla="*/ 0 w 474348"/>
                    <a:gd name="connsiteY9" fmla="*/ 217539 h 670154"/>
                    <a:gd name="connsiteX10" fmla="*/ 174282 w 474348"/>
                    <a:gd name="connsiteY10" fmla="*/ 24619 h 670154"/>
                    <a:gd name="connsiteX0" fmla="*/ 148557 w 474348"/>
                    <a:gd name="connsiteY0" fmla="*/ 27264 h 670154"/>
                    <a:gd name="connsiteX1" fmla="*/ 216121 w 474348"/>
                    <a:gd name="connsiteY1" fmla="*/ 0 h 670154"/>
                    <a:gd name="connsiteX2" fmla="*/ 314250 w 474348"/>
                    <a:gd name="connsiteY2" fmla="*/ 25070 h 670154"/>
                    <a:gd name="connsiteX3" fmla="*/ 474348 w 474348"/>
                    <a:gd name="connsiteY3" fmla="*/ 217539 h 670154"/>
                    <a:gd name="connsiteX4" fmla="*/ 474348 w 474348"/>
                    <a:gd name="connsiteY4" fmla="*/ 670154 h 670154"/>
                    <a:gd name="connsiteX5" fmla="*/ 474348 w 474348"/>
                    <a:gd name="connsiteY5" fmla="*/ 670154 h 670154"/>
                    <a:gd name="connsiteX6" fmla="*/ 248129 w 474348"/>
                    <a:gd name="connsiteY6" fmla="*/ 670154 h 670154"/>
                    <a:gd name="connsiteX7" fmla="*/ 0 w 474348"/>
                    <a:gd name="connsiteY7" fmla="*/ 670154 h 670154"/>
                    <a:gd name="connsiteX8" fmla="*/ 0 w 474348"/>
                    <a:gd name="connsiteY8" fmla="*/ 670154 h 670154"/>
                    <a:gd name="connsiteX9" fmla="*/ 0 w 474348"/>
                    <a:gd name="connsiteY9" fmla="*/ 217539 h 670154"/>
                    <a:gd name="connsiteX10" fmla="*/ 148557 w 474348"/>
                    <a:gd name="connsiteY10" fmla="*/ 27264 h 670154"/>
                    <a:gd name="connsiteX0" fmla="*/ 148557 w 474348"/>
                    <a:gd name="connsiteY0" fmla="*/ 20950 h 663840"/>
                    <a:gd name="connsiteX1" fmla="*/ 214238 w 474348"/>
                    <a:gd name="connsiteY1" fmla="*/ 0 h 663840"/>
                    <a:gd name="connsiteX2" fmla="*/ 314250 w 474348"/>
                    <a:gd name="connsiteY2" fmla="*/ 18756 h 663840"/>
                    <a:gd name="connsiteX3" fmla="*/ 474348 w 474348"/>
                    <a:gd name="connsiteY3" fmla="*/ 211225 h 663840"/>
                    <a:gd name="connsiteX4" fmla="*/ 474348 w 474348"/>
                    <a:gd name="connsiteY4" fmla="*/ 663840 h 663840"/>
                    <a:gd name="connsiteX5" fmla="*/ 474348 w 474348"/>
                    <a:gd name="connsiteY5" fmla="*/ 663840 h 663840"/>
                    <a:gd name="connsiteX6" fmla="*/ 248129 w 474348"/>
                    <a:gd name="connsiteY6" fmla="*/ 663840 h 663840"/>
                    <a:gd name="connsiteX7" fmla="*/ 0 w 474348"/>
                    <a:gd name="connsiteY7" fmla="*/ 663840 h 663840"/>
                    <a:gd name="connsiteX8" fmla="*/ 0 w 474348"/>
                    <a:gd name="connsiteY8" fmla="*/ 663840 h 663840"/>
                    <a:gd name="connsiteX9" fmla="*/ 0 w 474348"/>
                    <a:gd name="connsiteY9" fmla="*/ 211225 h 663840"/>
                    <a:gd name="connsiteX10" fmla="*/ 148557 w 474348"/>
                    <a:gd name="connsiteY10" fmla="*/ 20950 h 663840"/>
                    <a:gd name="connsiteX0" fmla="*/ 148557 w 474348"/>
                    <a:gd name="connsiteY0" fmla="*/ 20950 h 663840"/>
                    <a:gd name="connsiteX1" fmla="*/ 214238 w 474348"/>
                    <a:gd name="connsiteY1" fmla="*/ 0 h 663840"/>
                    <a:gd name="connsiteX2" fmla="*/ 314250 w 474348"/>
                    <a:gd name="connsiteY2" fmla="*/ 18756 h 663840"/>
                    <a:gd name="connsiteX3" fmla="*/ 474348 w 474348"/>
                    <a:gd name="connsiteY3" fmla="*/ 211225 h 663840"/>
                    <a:gd name="connsiteX4" fmla="*/ 474348 w 474348"/>
                    <a:gd name="connsiteY4" fmla="*/ 663840 h 663840"/>
                    <a:gd name="connsiteX5" fmla="*/ 474348 w 474348"/>
                    <a:gd name="connsiteY5" fmla="*/ 663840 h 663840"/>
                    <a:gd name="connsiteX6" fmla="*/ 248129 w 474348"/>
                    <a:gd name="connsiteY6" fmla="*/ 663840 h 663840"/>
                    <a:gd name="connsiteX7" fmla="*/ 0 w 474348"/>
                    <a:gd name="connsiteY7" fmla="*/ 663840 h 663840"/>
                    <a:gd name="connsiteX8" fmla="*/ 0 w 474348"/>
                    <a:gd name="connsiteY8" fmla="*/ 663840 h 663840"/>
                    <a:gd name="connsiteX9" fmla="*/ 0 w 474348"/>
                    <a:gd name="connsiteY9" fmla="*/ 211225 h 663840"/>
                    <a:gd name="connsiteX10" fmla="*/ 148557 w 474348"/>
                    <a:gd name="connsiteY10" fmla="*/ 20950 h 663840"/>
                    <a:gd name="connsiteX0" fmla="*/ 148557 w 474348"/>
                    <a:gd name="connsiteY0" fmla="*/ 20950 h 663840"/>
                    <a:gd name="connsiteX1" fmla="*/ 214238 w 474348"/>
                    <a:gd name="connsiteY1" fmla="*/ 0 h 663840"/>
                    <a:gd name="connsiteX2" fmla="*/ 314250 w 474348"/>
                    <a:gd name="connsiteY2" fmla="*/ 18756 h 663840"/>
                    <a:gd name="connsiteX3" fmla="*/ 474348 w 474348"/>
                    <a:gd name="connsiteY3" fmla="*/ 211225 h 663840"/>
                    <a:gd name="connsiteX4" fmla="*/ 474348 w 474348"/>
                    <a:gd name="connsiteY4" fmla="*/ 663840 h 663840"/>
                    <a:gd name="connsiteX5" fmla="*/ 474348 w 474348"/>
                    <a:gd name="connsiteY5" fmla="*/ 663840 h 663840"/>
                    <a:gd name="connsiteX6" fmla="*/ 248129 w 474348"/>
                    <a:gd name="connsiteY6" fmla="*/ 663840 h 663840"/>
                    <a:gd name="connsiteX7" fmla="*/ 0 w 474348"/>
                    <a:gd name="connsiteY7" fmla="*/ 663840 h 663840"/>
                    <a:gd name="connsiteX8" fmla="*/ 0 w 474348"/>
                    <a:gd name="connsiteY8" fmla="*/ 663840 h 663840"/>
                    <a:gd name="connsiteX9" fmla="*/ 0 w 474348"/>
                    <a:gd name="connsiteY9" fmla="*/ 211225 h 663840"/>
                    <a:gd name="connsiteX10" fmla="*/ 148557 w 474348"/>
                    <a:gd name="connsiteY10" fmla="*/ 20950 h 663840"/>
                    <a:gd name="connsiteX0" fmla="*/ 144178 w 474348"/>
                    <a:gd name="connsiteY0" fmla="*/ 22667 h 663840"/>
                    <a:gd name="connsiteX1" fmla="*/ 214238 w 474348"/>
                    <a:gd name="connsiteY1" fmla="*/ 0 h 663840"/>
                    <a:gd name="connsiteX2" fmla="*/ 314250 w 474348"/>
                    <a:gd name="connsiteY2" fmla="*/ 18756 h 663840"/>
                    <a:gd name="connsiteX3" fmla="*/ 474348 w 474348"/>
                    <a:gd name="connsiteY3" fmla="*/ 211225 h 663840"/>
                    <a:gd name="connsiteX4" fmla="*/ 474348 w 474348"/>
                    <a:gd name="connsiteY4" fmla="*/ 663840 h 663840"/>
                    <a:gd name="connsiteX5" fmla="*/ 474348 w 474348"/>
                    <a:gd name="connsiteY5" fmla="*/ 663840 h 663840"/>
                    <a:gd name="connsiteX6" fmla="*/ 248129 w 474348"/>
                    <a:gd name="connsiteY6" fmla="*/ 663840 h 663840"/>
                    <a:gd name="connsiteX7" fmla="*/ 0 w 474348"/>
                    <a:gd name="connsiteY7" fmla="*/ 663840 h 663840"/>
                    <a:gd name="connsiteX8" fmla="*/ 0 w 474348"/>
                    <a:gd name="connsiteY8" fmla="*/ 663840 h 663840"/>
                    <a:gd name="connsiteX9" fmla="*/ 0 w 474348"/>
                    <a:gd name="connsiteY9" fmla="*/ 211225 h 663840"/>
                    <a:gd name="connsiteX10" fmla="*/ 144178 w 474348"/>
                    <a:gd name="connsiteY10" fmla="*/ 22667 h 663840"/>
                    <a:gd name="connsiteX0" fmla="*/ 144178 w 474348"/>
                    <a:gd name="connsiteY0" fmla="*/ 22667 h 663840"/>
                    <a:gd name="connsiteX1" fmla="*/ 214238 w 474348"/>
                    <a:gd name="connsiteY1" fmla="*/ 0 h 663840"/>
                    <a:gd name="connsiteX2" fmla="*/ 314250 w 474348"/>
                    <a:gd name="connsiteY2" fmla="*/ 18756 h 663840"/>
                    <a:gd name="connsiteX3" fmla="*/ 474348 w 474348"/>
                    <a:gd name="connsiteY3" fmla="*/ 211225 h 663840"/>
                    <a:gd name="connsiteX4" fmla="*/ 474348 w 474348"/>
                    <a:gd name="connsiteY4" fmla="*/ 663840 h 663840"/>
                    <a:gd name="connsiteX5" fmla="*/ 474348 w 474348"/>
                    <a:gd name="connsiteY5" fmla="*/ 663840 h 663840"/>
                    <a:gd name="connsiteX6" fmla="*/ 248129 w 474348"/>
                    <a:gd name="connsiteY6" fmla="*/ 663840 h 663840"/>
                    <a:gd name="connsiteX7" fmla="*/ 0 w 474348"/>
                    <a:gd name="connsiteY7" fmla="*/ 663840 h 663840"/>
                    <a:gd name="connsiteX8" fmla="*/ 0 w 474348"/>
                    <a:gd name="connsiteY8" fmla="*/ 663840 h 663840"/>
                    <a:gd name="connsiteX9" fmla="*/ 0 w 474348"/>
                    <a:gd name="connsiteY9" fmla="*/ 211225 h 663840"/>
                    <a:gd name="connsiteX10" fmla="*/ 144178 w 474348"/>
                    <a:gd name="connsiteY10" fmla="*/ 22667 h 663840"/>
                    <a:gd name="connsiteX0" fmla="*/ 144178 w 474348"/>
                    <a:gd name="connsiteY0" fmla="*/ 22667 h 663840"/>
                    <a:gd name="connsiteX1" fmla="*/ 214238 w 474348"/>
                    <a:gd name="connsiteY1" fmla="*/ 0 h 663840"/>
                    <a:gd name="connsiteX2" fmla="*/ 314250 w 474348"/>
                    <a:gd name="connsiteY2" fmla="*/ 18756 h 663840"/>
                    <a:gd name="connsiteX3" fmla="*/ 474348 w 474348"/>
                    <a:gd name="connsiteY3" fmla="*/ 211225 h 663840"/>
                    <a:gd name="connsiteX4" fmla="*/ 474348 w 474348"/>
                    <a:gd name="connsiteY4" fmla="*/ 663840 h 663840"/>
                    <a:gd name="connsiteX5" fmla="*/ 474348 w 474348"/>
                    <a:gd name="connsiteY5" fmla="*/ 663840 h 663840"/>
                    <a:gd name="connsiteX6" fmla="*/ 248129 w 474348"/>
                    <a:gd name="connsiteY6" fmla="*/ 663840 h 663840"/>
                    <a:gd name="connsiteX7" fmla="*/ 0 w 474348"/>
                    <a:gd name="connsiteY7" fmla="*/ 663840 h 663840"/>
                    <a:gd name="connsiteX8" fmla="*/ 0 w 474348"/>
                    <a:gd name="connsiteY8" fmla="*/ 663840 h 663840"/>
                    <a:gd name="connsiteX9" fmla="*/ 0 w 474348"/>
                    <a:gd name="connsiteY9" fmla="*/ 211225 h 663840"/>
                    <a:gd name="connsiteX10" fmla="*/ 144178 w 474348"/>
                    <a:gd name="connsiteY10" fmla="*/ 22667 h 663840"/>
                    <a:gd name="connsiteX0" fmla="*/ 144178 w 474348"/>
                    <a:gd name="connsiteY0" fmla="*/ 22667 h 663840"/>
                    <a:gd name="connsiteX1" fmla="*/ 214238 w 474348"/>
                    <a:gd name="connsiteY1" fmla="*/ 0 h 663840"/>
                    <a:gd name="connsiteX2" fmla="*/ 314250 w 474348"/>
                    <a:gd name="connsiteY2" fmla="*/ 18756 h 663840"/>
                    <a:gd name="connsiteX3" fmla="*/ 474348 w 474348"/>
                    <a:gd name="connsiteY3" fmla="*/ 211225 h 663840"/>
                    <a:gd name="connsiteX4" fmla="*/ 474348 w 474348"/>
                    <a:gd name="connsiteY4" fmla="*/ 663840 h 663840"/>
                    <a:gd name="connsiteX5" fmla="*/ 474348 w 474348"/>
                    <a:gd name="connsiteY5" fmla="*/ 663840 h 663840"/>
                    <a:gd name="connsiteX6" fmla="*/ 248129 w 474348"/>
                    <a:gd name="connsiteY6" fmla="*/ 663840 h 663840"/>
                    <a:gd name="connsiteX7" fmla="*/ 0 w 474348"/>
                    <a:gd name="connsiteY7" fmla="*/ 663840 h 663840"/>
                    <a:gd name="connsiteX8" fmla="*/ 0 w 474348"/>
                    <a:gd name="connsiteY8" fmla="*/ 663840 h 663840"/>
                    <a:gd name="connsiteX9" fmla="*/ 0 w 474348"/>
                    <a:gd name="connsiteY9" fmla="*/ 211225 h 663840"/>
                    <a:gd name="connsiteX10" fmla="*/ 144178 w 474348"/>
                    <a:gd name="connsiteY10" fmla="*/ 22667 h 6638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74348" h="663840">
                      <a:moveTo>
                        <a:pt x="144178" y="22667"/>
                      </a:moveTo>
                      <a:cubicBezTo>
                        <a:pt x="211732" y="-970"/>
                        <a:pt x="181869" y="7990"/>
                        <a:pt x="214238" y="0"/>
                      </a:cubicBezTo>
                      <a:cubicBezTo>
                        <a:pt x="259321" y="7224"/>
                        <a:pt x="221757" y="369"/>
                        <a:pt x="314250" y="18756"/>
                      </a:cubicBezTo>
                      <a:cubicBezTo>
                        <a:pt x="399877" y="51074"/>
                        <a:pt x="474348" y="104798"/>
                        <a:pt x="474348" y="211225"/>
                      </a:cubicBezTo>
                      <a:lnTo>
                        <a:pt x="474348" y="663840"/>
                      </a:lnTo>
                      <a:lnTo>
                        <a:pt x="474348" y="663840"/>
                      </a:lnTo>
                      <a:lnTo>
                        <a:pt x="248129" y="663840"/>
                      </a:lnTo>
                      <a:lnTo>
                        <a:pt x="0" y="663840"/>
                      </a:lnTo>
                      <a:lnTo>
                        <a:pt x="0" y="663840"/>
                      </a:lnTo>
                      <a:lnTo>
                        <a:pt x="0" y="211225"/>
                      </a:lnTo>
                      <a:cubicBezTo>
                        <a:pt x="0" y="104798"/>
                        <a:pt x="80700" y="56026"/>
                        <a:pt x="144178" y="22667"/>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93" name="Round Same Side Corner Rectangle 11"/>
                <p:cNvSpPr/>
                <p:nvPr/>
              </p:nvSpPr>
              <p:spPr>
                <a:xfrm rot="7140000">
                  <a:off x="4278989" y="1266737"/>
                  <a:ext cx="251846" cy="2632764"/>
                </a:xfrm>
                <a:custGeom>
                  <a:avLst/>
                  <a:gdLst>
                    <a:gd name="connsiteX0" fmla="*/ 192704 w 474348"/>
                    <a:gd name="connsiteY0" fmla="*/ 0 h 645319"/>
                    <a:gd name="connsiteX1" fmla="*/ 281644 w 474348"/>
                    <a:gd name="connsiteY1" fmla="*/ 0 h 645319"/>
                    <a:gd name="connsiteX2" fmla="*/ 474348 w 474348"/>
                    <a:gd name="connsiteY2" fmla="*/ 192704 h 645319"/>
                    <a:gd name="connsiteX3" fmla="*/ 474348 w 474348"/>
                    <a:gd name="connsiteY3" fmla="*/ 645319 h 645319"/>
                    <a:gd name="connsiteX4" fmla="*/ 474348 w 474348"/>
                    <a:gd name="connsiteY4" fmla="*/ 645319 h 645319"/>
                    <a:gd name="connsiteX5" fmla="*/ 0 w 474348"/>
                    <a:gd name="connsiteY5" fmla="*/ 645319 h 645319"/>
                    <a:gd name="connsiteX6" fmla="*/ 0 w 474348"/>
                    <a:gd name="connsiteY6" fmla="*/ 645319 h 645319"/>
                    <a:gd name="connsiteX7" fmla="*/ 0 w 474348"/>
                    <a:gd name="connsiteY7" fmla="*/ 192704 h 645319"/>
                    <a:gd name="connsiteX8" fmla="*/ 192704 w 474348"/>
                    <a:gd name="connsiteY8" fmla="*/ 0 h 645319"/>
                    <a:gd name="connsiteX0" fmla="*/ 192704 w 474348"/>
                    <a:gd name="connsiteY0" fmla="*/ 0 h 645319"/>
                    <a:gd name="connsiteX1" fmla="*/ 281644 w 474348"/>
                    <a:gd name="connsiteY1" fmla="*/ 0 h 645319"/>
                    <a:gd name="connsiteX2" fmla="*/ 474348 w 474348"/>
                    <a:gd name="connsiteY2" fmla="*/ 192704 h 645319"/>
                    <a:gd name="connsiteX3" fmla="*/ 474348 w 474348"/>
                    <a:gd name="connsiteY3" fmla="*/ 645319 h 645319"/>
                    <a:gd name="connsiteX4" fmla="*/ 474348 w 474348"/>
                    <a:gd name="connsiteY4" fmla="*/ 645319 h 645319"/>
                    <a:gd name="connsiteX5" fmla="*/ 248129 w 474348"/>
                    <a:gd name="connsiteY5" fmla="*/ 645319 h 645319"/>
                    <a:gd name="connsiteX6" fmla="*/ 0 w 474348"/>
                    <a:gd name="connsiteY6" fmla="*/ 645319 h 645319"/>
                    <a:gd name="connsiteX7" fmla="*/ 0 w 474348"/>
                    <a:gd name="connsiteY7" fmla="*/ 645319 h 645319"/>
                    <a:gd name="connsiteX8" fmla="*/ 0 w 474348"/>
                    <a:gd name="connsiteY8" fmla="*/ 192704 h 645319"/>
                    <a:gd name="connsiteX9" fmla="*/ 192704 w 474348"/>
                    <a:gd name="connsiteY9" fmla="*/ 0 h 645319"/>
                    <a:gd name="connsiteX0" fmla="*/ 192704 w 474348"/>
                    <a:gd name="connsiteY0" fmla="*/ 2381 h 647700"/>
                    <a:gd name="connsiteX1" fmla="*/ 240986 w 474348"/>
                    <a:gd name="connsiteY1" fmla="*/ 0 h 647700"/>
                    <a:gd name="connsiteX2" fmla="*/ 281644 w 474348"/>
                    <a:gd name="connsiteY2" fmla="*/ 2381 h 647700"/>
                    <a:gd name="connsiteX3" fmla="*/ 474348 w 474348"/>
                    <a:gd name="connsiteY3" fmla="*/ 195085 h 647700"/>
                    <a:gd name="connsiteX4" fmla="*/ 474348 w 474348"/>
                    <a:gd name="connsiteY4" fmla="*/ 647700 h 647700"/>
                    <a:gd name="connsiteX5" fmla="*/ 474348 w 474348"/>
                    <a:gd name="connsiteY5" fmla="*/ 647700 h 647700"/>
                    <a:gd name="connsiteX6" fmla="*/ 248129 w 474348"/>
                    <a:gd name="connsiteY6" fmla="*/ 647700 h 647700"/>
                    <a:gd name="connsiteX7" fmla="*/ 0 w 474348"/>
                    <a:gd name="connsiteY7" fmla="*/ 647700 h 647700"/>
                    <a:gd name="connsiteX8" fmla="*/ 0 w 474348"/>
                    <a:gd name="connsiteY8" fmla="*/ 647700 h 647700"/>
                    <a:gd name="connsiteX9" fmla="*/ 0 w 474348"/>
                    <a:gd name="connsiteY9" fmla="*/ 195085 h 647700"/>
                    <a:gd name="connsiteX10" fmla="*/ 192704 w 474348"/>
                    <a:gd name="connsiteY10" fmla="*/ 2381 h 647700"/>
                    <a:gd name="connsiteX0" fmla="*/ 192704 w 474348"/>
                    <a:gd name="connsiteY0" fmla="*/ 42862 h 688181"/>
                    <a:gd name="connsiteX1" fmla="*/ 240986 w 474348"/>
                    <a:gd name="connsiteY1" fmla="*/ 0 h 688181"/>
                    <a:gd name="connsiteX2" fmla="*/ 281644 w 474348"/>
                    <a:gd name="connsiteY2" fmla="*/ 42862 h 688181"/>
                    <a:gd name="connsiteX3" fmla="*/ 474348 w 474348"/>
                    <a:gd name="connsiteY3" fmla="*/ 235566 h 688181"/>
                    <a:gd name="connsiteX4" fmla="*/ 474348 w 474348"/>
                    <a:gd name="connsiteY4" fmla="*/ 688181 h 688181"/>
                    <a:gd name="connsiteX5" fmla="*/ 474348 w 474348"/>
                    <a:gd name="connsiteY5" fmla="*/ 688181 h 688181"/>
                    <a:gd name="connsiteX6" fmla="*/ 248129 w 474348"/>
                    <a:gd name="connsiteY6" fmla="*/ 688181 h 688181"/>
                    <a:gd name="connsiteX7" fmla="*/ 0 w 474348"/>
                    <a:gd name="connsiteY7" fmla="*/ 688181 h 688181"/>
                    <a:gd name="connsiteX8" fmla="*/ 0 w 474348"/>
                    <a:gd name="connsiteY8" fmla="*/ 688181 h 688181"/>
                    <a:gd name="connsiteX9" fmla="*/ 0 w 474348"/>
                    <a:gd name="connsiteY9" fmla="*/ 235566 h 688181"/>
                    <a:gd name="connsiteX10" fmla="*/ 192704 w 474348"/>
                    <a:gd name="connsiteY10" fmla="*/ 42862 h 688181"/>
                    <a:gd name="connsiteX0" fmla="*/ 192704 w 474348"/>
                    <a:gd name="connsiteY0" fmla="*/ 23812 h 669131"/>
                    <a:gd name="connsiteX1" fmla="*/ 265690 w 474348"/>
                    <a:gd name="connsiteY1" fmla="*/ 0 h 669131"/>
                    <a:gd name="connsiteX2" fmla="*/ 281644 w 474348"/>
                    <a:gd name="connsiteY2" fmla="*/ 23812 h 669131"/>
                    <a:gd name="connsiteX3" fmla="*/ 474348 w 474348"/>
                    <a:gd name="connsiteY3" fmla="*/ 216516 h 669131"/>
                    <a:gd name="connsiteX4" fmla="*/ 474348 w 474348"/>
                    <a:gd name="connsiteY4" fmla="*/ 669131 h 669131"/>
                    <a:gd name="connsiteX5" fmla="*/ 474348 w 474348"/>
                    <a:gd name="connsiteY5" fmla="*/ 669131 h 669131"/>
                    <a:gd name="connsiteX6" fmla="*/ 248129 w 474348"/>
                    <a:gd name="connsiteY6" fmla="*/ 669131 h 669131"/>
                    <a:gd name="connsiteX7" fmla="*/ 0 w 474348"/>
                    <a:gd name="connsiteY7" fmla="*/ 669131 h 669131"/>
                    <a:gd name="connsiteX8" fmla="*/ 0 w 474348"/>
                    <a:gd name="connsiteY8" fmla="*/ 669131 h 669131"/>
                    <a:gd name="connsiteX9" fmla="*/ 0 w 474348"/>
                    <a:gd name="connsiteY9" fmla="*/ 216516 h 669131"/>
                    <a:gd name="connsiteX10" fmla="*/ 192704 w 474348"/>
                    <a:gd name="connsiteY10" fmla="*/ 23812 h 669131"/>
                    <a:gd name="connsiteX0" fmla="*/ 192704 w 474348"/>
                    <a:gd name="connsiteY0" fmla="*/ 23812 h 669131"/>
                    <a:gd name="connsiteX1" fmla="*/ 265690 w 474348"/>
                    <a:gd name="connsiteY1" fmla="*/ 0 h 669131"/>
                    <a:gd name="connsiteX2" fmla="*/ 309530 w 474348"/>
                    <a:gd name="connsiteY2" fmla="*/ 23110 h 669131"/>
                    <a:gd name="connsiteX3" fmla="*/ 474348 w 474348"/>
                    <a:gd name="connsiteY3" fmla="*/ 216516 h 669131"/>
                    <a:gd name="connsiteX4" fmla="*/ 474348 w 474348"/>
                    <a:gd name="connsiteY4" fmla="*/ 669131 h 669131"/>
                    <a:gd name="connsiteX5" fmla="*/ 474348 w 474348"/>
                    <a:gd name="connsiteY5" fmla="*/ 669131 h 669131"/>
                    <a:gd name="connsiteX6" fmla="*/ 248129 w 474348"/>
                    <a:gd name="connsiteY6" fmla="*/ 669131 h 669131"/>
                    <a:gd name="connsiteX7" fmla="*/ 0 w 474348"/>
                    <a:gd name="connsiteY7" fmla="*/ 669131 h 669131"/>
                    <a:gd name="connsiteX8" fmla="*/ 0 w 474348"/>
                    <a:gd name="connsiteY8" fmla="*/ 669131 h 669131"/>
                    <a:gd name="connsiteX9" fmla="*/ 0 w 474348"/>
                    <a:gd name="connsiteY9" fmla="*/ 216516 h 669131"/>
                    <a:gd name="connsiteX10" fmla="*/ 192704 w 474348"/>
                    <a:gd name="connsiteY10" fmla="*/ 23812 h 669131"/>
                    <a:gd name="connsiteX0" fmla="*/ 192704 w 474348"/>
                    <a:gd name="connsiteY0" fmla="*/ 23812 h 669131"/>
                    <a:gd name="connsiteX1" fmla="*/ 265690 w 474348"/>
                    <a:gd name="connsiteY1" fmla="*/ 0 h 669131"/>
                    <a:gd name="connsiteX2" fmla="*/ 309530 w 474348"/>
                    <a:gd name="connsiteY2" fmla="*/ 23110 h 669131"/>
                    <a:gd name="connsiteX3" fmla="*/ 474348 w 474348"/>
                    <a:gd name="connsiteY3" fmla="*/ 216516 h 669131"/>
                    <a:gd name="connsiteX4" fmla="*/ 474348 w 474348"/>
                    <a:gd name="connsiteY4" fmla="*/ 669131 h 669131"/>
                    <a:gd name="connsiteX5" fmla="*/ 474348 w 474348"/>
                    <a:gd name="connsiteY5" fmla="*/ 669131 h 669131"/>
                    <a:gd name="connsiteX6" fmla="*/ 248129 w 474348"/>
                    <a:gd name="connsiteY6" fmla="*/ 669131 h 669131"/>
                    <a:gd name="connsiteX7" fmla="*/ 0 w 474348"/>
                    <a:gd name="connsiteY7" fmla="*/ 669131 h 669131"/>
                    <a:gd name="connsiteX8" fmla="*/ 0 w 474348"/>
                    <a:gd name="connsiteY8" fmla="*/ 669131 h 669131"/>
                    <a:gd name="connsiteX9" fmla="*/ 0 w 474348"/>
                    <a:gd name="connsiteY9" fmla="*/ 216516 h 669131"/>
                    <a:gd name="connsiteX10" fmla="*/ 192704 w 474348"/>
                    <a:gd name="connsiteY10" fmla="*/ 23812 h 669131"/>
                    <a:gd name="connsiteX0" fmla="*/ 192704 w 474348"/>
                    <a:gd name="connsiteY0" fmla="*/ 23812 h 669131"/>
                    <a:gd name="connsiteX1" fmla="*/ 265690 w 474348"/>
                    <a:gd name="connsiteY1" fmla="*/ 0 h 669131"/>
                    <a:gd name="connsiteX2" fmla="*/ 309530 w 474348"/>
                    <a:gd name="connsiteY2" fmla="*/ 23110 h 669131"/>
                    <a:gd name="connsiteX3" fmla="*/ 474348 w 474348"/>
                    <a:gd name="connsiteY3" fmla="*/ 216516 h 669131"/>
                    <a:gd name="connsiteX4" fmla="*/ 474348 w 474348"/>
                    <a:gd name="connsiteY4" fmla="*/ 669131 h 669131"/>
                    <a:gd name="connsiteX5" fmla="*/ 474348 w 474348"/>
                    <a:gd name="connsiteY5" fmla="*/ 669131 h 669131"/>
                    <a:gd name="connsiteX6" fmla="*/ 248129 w 474348"/>
                    <a:gd name="connsiteY6" fmla="*/ 669131 h 669131"/>
                    <a:gd name="connsiteX7" fmla="*/ 0 w 474348"/>
                    <a:gd name="connsiteY7" fmla="*/ 669131 h 669131"/>
                    <a:gd name="connsiteX8" fmla="*/ 0 w 474348"/>
                    <a:gd name="connsiteY8" fmla="*/ 669131 h 669131"/>
                    <a:gd name="connsiteX9" fmla="*/ 0 w 474348"/>
                    <a:gd name="connsiteY9" fmla="*/ 216516 h 669131"/>
                    <a:gd name="connsiteX10" fmla="*/ 192704 w 474348"/>
                    <a:gd name="connsiteY10" fmla="*/ 23812 h 669131"/>
                    <a:gd name="connsiteX0" fmla="*/ 192704 w 474348"/>
                    <a:gd name="connsiteY0" fmla="*/ 23812 h 669131"/>
                    <a:gd name="connsiteX1" fmla="*/ 265690 w 474348"/>
                    <a:gd name="connsiteY1" fmla="*/ 0 h 669131"/>
                    <a:gd name="connsiteX2" fmla="*/ 309530 w 474348"/>
                    <a:gd name="connsiteY2" fmla="*/ 23110 h 669131"/>
                    <a:gd name="connsiteX3" fmla="*/ 474348 w 474348"/>
                    <a:gd name="connsiteY3" fmla="*/ 216516 h 669131"/>
                    <a:gd name="connsiteX4" fmla="*/ 474348 w 474348"/>
                    <a:gd name="connsiteY4" fmla="*/ 669131 h 669131"/>
                    <a:gd name="connsiteX5" fmla="*/ 474348 w 474348"/>
                    <a:gd name="connsiteY5" fmla="*/ 669131 h 669131"/>
                    <a:gd name="connsiteX6" fmla="*/ 248129 w 474348"/>
                    <a:gd name="connsiteY6" fmla="*/ 669131 h 669131"/>
                    <a:gd name="connsiteX7" fmla="*/ 0 w 474348"/>
                    <a:gd name="connsiteY7" fmla="*/ 669131 h 669131"/>
                    <a:gd name="connsiteX8" fmla="*/ 0 w 474348"/>
                    <a:gd name="connsiteY8" fmla="*/ 669131 h 669131"/>
                    <a:gd name="connsiteX9" fmla="*/ 0 w 474348"/>
                    <a:gd name="connsiteY9" fmla="*/ 216516 h 669131"/>
                    <a:gd name="connsiteX10" fmla="*/ 192704 w 474348"/>
                    <a:gd name="connsiteY10" fmla="*/ 23812 h 6691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74348" h="669131">
                      <a:moveTo>
                        <a:pt x="192704" y="23812"/>
                      </a:moveTo>
                      <a:lnTo>
                        <a:pt x="265690" y="0"/>
                      </a:lnTo>
                      <a:cubicBezTo>
                        <a:pt x="271008" y="7937"/>
                        <a:pt x="275989" y="2061"/>
                        <a:pt x="309530" y="23110"/>
                      </a:cubicBezTo>
                      <a:cubicBezTo>
                        <a:pt x="387382" y="59846"/>
                        <a:pt x="474348" y="110089"/>
                        <a:pt x="474348" y="216516"/>
                      </a:cubicBezTo>
                      <a:lnTo>
                        <a:pt x="474348" y="669131"/>
                      </a:lnTo>
                      <a:lnTo>
                        <a:pt x="474348" y="669131"/>
                      </a:lnTo>
                      <a:lnTo>
                        <a:pt x="248129" y="669131"/>
                      </a:lnTo>
                      <a:lnTo>
                        <a:pt x="0" y="669131"/>
                      </a:lnTo>
                      <a:lnTo>
                        <a:pt x="0" y="669131"/>
                      </a:lnTo>
                      <a:lnTo>
                        <a:pt x="0" y="216516"/>
                      </a:lnTo>
                      <a:cubicBezTo>
                        <a:pt x="0" y="110089"/>
                        <a:pt x="135350" y="45744"/>
                        <a:pt x="192704" y="23812"/>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94" name="Oval 193"/>
                <p:cNvSpPr/>
                <p:nvPr/>
              </p:nvSpPr>
              <p:spPr>
                <a:xfrm>
                  <a:off x="2740926" y="1513161"/>
                  <a:ext cx="629631" cy="629631"/>
                </a:xfrm>
                <a:prstGeom prst="ellipse">
                  <a:avLst/>
                </a:prstGeom>
                <a:solidFill>
                  <a:schemeClr val="bg1"/>
                </a:solidFill>
                <a:ln w="508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grpSp>
          <p:nvGrpSpPr>
            <p:cNvPr id="195" name="Group 194"/>
            <p:cNvGrpSpPr/>
            <p:nvPr/>
          </p:nvGrpSpPr>
          <p:grpSpPr>
            <a:xfrm flipH="1">
              <a:off x="407162" y="2694960"/>
              <a:ext cx="603851" cy="937111"/>
              <a:chOff x="274646" y="-1004072"/>
              <a:chExt cx="5446648" cy="8452622"/>
            </a:xfrm>
            <a:effectLst/>
          </p:grpSpPr>
          <p:sp>
            <p:nvSpPr>
              <p:cNvPr id="196" name="Isosceles Triangle 195"/>
              <p:cNvSpPr/>
              <p:nvPr/>
            </p:nvSpPr>
            <p:spPr>
              <a:xfrm>
                <a:off x="2789660" y="1551279"/>
                <a:ext cx="575648" cy="5897271"/>
              </a:xfrm>
              <a:prstGeom prst="triangle">
                <a:avLst>
                  <a:gd name="adj" fmla="val 5330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97" name="Group 196"/>
              <p:cNvGrpSpPr/>
              <p:nvPr/>
            </p:nvGrpSpPr>
            <p:grpSpPr>
              <a:xfrm>
                <a:off x="274646" y="-1004072"/>
                <a:ext cx="5446648" cy="3713114"/>
                <a:chOff x="274646" y="-1004072"/>
                <a:chExt cx="5446648" cy="3713114"/>
              </a:xfrm>
            </p:grpSpPr>
            <p:sp>
              <p:nvSpPr>
                <p:cNvPr id="198" name="Round Same Side Corner Rectangle 11"/>
                <p:cNvSpPr/>
                <p:nvPr/>
              </p:nvSpPr>
              <p:spPr>
                <a:xfrm rot="240000">
                  <a:off x="3037776" y="-1004072"/>
                  <a:ext cx="251846" cy="2632765"/>
                </a:xfrm>
                <a:custGeom>
                  <a:avLst/>
                  <a:gdLst>
                    <a:gd name="connsiteX0" fmla="*/ 192704 w 474348"/>
                    <a:gd name="connsiteY0" fmla="*/ 0 h 645319"/>
                    <a:gd name="connsiteX1" fmla="*/ 281644 w 474348"/>
                    <a:gd name="connsiteY1" fmla="*/ 0 h 645319"/>
                    <a:gd name="connsiteX2" fmla="*/ 474348 w 474348"/>
                    <a:gd name="connsiteY2" fmla="*/ 192704 h 645319"/>
                    <a:gd name="connsiteX3" fmla="*/ 474348 w 474348"/>
                    <a:gd name="connsiteY3" fmla="*/ 645319 h 645319"/>
                    <a:gd name="connsiteX4" fmla="*/ 474348 w 474348"/>
                    <a:gd name="connsiteY4" fmla="*/ 645319 h 645319"/>
                    <a:gd name="connsiteX5" fmla="*/ 0 w 474348"/>
                    <a:gd name="connsiteY5" fmla="*/ 645319 h 645319"/>
                    <a:gd name="connsiteX6" fmla="*/ 0 w 474348"/>
                    <a:gd name="connsiteY6" fmla="*/ 645319 h 645319"/>
                    <a:gd name="connsiteX7" fmla="*/ 0 w 474348"/>
                    <a:gd name="connsiteY7" fmla="*/ 192704 h 645319"/>
                    <a:gd name="connsiteX8" fmla="*/ 192704 w 474348"/>
                    <a:gd name="connsiteY8" fmla="*/ 0 h 645319"/>
                    <a:gd name="connsiteX0" fmla="*/ 192704 w 474348"/>
                    <a:gd name="connsiteY0" fmla="*/ 0 h 645319"/>
                    <a:gd name="connsiteX1" fmla="*/ 281644 w 474348"/>
                    <a:gd name="connsiteY1" fmla="*/ 0 h 645319"/>
                    <a:gd name="connsiteX2" fmla="*/ 474348 w 474348"/>
                    <a:gd name="connsiteY2" fmla="*/ 192704 h 645319"/>
                    <a:gd name="connsiteX3" fmla="*/ 474348 w 474348"/>
                    <a:gd name="connsiteY3" fmla="*/ 645319 h 645319"/>
                    <a:gd name="connsiteX4" fmla="*/ 474348 w 474348"/>
                    <a:gd name="connsiteY4" fmla="*/ 645319 h 645319"/>
                    <a:gd name="connsiteX5" fmla="*/ 248129 w 474348"/>
                    <a:gd name="connsiteY5" fmla="*/ 645319 h 645319"/>
                    <a:gd name="connsiteX6" fmla="*/ 0 w 474348"/>
                    <a:gd name="connsiteY6" fmla="*/ 645319 h 645319"/>
                    <a:gd name="connsiteX7" fmla="*/ 0 w 474348"/>
                    <a:gd name="connsiteY7" fmla="*/ 645319 h 645319"/>
                    <a:gd name="connsiteX8" fmla="*/ 0 w 474348"/>
                    <a:gd name="connsiteY8" fmla="*/ 192704 h 645319"/>
                    <a:gd name="connsiteX9" fmla="*/ 192704 w 474348"/>
                    <a:gd name="connsiteY9" fmla="*/ 0 h 645319"/>
                    <a:gd name="connsiteX0" fmla="*/ 192704 w 474348"/>
                    <a:gd name="connsiteY0" fmla="*/ 2381 h 647700"/>
                    <a:gd name="connsiteX1" fmla="*/ 240986 w 474348"/>
                    <a:gd name="connsiteY1" fmla="*/ 0 h 647700"/>
                    <a:gd name="connsiteX2" fmla="*/ 281644 w 474348"/>
                    <a:gd name="connsiteY2" fmla="*/ 2381 h 647700"/>
                    <a:gd name="connsiteX3" fmla="*/ 474348 w 474348"/>
                    <a:gd name="connsiteY3" fmla="*/ 195085 h 647700"/>
                    <a:gd name="connsiteX4" fmla="*/ 474348 w 474348"/>
                    <a:gd name="connsiteY4" fmla="*/ 647700 h 647700"/>
                    <a:gd name="connsiteX5" fmla="*/ 474348 w 474348"/>
                    <a:gd name="connsiteY5" fmla="*/ 647700 h 647700"/>
                    <a:gd name="connsiteX6" fmla="*/ 248129 w 474348"/>
                    <a:gd name="connsiteY6" fmla="*/ 647700 h 647700"/>
                    <a:gd name="connsiteX7" fmla="*/ 0 w 474348"/>
                    <a:gd name="connsiteY7" fmla="*/ 647700 h 647700"/>
                    <a:gd name="connsiteX8" fmla="*/ 0 w 474348"/>
                    <a:gd name="connsiteY8" fmla="*/ 647700 h 647700"/>
                    <a:gd name="connsiteX9" fmla="*/ 0 w 474348"/>
                    <a:gd name="connsiteY9" fmla="*/ 195085 h 647700"/>
                    <a:gd name="connsiteX10" fmla="*/ 192704 w 474348"/>
                    <a:gd name="connsiteY10" fmla="*/ 2381 h 647700"/>
                    <a:gd name="connsiteX0" fmla="*/ 192704 w 474348"/>
                    <a:gd name="connsiteY0" fmla="*/ 42862 h 688181"/>
                    <a:gd name="connsiteX1" fmla="*/ 240986 w 474348"/>
                    <a:gd name="connsiteY1" fmla="*/ 0 h 688181"/>
                    <a:gd name="connsiteX2" fmla="*/ 281644 w 474348"/>
                    <a:gd name="connsiteY2" fmla="*/ 42862 h 688181"/>
                    <a:gd name="connsiteX3" fmla="*/ 474348 w 474348"/>
                    <a:gd name="connsiteY3" fmla="*/ 235566 h 688181"/>
                    <a:gd name="connsiteX4" fmla="*/ 474348 w 474348"/>
                    <a:gd name="connsiteY4" fmla="*/ 688181 h 688181"/>
                    <a:gd name="connsiteX5" fmla="*/ 474348 w 474348"/>
                    <a:gd name="connsiteY5" fmla="*/ 688181 h 688181"/>
                    <a:gd name="connsiteX6" fmla="*/ 248129 w 474348"/>
                    <a:gd name="connsiteY6" fmla="*/ 688181 h 688181"/>
                    <a:gd name="connsiteX7" fmla="*/ 0 w 474348"/>
                    <a:gd name="connsiteY7" fmla="*/ 688181 h 688181"/>
                    <a:gd name="connsiteX8" fmla="*/ 0 w 474348"/>
                    <a:gd name="connsiteY8" fmla="*/ 688181 h 688181"/>
                    <a:gd name="connsiteX9" fmla="*/ 0 w 474348"/>
                    <a:gd name="connsiteY9" fmla="*/ 235566 h 688181"/>
                    <a:gd name="connsiteX10" fmla="*/ 192704 w 474348"/>
                    <a:gd name="connsiteY10" fmla="*/ 42862 h 688181"/>
                    <a:gd name="connsiteX0" fmla="*/ 192704 w 474348"/>
                    <a:gd name="connsiteY0" fmla="*/ 23812 h 669131"/>
                    <a:gd name="connsiteX1" fmla="*/ 265690 w 474348"/>
                    <a:gd name="connsiteY1" fmla="*/ 0 h 669131"/>
                    <a:gd name="connsiteX2" fmla="*/ 281644 w 474348"/>
                    <a:gd name="connsiteY2" fmla="*/ 23812 h 669131"/>
                    <a:gd name="connsiteX3" fmla="*/ 474348 w 474348"/>
                    <a:gd name="connsiteY3" fmla="*/ 216516 h 669131"/>
                    <a:gd name="connsiteX4" fmla="*/ 474348 w 474348"/>
                    <a:gd name="connsiteY4" fmla="*/ 669131 h 669131"/>
                    <a:gd name="connsiteX5" fmla="*/ 474348 w 474348"/>
                    <a:gd name="connsiteY5" fmla="*/ 669131 h 669131"/>
                    <a:gd name="connsiteX6" fmla="*/ 248129 w 474348"/>
                    <a:gd name="connsiteY6" fmla="*/ 669131 h 669131"/>
                    <a:gd name="connsiteX7" fmla="*/ 0 w 474348"/>
                    <a:gd name="connsiteY7" fmla="*/ 669131 h 669131"/>
                    <a:gd name="connsiteX8" fmla="*/ 0 w 474348"/>
                    <a:gd name="connsiteY8" fmla="*/ 669131 h 669131"/>
                    <a:gd name="connsiteX9" fmla="*/ 0 w 474348"/>
                    <a:gd name="connsiteY9" fmla="*/ 216516 h 669131"/>
                    <a:gd name="connsiteX10" fmla="*/ 192704 w 474348"/>
                    <a:gd name="connsiteY10" fmla="*/ 23812 h 669131"/>
                    <a:gd name="connsiteX0" fmla="*/ 192704 w 474348"/>
                    <a:gd name="connsiteY0" fmla="*/ 23812 h 669131"/>
                    <a:gd name="connsiteX1" fmla="*/ 265690 w 474348"/>
                    <a:gd name="connsiteY1" fmla="*/ 0 h 669131"/>
                    <a:gd name="connsiteX2" fmla="*/ 281644 w 474348"/>
                    <a:gd name="connsiteY2" fmla="*/ 23812 h 669131"/>
                    <a:gd name="connsiteX3" fmla="*/ 474348 w 474348"/>
                    <a:gd name="connsiteY3" fmla="*/ 216516 h 669131"/>
                    <a:gd name="connsiteX4" fmla="*/ 474348 w 474348"/>
                    <a:gd name="connsiteY4" fmla="*/ 669131 h 669131"/>
                    <a:gd name="connsiteX5" fmla="*/ 474348 w 474348"/>
                    <a:gd name="connsiteY5" fmla="*/ 669131 h 669131"/>
                    <a:gd name="connsiteX6" fmla="*/ 248129 w 474348"/>
                    <a:gd name="connsiteY6" fmla="*/ 669131 h 669131"/>
                    <a:gd name="connsiteX7" fmla="*/ 0 w 474348"/>
                    <a:gd name="connsiteY7" fmla="*/ 669131 h 669131"/>
                    <a:gd name="connsiteX8" fmla="*/ 0 w 474348"/>
                    <a:gd name="connsiteY8" fmla="*/ 669131 h 669131"/>
                    <a:gd name="connsiteX9" fmla="*/ 0 w 474348"/>
                    <a:gd name="connsiteY9" fmla="*/ 216516 h 669131"/>
                    <a:gd name="connsiteX10" fmla="*/ 192704 w 474348"/>
                    <a:gd name="connsiteY10" fmla="*/ 23812 h 669131"/>
                    <a:gd name="connsiteX0" fmla="*/ 192704 w 474348"/>
                    <a:gd name="connsiteY0" fmla="*/ 23812 h 669131"/>
                    <a:gd name="connsiteX1" fmla="*/ 265690 w 474348"/>
                    <a:gd name="connsiteY1" fmla="*/ 0 h 669131"/>
                    <a:gd name="connsiteX2" fmla="*/ 281644 w 474348"/>
                    <a:gd name="connsiteY2" fmla="*/ 23812 h 669131"/>
                    <a:gd name="connsiteX3" fmla="*/ 474348 w 474348"/>
                    <a:gd name="connsiteY3" fmla="*/ 216516 h 669131"/>
                    <a:gd name="connsiteX4" fmla="*/ 474348 w 474348"/>
                    <a:gd name="connsiteY4" fmla="*/ 669131 h 669131"/>
                    <a:gd name="connsiteX5" fmla="*/ 474348 w 474348"/>
                    <a:gd name="connsiteY5" fmla="*/ 669131 h 669131"/>
                    <a:gd name="connsiteX6" fmla="*/ 248129 w 474348"/>
                    <a:gd name="connsiteY6" fmla="*/ 669131 h 669131"/>
                    <a:gd name="connsiteX7" fmla="*/ 0 w 474348"/>
                    <a:gd name="connsiteY7" fmla="*/ 669131 h 669131"/>
                    <a:gd name="connsiteX8" fmla="*/ 0 w 474348"/>
                    <a:gd name="connsiteY8" fmla="*/ 669131 h 669131"/>
                    <a:gd name="connsiteX9" fmla="*/ 0 w 474348"/>
                    <a:gd name="connsiteY9" fmla="*/ 216516 h 669131"/>
                    <a:gd name="connsiteX10" fmla="*/ 192704 w 474348"/>
                    <a:gd name="connsiteY10" fmla="*/ 23812 h 669131"/>
                    <a:gd name="connsiteX0" fmla="*/ 192704 w 474348"/>
                    <a:gd name="connsiteY0" fmla="*/ 23812 h 669131"/>
                    <a:gd name="connsiteX1" fmla="*/ 265690 w 474348"/>
                    <a:gd name="connsiteY1" fmla="*/ 0 h 669131"/>
                    <a:gd name="connsiteX2" fmla="*/ 281644 w 474348"/>
                    <a:gd name="connsiteY2" fmla="*/ 23812 h 669131"/>
                    <a:gd name="connsiteX3" fmla="*/ 474348 w 474348"/>
                    <a:gd name="connsiteY3" fmla="*/ 216516 h 669131"/>
                    <a:gd name="connsiteX4" fmla="*/ 474348 w 474348"/>
                    <a:gd name="connsiteY4" fmla="*/ 669131 h 669131"/>
                    <a:gd name="connsiteX5" fmla="*/ 474348 w 474348"/>
                    <a:gd name="connsiteY5" fmla="*/ 669131 h 669131"/>
                    <a:gd name="connsiteX6" fmla="*/ 248129 w 474348"/>
                    <a:gd name="connsiteY6" fmla="*/ 669131 h 669131"/>
                    <a:gd name="connsiteX7" fmla="*/ 0 w 474348"/>
                    <a:gd name="connsiteY7" fmla="*/ 669131 h 669131"/>
                    <a:gd name="connsiteX8" fmla="*/ 0 w 474348"/>
                    <a:gd name="connsiteY8" fmla="*/ 669131 h 669131"/>
                    <a:gd name="connsiteX9" fmla="*/ 0 w 474348"/>
                    <a:gd name="connsiteY9" fmla="*/ 216516 h 669131"/>
                    <a:gd name="connsiteX10" fmla="*/ 192704 w 474348"/>
                    <a:gd name="connsiteY10" fmla="*/ 23812 h 669131"/>
                    <a:gd name="connsiteX0" fmla="*/ 192704 w 474348"/>
                    <a:gd name="connsiteY0" fmla="*/ 23812 h 669131"/>
                    <a:gd name="connsiteX1" fmla="*/ 265690 w 474348"/>
                    <a:gd name="connsiteY1" fmla="*/ 0 h 669131"/>
                    <a:gd name="connsiteX2" fmla="*/ 281644 w 474348"/>
                    <a:gd name="connsiteY2" fmla="*/ 23812 h 669131"/>
                    <a:gd name="connsiteX3" fmla="*/ 474348 w 474348"/>
                    <a:gd name="connsiteY3" fmla="*/ 216516 h 669131"/>
                    <a:gd name="connsiteX4" fmla="*/ 474348 w 474348"/>
                    <a:gd name="connsiteY4" fmla="*/ 669131 h 669131"/>
                    <a:gd name="connsiteX5" fmla="*/ 474348 w 474348"/>
                    <a:gd name="connsiteY5" fmla="*/ 669131 h 669131"/>
                    <a:gd name="connsiteX6" fmla="*/ 248129 w 474348"/>
                    <a:gd name="connsiteY6" fmla="*/ 669131 h 669131"/>
                    <a:gd name="connsiteX7" fmla="*/ 0 w 474348"/>
                    <a:gd name="connsiteY7" fmla="*/ 669131 h 669131"/>
                    <a:gd name="connsiteX8" fmla="*/ 0 w 474348"/>
                    <a:gd name="connsiteY8" fmla="*/ 669131 h 669131"/>
                    <a:gd name="connsiteX9" fmla="*/ 0 w 474348"/>
                    <a:gd name="connsiteY9" fmla="*/ 216516 h 669131"/>
                    <a:gd name="connsiteX10" fmla="*/ 192704 w 474348"/>
                    <a:gd name="connsiteY10" fmla="*/ 23812 h 669131"/>
                    <a:gd name="connsiteX0" fmla="*/ 192704 w 474348"/>
                    <a:gd name="connsiteY0" fmla="*/ 23812 h 669131"/>
                    <a:gd name="connsiteX1" fmla="*/ 265690 w 474348"/>
                    <a:gd name="connsiteY1" fmla="*/ 0 h 669131"/>
                    <a:gd name="connsiteX2" fmla="*/ 299854 w 474348"/>
                    <a:gd name="connsiteY2" fmla="*/ 24247 h 669131"/>
                    <a:gd name="connsiteX3" fmla="*/ 474348 w 474348"/>
                    <a:gd name="connsiteY3" fmla="*/ 216516 h 669131"/>
                    <a:gd name="connsiteX4" fmla="*/ 474348 w 474348"/>
                    <a:gd name="connsiteY4" fmla="*/ 669131 h 669131"/>
                    <a:gd name="connsiteX5" fmla="*/ 474348 w 474348"/>
                    <a:gd name="connsiteY5" fmla="*/ 669131 h 669131"/>
                    <a:gd name="connsiteX6" fmla="*/ 248129 w 474348"/>
                    <a:gd name="connsiteY6" fmla="*/ 669131 h 669131"/>
                    <a:gd name="connsiteX7" fmla="*/ 0 w 474348"/>
                    <a:gd name="connsiteY7" fmla="*/ 669131 h 669131"/>
                    <a:gd name="connsiteX8" fmla="*/ 0 w 474348"/>
                    <a:gd name="connsiteY8" fmla="*/ 669131 h 669131"/>
                    <a:gd name="connsiteX9" fmla="*/ 0 w 474348"/>
                    <a:gd name="connsiteY9" fmla="*/ 216516 h 669131"/>
                    <a:gd name="connsiteX10" fmla="*/ 192704 w 474348"/>
                    <a:gd name="connsiteY10" fmla="*/ 23812 h 669131"/>
                    <a:gd name="connsiteX0" fmla="*/ 192704 w 474348"/>
                    <a:gd name="connsiteY0" fmla="*/ 23812 h 669131"/>
                    <a:gd name="connsiteX1" fmla="*/ 265690 w 474348"/>
                    <a:gd name="connsiteY1" fmla="*/ 0 h 669131"/>
                    <a:gd name="connsiteX2" fmla="*/ 299854 w 474348"/>
                    <a:gd name="connsiteY2" fmla="*/ 24247 h 669131"/>
                    <a:gd name="connsiteX3" fmla="*/ 474348 w 474348"/>
                    <a:gd name="connsiteY3" fmla="*/ 216516 h 669131"/>
                    <a:gd name="connsiteX4" fmla="*/ 474348 w 474348"/>
                    <a:gd name="connsiteY4" fmla="*/ 669131 h 669131"/>
                    <a:gd name="connsiteX5" fmla="*/ 474348 w 474348"/>
                    <a:gd name="connsiteY5" fmla="*/ 669131 h 669131"/>
                    <a:gd name="connsiteX6" fmla="*/ 248129 w 474348"/>
                    <a:gd name="connsiteY6" fmla="*/ 669131 h 669131"/>
                    <a:gd name="connsiteX7" fmla="*/ 0 w 474348"/>
                    <a:gd name="connsiteY7" fmla="*/ 669131 h 669131"/>
                    <a:gd name="connsiteX8" fmla="*/ 0 w 474348"/>
                    <a:gd name="connsiteY8" fmla="*/ 669131 h 669131"/>
                    <a:gd name="connsiteX9" fmla="*/ 0 w 474348"/>
                    <a:gd name="connsiteY9" fmla="*/ 216516 h 669131"/>
                    <a:gd name="connsiteX10" fmla="*/ 192704 w 474348"/>
                    <a:gd name="connsiteY10" fmla="*/ 23812 h 669131"/>
                    <a:gd name="connsiteX0" fmla="*/ 192704 w 474348"/>
                    <a:gd name="connsiteY0" fmla="*/ 23812 h 669131"/>
                    <a:gd name="connsiteX1" fmla="*/ 265690 w 474348"/>
                    <a:gd name="connsiteY1" fmla="*/ 0 h 669131"/>
                    <a:gd name="connsiteX2" fmla="*/ 299854 w 474348"/>
                    <a:gd name="connsiteY2" fmla="*/ 24247 h 669131"/>
                    <a:gd name="connsiteX3" fmla="*/ 474348 w 474348"/>
                    <a:gd name="connsiteY3" fmla="*/ 216516 h 669131"/>
                    <a:gd name="connsiteX4" fmla="*/ 474348 w 474348"/>
                    <a:gd name="connsiteY4" fmla="*/ 669131 h 669131"/>
                    <a:gd name="connsiteX5" fmla="*/ 474348 w 474348"/>
                    <a:gd name="connsiteY5" fmla="*/ 669131 h 669131"/>
                    <a:gd name="connsiteX6" fmla="*/ 248129 w 474348"/>
                    <a:gd name="connsiteY6" fmla="*/ 669131 h 669131"/>
                    <a:gd name="connsiteX7" fmla="*/ 0 w 474348"/>
                    <a:gd name="connsiteY7" fmla="*/ 669131 h 669131"/>
                    <a:gd name="connsiteX8" fmla="*/ 0 w 474348"/>
                    <a:gd name="connsiteY8" fmla="*/ 669131 h 669131"/>
                    <a:gd name="connsiteX9" fmla="*/ 0 w 474348"/>
                    <a:gd name="connsiteY9" fmla="*/ 216516 h 669131"/>
                    <a:gd name="connsiteX10" fmla="*/ 192704 w 474348"/>
                    <a:gd name="connsiteY10" fmla="*/ 23812 h 669131"/>
                    <a:gd name="connsiteX0" fmla="*/ 192704 w 474348"/>
                    <a:gd name="connsiteY0" fmla="*/ 23812 h 669131"/>
                    <a:gd name="connsiteX1" fmla="*/ 265690 w 474348"/>
                    <a:gd name="connsiteY1" fmla="*/ 0 h 669131"/>
                    <a:gd name="connsiteX2" fmla="*/ 299854 w 474348"/>
                    <a:gd name="connsiteY2" fmla="*/ 24247 h 669131"/>
                    <a:gd name="connsiteX3" fmla="*/ 474348 w 474348"/>
                    <a:gd name="connsiteY3" fmla="*/ 216516 h 669131"/>
                    <a:gd name="connsiteX4" fmla="*/ 474348 w 474348"/>
                    <a:gd name="connsiteY4" fmla="*/ 669131 h 669131"/>
                    <a:gd name="connsiteX5" fmla="*/ 474348 w 474348"/>
                    <a:gd name="connsiteY5" fmla="*/ 669131 h 669131"/>
                    <a:gd name="connsiteX6" fmla="*/ 248129 w 474348"/>
                    <a:gd name="connsiteY6" fmla="*/ 669131 h 669131"/>
                    <a:gd name="connsiteX7" fmla="*/ 0 w 474348"/>
                    <a:gd name="connsiteY7" fmla="*/ 669131 h 669131"/>
                    <a:gd name="connsiteX8" fmla="*/ 0 w 474348"/>
                    <a:gd name="connsiteY8" fmla="*/ 669131 h 669131"/>
                    <a:gd name="connsiteX9" fmla="*/ 0 w 474348"/>
                    <a:gd name="connsiteY9" fmla="*/ 216516 h 669131"/>
                    <a:gd name="connsiteX10" fmla="*/ 192704 w 474348"/>
                    <a:gd name="connsiteY10" fmla="*/ 23812 h 669131"/>
                    <a:gd name="connsiteX0" fmla="*/ 192704 w 474348"/>
                    <a:gd name="connsiteY0" fmla="*/ 23812 h 669131"/>
                    <a:gd name="connsiteX1" fmla="*/ 265690 w 474348"/>
                    <a:gd name="connsiteY1" fmla="*/ 0 h 669131"/>
                    <a:gd name="connsiteX2" fmla="*/ 317751 w 474348"/>
                    <a:gd name="connsiteY2" fmla="*/ 24078 h 669131"/>
                    <a:gd name="connsiteX3" fmla="*/ 474348 w 474348"/>
                    <a:gd name="connsiteY3" fmla="*/ 216516 h 669131"/>
                    <a:gd name="connsiteX4" fmla="*/ 474348 w 474348"/>
                    <a:gd name="connsiteY4" fmla="*/ 669131 h 669131"/>
                    <a:gd name="connsiteX5" fmla="*/ 474348 w 474348"/>
                    <a:gd name="connsiteY5" fmla="*/ 669131 h 669131"/>
                    <a:gd name="connsiteX6" fmla="*/ 248129 w 474348"/>
                    <a:gd name="connsiteY6" fmla="*/ 669131 h 669131"/>
                    <a:gd name="connsiteX7" fmla="*/ 0 w 474348"/>
                    <a:gd name="connsiteY7" fmla="*/ 669131 h 669131"/>
                    <a:gd name="connsiteX8" fmla="*/ 0 w 474348"/>
                    <a:gd name="connsiteY8" fmla="*/ 669131 h 669131"/>
                    <a:gd name="connsiteX9" fmla="*/ 0 w 474348"/>
                    <a:gd name="connsiteY9" fmla="*/ 216516 h 669131"/>
                    <a:gd name="connsiteX10" fmla="*/ 192704 w 474348"/>
                    <a:gd name="connsiteY10" fmla="*/ 23812 h 669131"/>
                    <a:gd name="connsiteX0" fmla="*/ 192704 w 474348"/>
                    <a:gd name="connsiteY0" fmla="*/ 23812 h 669131"/>
                    <a:gd name="connsiteX1" fmla="*/ 265690 w 474348"/>
                    <a:gd name="connsiteY1" fmla="*/ 0 h 669131"/>
                    <a:gd name="connsiteX2" fmla="*/ 317751 w 474348"/>
                    <a:gd name="connsiteY2" fmla="*/ 24078 h 669131"/>
                    <a:gd name="connsiteX3" fmla="*/ 474348 w 474348"/>
                    <a:gd name="connsiteY3" fmla="*/ 216516 h 669131"/>
                    <a:gd name="connsiteX4" fmla="*/ 474348 w 474348"/>
                    <a:gd name="connsiteY4" fmla="*/ 669131 h 669131"/>
                    <a:gd name="connsiteX5" fmla="*/ 474348 w 474348"/>
                    <a:gd name="connsiteY5" fmla="*/ 669131 h 669131"/>
                    <a:gd name="connsiteX6" fmla="*/ 248129 w 474348"/>
                    <a:gd name="connsiteY6" fmla="*/ 669131 h 669131"/>
                    <a:gd name="connsiteX7" fmla="*/ 0 w 474348"/>
                    <a:gd name="connsiteY7" fmla="*/ 669131 h 669131"/>
                    <a:gd name="connsiteX8" fmla="*/ 0 w 474348"/>
                    <a:gd name="connsiteY8" fmla="*/ 669131 h 669131"/>
                    <a:gd name="connsiteX9" fmla="*/ 0 w 474348"/>
                    <a:gd name="connsiteY9" fmla="*/ 216516 h 669131"/>
                    <a:gd name="connsiteX10" fmla="*/ 192704 w 474348"/>
                    <a:gd name="connsiteY10" fmla="*/ 23812 h 6691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74348" h="669131">
                      <a:moveTo>
                        <a:pt x="192704" y="23812"/>
                      </a:moveTo>
                      <a:cubicBezTo>
                        <a:pt x="263527" y="1482"/>
                        <a:pt x="241361" y="7937"/>
                        <a:pt x="265690" y="0"/>
                      </a:cubicBezTo>
                      <a:cubicBezTo>
                        <a:pt x="271008" y="7937"/>
                        <a:pt x="263093" y="-988"/>
                        <a:pt x="317751" y="24078"/>
                      </a:cubicBezTo>
                      <a:cubicBezTo>
                        <a:pt x="369579" y="48860"/>
                        <a:pt x="474348" y="110089"/>
                        <a:pt x="474348" y="216516"/>
                      </a:cubicBezTo>
                      <a:lnTo>
                        <a:pt x="474348" y="669131"/>
                      </a:lnTo>
                      <a:lnTo>
                        <a:pt x="474348" y="669131"/>
                      </a:lnTo>
                      <a:lnTo>
                        <a:pt x="248129" y="669131"/>
                      </a:lnTo>
                      <a:lnTo>
                        <a:pt x="0" y="669131"/>
                      </a:lnTo>
                      <a:lnTo>
                        <a:pt x="0" y="669131"/>
                      </a:lnTo>
                      <a:lnTo>
                        <a:pt x="0" y="216516"/>
                      </a:lnTo>
                      <a:cubicBezTo>
                        <a:pt x="0" y="110089"/>
                        <a:pt x="141340" y="43314"/>
                        <a:pt x="192704" y="23812"/>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99" name="Round Same Side Corner Rectangle 11"/>
                <p:cNvSpPr/>
                <p:nvPr/>
              </p:nvSpPr>
              <p:spPr>
                <a:xfrm rot="15060000">
                  <a:off x="1454696" y="1026331"/>
                  <a:ext cx="251846" cy="2611946"/>
                </a:xfrm>
                <a:custGeom>
                  <a:avLst/>
                  <a:gdLst>
                    <a:gd name="connsiteX0" fmla="*/ 192704 w 474348"/>
                    <a:gd name="connsiteY0" fmla="*/ 0 h 645319"/>
                    <a:gd name="connsiteX1" fmla="*/ 281644 w 474348"/>
                    <a:gd name="connsiteY1" fmla="*/ 0 h 645319"/>
                    <a:gd name="connsiteX2" fmla="*/ 474348 w 474348"/>
                    <a:gd name="connsiteY2" fmla="*/ 192704 h 645319"/>
                    <a:gd name="connsiteX3" fmla="*/ 474348 w 474348"/>
                    <a:gd name="connsiteY3" fmla="*/ 645319 h 645319"/>
                    <a:gd name="connsiteX4" fmla="*/ 474348 w 474348"/>
                    <a:gd name="connsiteY4" fmla="*/ 645319 h 645319"/>
                    <a:gd name="connsiteX5" fmla="*/ 0 w 474348"/>
                    <a:gd name="connsiteY5" fmla="*/ 645319 h 645319"/>
                    <a:gd name="connsiteX6" fmla="*/ 0 w 474348"/>
                    <a:gd name="connsiteY6" fmla="*/ 645319 h 645319"/>
                    <a:gd name="connsiteX7" fmla="*/ 0 w 474348"/>
                    <a:gd name="connsiteY7" fmla="*/ 192704 h 645319"/>
                    <a:gd name="connsiteX8" fmla="*/ 192704 w 474348"/>
                    <a:gd name="connsiteY8" fmla="*/ 0 h 645319"/>
                    <a:gd name="connsiteX0" fmla="*/ 192704 w 474348"/>
                    <a:gd name="connsiteY0" fmla="*/ 0 h 645319"/>
                    <a:gd name="connsiteX1" fmla="*/ 281644 w 474348"/>
                    <a:gd name="connsiteY1" fmla="*/ 0 h 645319"/>
                    <a:gd name="connsiteX2" fmla="*/ 474348 w 474348"/>
                    <a:gd name="connsiteY2" fmla="*/ 192704 h 645319"/>
                    <a:gd name="connsiteX3" fmla="*/ 474348 w 474348"/>
                    <a:gd name="connsiteY3" fmla="*/ 645319 h 645319"/>
                    <a:gd name="connsiteX4" fmla="*/ 474348 w 474348"/>
                    <a:gd name="connsiteY4" fmla="*/ 645319 h 645319"/>
                    <a:gd name="connsiteX5" fmla="*/ 248129 w 474348"/>
                    <a:gd name="connsiteY5" fmla="*/ 645319 h 645319"/>
                    <a:gd name="connsiteX6" fmla="*/ 0 w 474348"/>
                    <a:gd name="connsiteY6" fmla="*/ 645319 h 645319"/>
                    <a:gd name="connsiteX7" fmla="*/ 0 w 474348"/>
                    <a:gd name="connsiteY7" fmla="*/ 645319 h 645319"/>
                    <a:gd name="connsiteX8" fmla="*/ 0 w 474348"/>
                    <a:gd name="connsiteY8" fmla="*/ 192704 h 645319"/>
                    <a:gd name="connsiteX9" fmla="*/ 192704 w 474348"/>
                    <a:gd name="connsiteY9" fmla="*/ 0 h 645319"/>
                    <a:gd name="connsiteX0" fmla="*/ 192704 w 474348"/>
                    <a:gd name="connsiteY0" fmla="*/ 2381 h 647700"/>
                    <a:gd name="connsiteX1" fmla="*/ 240986 w 474348"/>
                    <a:gd name="connsiteY1" fmla="*/ 0 h 647700"/>
                    <a:gd name="connsiteX2" fmla="*/ 281644 w 474348"/>
                    <a:gd name="connsiteY2" fmla="*/ 2381 h 647700"/>
                    <a:gd name="connsiteX3" fmla="*/ 474348 w 474348"/>
                    <a:gd name="connsiteY3" fmla="*/ 195085 h 647700"/>
                    <a:gd name="connsiteX4" fmla="*/ 474348 w 474348"/>
                    <a:gd name="connsiteY4" fmla="*/ 647700 h 647700"/>
                    <a:gd name="connsiteX5" fmla="*/ 474348 w 474348"/>
                    <a:gd name="connsiteY5" fmla="*/ 647700 h 647700"/>
                    <a:gd name="connsiteX6" fmla="*/ 248129 w 474348"/>
                    <a:gd name="connsiteY6" fmla="*/ 647700 h 647700"/>
                    <a:gd name="connsiteX7" fmla="*/ 0 w 474348"/>
                    <a:gd name="connsiteY7" fmla="*/ 647700 h 647700"/>
                    <a:gd name="connsiteX8" fmla="*/ 0 w 474348"/>
                    <a:gd name="connsiteY8" fmla="*/ 647700 h 647700"/>
                    <a:gd name="connsiteX9" fmla="*/ 0 w 474348"/>
                    <a:gd name="connsiteY9" fmla="*/ 195085 h 647700"/>
                    <a:gd name="connsiteX10" fmla="*/ 192704 w 474348"/>
                    <a:gd name="connsiteY10" fmla="*/ 2381 h 647700"/>
                    <a:gd name="connsiteX0" fmla="*/ 192704 w 474348"/>
                    <a:gd name="connsiteY0" fmla="*/ 42862 h 688181"/>
                    <a:gd name="connsiteX1" fmla="*/ 240986 w 474348"/>
                    <a:gd name="connsiteY1" fmla="*/ 0 h 688181"/>
                    <a:gd name="connsiteX2" fmla="*/ 281644 w 474348"/>
                    <a:gd name="connsiteY2" fmla="*/ 42862 h 688181"/>
                    <a:gd name="connsiteX3" fmla="*/ 474348 w 474348"/>
                    <a:gd name="connsiteY3" fmla="*/ 235566 h 688181"/>
                    <a:gd name="connsiteX4" fmla="*/ 474348 w 474348"/>
                    <a:gd name="connsiteY4" fmla="*/ 688181 h 688181"/>
                    <a:gd name="connsiteX5" fmla="*/ 474348 w 474348"/>
                    <a:gd name="connsiteY5" fmla="*/ 688181 h 688181"/>
                    <a:gd name="connsiteX6" fmla="*/ 248129 w 474348"/>
                    <a:gd name="connsiteY6" fmla="*/ 688181 h 688181"/>
                    <a:gd name="connsiteX7" fmla="*/ 0 w 474348"/>
                    <a:gd name="connsiteY7" fmla="*/ 688181 h 688181"/>
                    <a:gd name="connsiteX8" fmla="*/ 0 w 474348"/>
                    <a:gd name="connsiteY8" fmla="*/ 688181 h 688181"/>
                    <a:gd name="connsiteX9" fmla="*/ 0 w 474348"/>
                    <a:gd name="connsiteY9" fmla="*/ 235566 h 688181"/>
                    <a:gd name="connsiteX10" fmla="*/ 192704 w 474348"/>
                    <a:gd name="connsiteY10" fmla="*/ 42862 h 688181"/>
                    <a:gd name="connsiteX0" fmla="*/ 192704 w 474348"/>
                    <a:gd name="connsiteY0" fmla="*/ 23812 h 669131"/>
                    <a:gd name="connsiteX1" fmla="*/ 265690 w 474348"/>
                    <a:gd name="connsiteY1" fmla="*/ 0 h 669131"/>
                    <a:gd name="connsiteX2" fmla="*/ 281644 w 474348"/>
                    <a:gd name="connsiteY2" fmla="*/ 23812 h 669131"/>
                    <a:gd name="connsiteX3" fmla="*/ 474348 w 474348"/>
                    <a:gd name="connsiteY3" fmla="*/ 216516 h 669131"/>
                    <a:gd name="connsiteX4" fmla="*/ 474348 w 474348"/>
                    <a:gd name="connsiteY4" fmla="*/ 669131 h 669131"/>
                    <a:gd name="connsiteX5" fmla="*/ 474348 w 474348"/>
                    <a:gd name="connsiteY5" fmla="*/ 669131 h 669131"/>
                    <a:gd name="connsiteX6" fmla="*/ 248129 w 474348"/>
                    <a:gd name="connsiteY6" fmla="*/ 669131 h 669131"/>
                    <a:gd name="connsiteX7" fmla="*/ 0 w 474348"/>
                    <a:gd name="connsiteY7" fmla="*/ 669131 h 669131"/>
                    <a:gd name="connsiteX8" fmla="*/ 0 w 474348"/>
                    <a:gd name="connsiteY8" fmla="*/ 669131 h 669131"/>
                    <a:gd name="connsiteX9" fmla="*/ 0 w 474348"/>
                    <a:gd name="connsiteY9" fmla="*/ 216516 h 669131"/>
                    <a:gd name="connsiteX10" fmla="*/ 192704 w 474348"/>
                    <a:gd name="connsiteY10" fmla="*/ 23812 h 669131"/>
                    <a:gd name="connsiteX0" fmla="*/ 192704 w 474348"/>
                    <a:gd name="connsiteY0" fmla="*/ 23812 h 669131"/>
                    <a:gd name="connsiteX1" fmla="*/ 265690 w 474348"/>
                    <a:gd name="connsiteY1" fmla="*/ 0 h 669131"/>
                    <a:gd name="connsiteX2" fmla="*/ 281644 w 474348"/>
                    <a:gd name="connsiteY2" fmla="*/ 23812 h 669131"/>
                    <a:gd name="connsiteX3" fmla="*/ 474348 w 474348"/>
                    <a:gd name="connsiteY3" fmla="*/ 216516 h 669131"/>
                    <a:gd name="connsiteX4" fmla="*/ 474348 w 474348"/>
                    <a:gd name="connsiteY4" fmla="*/ 669131 h 669131"/>
                    <a:gd name="connsiteX5" fmla="*/ 474348 w 474348"/>
                    <a:gd name="connsiteY5" fmla="*/ 669131 h 669131"/>
                    <a:gd name="connsiteX6" fmla="*/ 248129 w 474348"/>
                    <a:gd name="connsiteY6" fmla="*/ 669131 h 669131"/>
                    <a:gd name="connsiteX7" fmla="*/ 0 w 474348"/>
                    <a:gd name="connsiteY7" fmla="*/ 669131 h 669131"/>
                    <a:gd name="connsiteX8" fmla="*/ 0 w 474348"/>
                    <a:gd name="connsiteY8" fmla="*/ 669131 h 669131"/>
                    <a:gd name="connsiteX9" fmla="*/ 0 w 474348"/>
                    <a:gd name="connsiteY9" fmla="*/ 216516 h 669131"/>
                    <a:gd name="connsiteX10" fmla="*/ 192704 w 474348"/>
                    <a:gd name="connsiteY10" fmla="*/ 23812 h 669131"/>
                    <a:gd name="connsiteX0" fmla="*/ 192704 w 474348"/>
                    <a:gd name="connsiteY0" fmla="*/ 23812 h 669131"/>
                    <a:gd name="connsiteX1" fmla="*/ 265690 w 474348"/>
                    <a:gd name="connsiteY1" fmla="*/ 0 h 669131"/>
                    <a:gd name="connsiteX2" fmla="*/ 281644 w 474348"/>
                    <a:gd name="connsiteY2" fmla="*/ 23812 h 669131"/>
                    <a:gd name="connsiteX3" fmla="*/ 474348 w 474348"/>
                    <a:gd name="connsiteY3" fmla="*/ 216516 h 669131"/>
                    <a:gd name="connsiteX4" fmla="*/ 474348 w 474348"/>
                    <a:gd name="connsiteY4" fmla="*/ 669131 h 669131"/>
                    <a:gd name="connsiteX5" fmla="*/ 474348 w 474348"/>
                    <a:gd name="connsiteY5" fmla="*/ 669131 h 669131"/>
                    <a:gd name="connsiteX6" fmla="*/ 248129 w 474348"/>
                    <a:gd name="connsiteY6" fmla="*/ 669131 h 669131"/>
                    <a:gd name="connsiteX7" fmla="*/ 0 w 474348"/>
                    <a:gd name="connsiteY7" fmla="*/ 669131 h 669131"/>
                    <a:gd name="connsiteX8" fmla="*/ 0 w 474348"/>
                    <a:gd name="connsiteY8" fmla="*/ 669131 h 669131"/>
                    <a:gd name="connsiteX9" fmla="*/ 0 w 474348"/>
                    <a:gd name="connsiteY9" fmla="*/ 216516 h 669131"/>
                    <a:gd name="connsiteX10" fmla="*/ 192704 w 474348"/>
                    <a:gd name="connsiteY10" fmla="*/ 23812 h 669131"/>
                    <a:gd name="connsiteX0" fmla="*/ 192704 w 474348"/>
                    <a:gd name="connsiteY0" fmla="*/ 23812 h 669131"/>
                    <a:gd name="connsiteX1" fmla="*/ 265690 w 474348"/>
                    <a:gd name="connsiteY1" fmla="*/ 0 h 669131"/>
                    <a:gd name="connsiteX2" fmla="*/ 314250 w 474348"/>
                    <a:gd name="connsiteY2" fmla="*/ 24047 h 669131"/>
                    <a:gd name="connsiteX3" fmla="*/ 474348 w 474348"/>
                    <a:gd name="connsiteY3" fmla="*/ 216516 h 669131"/>
                    <a:gd name="connsiteX4" fmla="*/ 474348 w 474348"/>
                    <a:gd name="connsiteY4" fmla="*/ 669131 h 669131"/>
                    <a:gd name="connsiteX5" fmla="*/ 474348 w 474348"/>
                    <a:gd name="connsiteY5" fmla="*/ 669131 h 669131"/>
                    <a:gd name="connsiteX6" fmla="*/ 248129 w 474348"/>
                    <a:gd name="connsiteY6" fmla="*/ 669131 h 669131"/>
                    <a:gd name="connsiteX7" fmla="*/ 0 w 474348"/>
                    <a:gd name="connsiteY7" fmla="*/ 669131 h 669131"/>
                    <a:gd name="connsiteX8" fmla="*/ 0 w 474348"/>
                    <a:gd name="connsiteY8" fmla="*/ 669131 h 669131"/>
                    <a:gd name="connsiteX9" fmla="*/ 0 w 474348"/>
                    <a:gd name="connsiteY9" fmla="*/ 216516 h 669131"/>
                    <a:gd name="connsiteX10" fmla="*/ 192704 w 474348"/>
                    <a:gd name="connsiteY10" fmla="*/ 23812 h 669131"/>
                    <a:gd name="connsiteX0" fmla="*/ 192704 w 474348"/>
                    <a:gd name="connsiteY0" fmla="*/ 23812 h 669131"/>
                    <a:gd name="connsiteX1" fmla="*/ 265690 w 474348"/>
                    <a:gd name="connsiteY1" fmla="*/ 0 h 669131"/>
                    <a:gd name="connsiteX2" fmla="*/ 314250 w 474348"/>
                    <a:gd name="connsiteY2" fmla="*/ 24047 h 669131"/>
                    <a:gd name="connsiteX3" fmla="*/ 474348 w 474348"/>
                    <a:gd name="connsiteY3" fmla="*/ 216516 h 669131"/>
                    <a:gd name="connsiteX4" fmla="*/ 474348 w 474348"/>
                    <a:gd name="connsiteY4" fmla="*/ 669131 h 669131"/>
                    <a:gd name="connsiteX5" fmla="*/ 474348 w 474348"/>
                    <a:gd name="connsiteY5" fmla="*/ 669131 h 669131"/>
                    <a:gd name="connsiteX6" fmla="*/ 248129 w 474348"/>
                    <a:gd name="connsiteY6" fmla="*/ 669131 h 669131"/>
                    <a:gd name="connsiteX7" fmla="*/ 0 w 474348"/>
                    <a:gd name="connsiteY7" fmla="*/ 669131 h 669131"/>
                    <a:gd name="connsiteX8" fmla="*/ 0 w 474348"/>
                    <a:gd name="connsiteY8" fmla="*/ 669131 h 669131"/>
                    <a:gd name="connsiteX9" fmla="*/ 0 w 474348"/>
                    <a:gd name="connsiteY9" fmla="*/ 216516 h 669131"/>
                    <a:gd name="connsiteX10" fmla="*/ 192704 w 474348"/>
                    <a:gd name="connsiteY10" fmla="*/ 23812 h 669131"/>
                    <a:gd name="connsiteX0" fmla="*/ 192704 w 474348"/>
                    <a:gd name="connsiteY0" fmla="*/ 23812 h 669131"/>
                    <a:gd name="connsiteX1" fmla="*/ 265690 w 474348"/>
                    <a:gd name="connsiteY1" fmla="*/ 0 h 669131"/>
                    <a:gd name="connsiteX2" fmla="*/ 314250 w 474348"/>
                    <a:gd name="connsiteY2" fmla="*/ 24047 h 669131"/>
                    <a:gd name="connsiteX3" fmla="*/ 474348 w 474348"/>
                    <a:gd name="connsiteY3" fmla="*/ 216516 h 669131"/>
                    <a:gd name="connsiteX4" fmla="*/ 474348 w 474348"/>
                    <a:gd name="connsiteY4" fmla="*/ 669131 h 669131"/>
                    <a:gd name="connsiteX5" fmla="*/ 474348 w 474348"/>
                    <a:gd name="connsiteY5" fmla="*/ 669131 h 669131"/>
                    <a:gd name="connsiteX6" fmla="*/ 248129 w 474348"/>
                    <a:gd name="connsiteY6" fmla="*/ 669131 h 669131"/>
                    <a:gd name="connsiteX7" fmla="*/ 0 w 474348"/>
                    <a:gd name="connsiteY7" fmla="*/ 669131 h 669131"/>
                    <a:gd name="connsiteX8" fmla="*/ 0 w 474348"/>
                    <a:gd name="connsiteY8" fmla="*/ 669131 h 669131"/>
                    <a:gd name="connsiteX9" fmla="*/ 0 w 474348"/>
                    <a:gd name="connsiteY9" fmla="*/ 216516 h 669131"/>
                    <a:gd name="connsiteX10" fmla="*/ 192704 w 474348"/>
                    <a:gd name="connsiteY10" fmla="*/ 23812 h 669131"/>
                    <a:gd name="connsiteX0" fmla="*/ 174282 w 474348"/>
                    <a:gd name="connsiteY0" fmla="*/ 23596 h 669131"/>
                    <a:gd name="connsiteX1" fmla="*/ 265690 w 474348"/>
                    <a:gd name="connsiteY1" fmla="*/ 0 h 669131"/>
                    <a:gd name="connsiteX2" fmla="*/ 314250 w 474348"/>
                    <a:gd name="connsiteY2" fmla="*/ 24047 h 669131"/>
                    <a:gd name="connsiteX3" fmla="*/ 474348 w 474348"/>
                    <a:gd name="connsiteY3" fmla="*/ 216516 h 669131"/>
                    <a:gd name="connsiteX4" fmla="*/ 474348 w 474348"/>
                    <a:gd name="connsiteY4" fmla="*/ 669131 h 669131"/>
                    <a:gd name="connsiteX5" fmla="*/ 474348 w 474348"/>
                    <a:gd name="connsiteY5" fmla="*/ 669131 h 669131"/>
                    <a:gd name="connsiteX6" fmla="*/ 248129 w 474348"/>
                    <a:gd name="connsiteY6" fmla="*/ 669131 h 669131"/>
                    <a:gd name="connsiteX7" fmla="*/ 0 w 474348"/>
                    <a:gd name="connsiteY7" fmla="*/ 669131 h 669131"/>
                    <a:gd name="connsiteX8" fmla="*/ 0 w 474348"/>
                    <a:gd name="connsiteY8" fmla="*/ 669131 h 669131"/>
                    <a:gd name="connsiteX9" fmla="*/ 0 w 474348"/>
                    <a:gd name="connsiteY9" fmla="*/ 216516 h 669131"/>
                    <a:gd name="connsiteX10" fmla="*/ 174282 w 474348"/>
                    <a:gd name="connsiteY10" fmla="*/ 23596 h 669131"/>
                    <a:gd name="connsiteX0" fmla="*/ 174282 w 474348"/>
                    <a:gd name="connsiteY0" fmla="*/ 24619 h 670154"/>
                    <a:gd name="connsiteX1" fmla="*/ 216121 w 474348"/>
                    <a:gd name="connsiteY1" fmla="*/ 0 h 670154"/>
                    <a:gd name="connsiteX2" fmla="*/ 314250 w 474348"/>
                    <a:gd name="connsiteY2" fmla="*/ 25070 h 670154"/>
                    <a:gd name="connsiteX3" fmla="*/ 474348 w 474348"/>
                    <a:gd name="connsiteY3" fmla="*/ 217539 h 670154"/>
                    <a:gd name="connsiteX4" fmla="*/ 474348 w 474348"/>
                    <a:gd name="connsiteY4" fmla="*/ 670154 h 670154"/>
                    <a:gd name="connsiteX5" fmla="*/ 474348 w 474348"/>
                    <a:gd name="connsiteY5" fmla="*/ 670154 h 670154"/>
                    <a:gd name="connsiteX6" fmla="*/ 248129 w 474348"/>
                    <a:gd name="connsiteY6" fmla="*/ 670154 h 670154"/>
                    <a:gd name="connsiteX7" fmla="*/ 0 w 474348"/>
                    <a:gd name="connsiteY7" fmla="*/ 670154 h 670154"/>
                    <a:gd name="connsiteX8" fmla="*/ 0 w 474348"/>
                    <a:gd name="connsiteY8" fmla="*/ 670154 h 670154"/>
                    <a:gd name="connsiteX9" fmla="*/ 0 w 474348"/>
                    <a:gd name="connsiteY9" fmla="*/ 217539 h 670154"/>
                    <a:gd name="connsiteX10" fmla="*/ 174282 w 474348"/>
                    <a:gd name="connsiteY10" fmla="*/ 24619 h 670154"/>
                    <a:gd name="connsiteX0" fmla="*/ 174282 w 474348"/>
                    <a:gd name="connsiteY0" fmla="*/ 24619 h 670154"/>
                    <a:gd name="connsiteX1" fmla="*/ 216121 w 474348"/>
                    <a:gd name="connsiteY1" fmla="*/ 0 h 670154"/>
                    <a:gd name="connsiteX2" fmla="*/ 314250 w 474348"/>
                    <a:gd name="connsiteY2" fmla="*/ 25070 h 670154"/>
                    <a:gd name="connsiteX3" fmla="*/ 474348 w 474348"/>
                    <a:gd name="connsiteY3" fmla="*/ 217539 h 670154"/>
                    <a:gd name="connsiteX4" fmla="*/ 474348 w 474348"/>
                    <a:gd name="connsiteY4" fmla="*/ 670154 h 670154"/>
                    <a:gd name="connsiteX5" fmla="*/ 474348 w 474348"/>
                    <a:gd name="connsiteY5" fmla="*/ 670154 h 670154"/>
                    <a:gd name="connsiteX6" fmla="*/ 248129 w 474348"/>
                    <a:gd name="connsiteY6" fmla="*/ 670154 h 670154"/>
                    <a:gd name="connsiteX7" fmla="*/ 0 w 474348"/>
                    <a:gd name="connsiteY7" fmla="*/ 670154 h 670154"/>
                    <a:gd name="connsiteX8" fmla="*/ 0 w 474348"/>
                    <a:gd name="connsiteY8" fmla="*/ 670154 h 670154"/>
                    <a:gd name="connsiteX9" fmla="*/ 0 w 474348"/>
                    <a:gd name="connsiteY9" fmla="*/ 217539 h 670154"/>
                    <a:gd name="connsiteX10" fmla="*/ 174282 w 474348"/>
                    <a:gd name="connsiteY10" fmla="*/ 24619 h 670154"/>
                    <a:gd name="connsiteX0" fmla="*/ 174282 w 474348"/>
                    <a:gd name="connsiteY0" fmla="*/ 24619 h 670154"/>
                    <a:gd name="connsiteX1" fmla="*/ 216121 w 474348"/>
                    <a:gd name="connsiteY1" fmla="*/ 0 h 670154"/>
                    <a:gd name="connsiteX2" fmla="*/ 314250 w 474348"/>
                    <a:gd name="connsiteY2" fmla="*/ 25070 h 670154"/>
                    <a:gd name="connsiteX3" fmla="*/ 474348 w 474348"/>
                    <a:gd name="connsiteY3" fmla="*/ 217539 h 670154"/>
                    <a:gd name="connsiteX4" fmla="*/ 474348 w 474348"/>
                    <a:gd name="connsiteY4" fmla="*/ 670154 h 670154"/>
                    <a:gd name="connsiteX5" fmla="*/ 474348 w 474348"/>
                    <a:gd name="connsiteY5" fmla="*/ 670154 h 670154"/>
                    <a:gd name="connsiteX6" fmla="*/ 248129 w 474348"/>
                    <a:gd name="connsiteY6" fmla="*/ 670154 h 670154"/>
                    <a:gd name="connsiteX7" fmla="*/ 0 w 474348"/>
                    <a:gd name="connsiteY7" fmla="*/ 670154 h 670154"/>
                    <a:gd name="connsiteX8" fmla="*/ 0 w 474348"/>
                    <a:gd name="connsiteY8" fmla="*/ 670154 h 670154"/>
                    <a:gd name="connsiteX9" fmla="*/ 0 w 474348"/>
                    <a:gd name="connsiteY9" fmla="*/ 217539 h 670154"/>
                    <a:gd name="connsiteX10" fmla="*/ 174282 w 474348"/>
                    <a:gd name="connsiteY10" fmla="*/ 24619 h 670154"/>
                    <a:gd name="connsiteX0" fmla="*/ 174282 w 474348"/>
                    <a:gd name="connsiteY0" fmla="*/ 24619 h 670154"/>
                    <a:gd name="connsiteX1" fmla="*/ 216121 w 474348"/>
                    <a:gd name="connsiteY1" fmla="*/ 0 h 670154"/>
                    <a:gd name="connsiteX2" fmla="*/ 314250 w 474348"/>
                    <a:gd name="connsiteY2" fmla="*/ 25070 h 670154"/>
                    <a:gd name="connsiteX3" fmla="*/ 474348 w 474348"/>
                    <a:gd name="connsiteY3" fmla="*/ 217539 h 670154"/>
                    <a:gd name="connsiteX4" fmla="*/ 474348 w 474348"/>
                    <a:gd name="connsiteY4" fmla="*/ 670154 h 670154"/>
                    <a:gd name="connsiteX5" fmla="*/ 474348 w 474348"/>
                    <a:gd name="connsiteY5" fmla="*/ 670154 h 670154"/>
                    <a:gd name="connsiteX6" fmla="*/ 248129 w 474348"/>
                    <a:gd name="connsiteY6" fmla="*/ 670154 h 670154"/>
                    <a:gd name="connsiteX7" fmla="*/ 0 w 474348"/>
                    <a:gd name="connsiteY7" fmla="*/ 670154 h 670154"/>
                    <a:gd name="connsiteX8" fmla="*/ 0 w 474348"/>
                    <a:gd name="connsiteY8" fmla="*/ 670154 h 670154"/>
                    <a:gd name="connsiteX9" fmla="*/ 0 w 474348"/>
                    <a:gd name="connsiteY9" fmla="*/ 217539 h 670154"/>
                    <a:gd name="connsiteX10" fmla="*/ 174282 w 474348"/>
                    <a:gd name="connsiteY10" fmla="*/ 24619 h 670154"/>
                    <a:gd name="connsiteX0" fmla="*/ 148557 w 474348"/>
                    <a:gd name="connsiteY0" fmla="*/ 27264 h 670154"/>
                    <a:gd name="connsiteX1" fmla="*/ 216121 w 474348"/>
                    <a:gd name="connsiteY1" fmla="*/ 0 h 670154"/>
                    <a:gd name="connsiteX2" fmla="*/ 314250 w 474348"/>
                    <a:gd name="connsiteY2" fmla="*/ 25070 h 670154"/>
                    <a:gd name="connsiteX3" fmla="*/ 474348 w 474348"/>
                    <a:gd name="connsiteY3" fmla="*/ 217539 h 670154"/>
                    <a:gd name="connsiteX4" fmla="*/ 474348 w 474348"/>
                    <a:gd name="connsiteY4" fmla="*/ 670154 h 670154"/>
                    <a:gd name="connsiteX5" fmla="*/ 474348 w 474348"/>
                    <a:gd name="connsiteY5" fmla="*/ 670154 h 670154"/>
                    <a:gd name="connsiteX6" fmla="*/ 248129 w 474348"/>
                    <a:gd name="connsiteY6" fmla="*/ 670154 h 670154"/>
                    <a:gd name="connsiteX7" fmla="*/ 0 w 474348"/>
                    <a:gd name="connsiteY7" fmla="*/ 670154 h 670154"/>
                    <a:gd name="connsiteX8" fmla="*/ 0 w 474348"/>
                    <a:gd name="connsiteY8" fmla="*/ 670154 h 670154"/>
                    <a:gd name="connsiteX9" fmla="*/ 0 w 474348"/>
                    <a:gd name="connsiteY9" fmla="*/ 217539 h 670154"/>
                    <a:gd name="connsiteX10" fmla="*/ 148557 w 474348"/>
                    <a:gd name="connsiteY10" fmla="*/ 27264 h 670154"/>
                    <a:gd name="connsiteX0" fmla="*/ 148557 w 474348"/>
                    <a:gd name="connsiteY0" fmla="*/ 20950 h 663840"/>
                    <a:gd name="connsiteX1" fmla="*/ 214238 w 474348"/>
                    <a:gd name="connsiteY1" fmla="*/ 0 h 663840"/>
                    <a:gd name="connsiteX2" fmla="*/ 314250 w 474348"/>
                    <a:gd name="connsiteY2" fmla="*/ 18756 h 663840"/>
                    <a:gd name="connsiteX3" fmla="*/ 474348 w 474348"/>
                    <a:gd name="connsiteY3" fmla="*/ 211225 h 663840"/>
                    <a:gd name="connsiteX4" fmla="*/ 474348 w 474348"/>
                    <a:gd name="connsiteY4" fmla="*/ 663840 h 663840"/>
                    <a:gd name="connsiteX5" fmla="*/ 474348 w 474348"/>
                    <a:gd name="connsiteY5" fmla="*/ 663840 h 663840"/>
                    <a:gd name="connsiteX6" fmla="*/ 248129 w 474348"/>
                    <a:gd name="connsiteY6" fmla="*/ 663840 h 663840"/>
                    <a:gd name="connsiteX7" fmla="*/ 0 w 474348"/>
                    <a:gd name="connsiteY7" fmla="*/ 663840 h 663840"/>
                    <a:gd name="connsiteX8" fmla="*/ 0 w 474348"/>
                    <a:gd name="connsiteY8" fmla="*/ 663840 h 663840"/>
                    <a:gd name="connsiteX9" fmla="*/ 0 w 474348"/>
                    <a:gd name="connsiteY9" fmla="*/ 211225 h 663840"/>
                    <a:gd name="connsiteX10" fmla="*/ 148557 w 474348"/>
                    <a:gd name="connsiteY10" fmla="*/ 20950 h 663840"/>
                    <a:gd name="connsiteX0" fmla="*/ 148557 w 474348"/>
                    <a:gd name="connsiteY0" fmla="*/ 20950 h 663840"/>
                    <a:gd name="connsiteX1" fmla="*/ 214238 w 474348"/>
                    <a:gd name="connsiteY1" fmla="*/ 0 h 663840"/>
                    <a:gd name="connsiteX2" fmla="*/ 314250 w 474348"/>
                    <a:gd name="connsiteY2" fmla="*/ 18756 h 663840"/>
                    <a:gd name="connsiteX3" fmla="*/ 474348 w 474348"/>
                    <a:gd name="connsiteY3" fmla="*/ 211225 h 663840"/>
                    <a:gd name="connsiteX4" fmla="*/ 474348 w 474348"/>
                    <a:gd name="connsiteY4" fmla="*/ 663840 h 663840"/>
                    <a:gd name="connsiteX5" fmla="*/ 474348 w 474348"/>
                    <a:gd name="connsiteY5" fmla="*/ 663840 h 663840"/>
                    <a:gd name="connsiteX6" fmla="*/ 248129 w 474348"/>
                    <a:gd name="connsiteY6" fmla="*/ 663840 h 663840"/>
                    <a:gd name="connsiteX7" fmla="*/ 0 w 474348"/>
                    <a:gd name="connsiteY7" fmla="*/ 663840 h 663840"/>
                    <a:gd name="connsiteX8" fmla="*/ 0 w 474348"/>
                    <a:gd name="connsiteY8" fmla="*/ 663840 h 663840"/>
                    <a:gd name="connsiteX9" fmla="*/ 0 w 474348"/>
                    <a:gd name="connsiteY9" fmla="*/ 211225 h 663840"/>
                    <a:gd name="connsiteX10" fmla="*/ 148557 w 474348"/>
                    <a:gd name="connsiteY10" fmla="*/ 20950 h 663840"/>
                    <a:gd name="connsiteX0" fmla="*/ 148557 w 474348"/>
                    <a:gd name="connsiteY0" fmla="*/ 20950 h 663840"/>
                    <a:gd name="connsiteX1" fmla="*/ 214238 w 474348"/>
                    <a:gd name="connsiteY1" fmla="*/ 0 h 663840"/>
                    <a:gd name="connsiteX2" fmla="*/ 314250 w 474348"/>
                    <a:gd name="connsiteY2" fmla="*/ 18756 h 663840"/>
                    <a:gd name="connsiteX3" fmla="*/ 474348 w 474348"/>
                    <a:gd name="connsiteY3" fmla="*/ 211225 h 663840"/>
                    <a:gd name="connsiteX4" fmla="*/ 474348 w 474348"/>
                    <a:gd name="connsiteY4" fmla="*/ 663840 h 663840"/>
                    <a:gd name="connsiteX5" fmla="*/ 474348 w 474348"/>
                    <a:gd name="connsiteY5" fmla="*/ 663840 h 663840"/>
                    <a:gd name="connsiteX6" fmla="*/ 248129 w 474348"/>
                    <a:gd name="connsiteY6" fmla="*/ 663840 h 663840"/>
                    <a:gd name="connsiteX7" fmla="*/ 0 w 474348"/>
                    <a:gd name="connsiteY7" fmla="*/ 663840 h 663840"/>
                    <a:gd name="connsiteX8" fmla="*/ 0 w 474348"/>
                    <a:gd name="connsiteY8" fmla="*/ 663840 h 663840"/>
                    <a:gd name="connsiteX9" fmla="*/ 0 w 474348"/>
                    <a:gd name="connsiteY9" fmla="*/ 211225 h 663840"/>
                    <a:gd name="connsiteX10" fmla="*/ 148557 w 474348"/>
                    <a:gd name="connsiteY10" fmla="*/ 20950 h 663840"/>
                    <a:gd name="connsiteX0" fmla="*/ 144178 w 474348"/>
                    <a:gd name="connsiteY0" fmla="*/ 22667 h 663840"/>
                    <a:gd name="connsiteX1" fmla="*/ 214238 w 474348"/>
                    <a:gd name="connsiteY1" fmla="*/ 0 h 663840"/>
                    <a:gd name="connsiteX2" fmla="*/ 314250 w 474348"/>
                    <a:gd name="connsiteY2" fmla="*/ 18756 h 663840"/>
                    <a:gd name="connsiteX3" fmla="*/ 474348 w 474348"/>
                    <a:gd name="connsiteY3" fmla="*/ 211225 h 663840"/>
                    <a:gd name="connsiteX4" fmla="*/ 474348 w 474348"/>
                    <a:gd name="connsiteY4" fmla="*/ 663840 h 663840"/>
                    <a:gd name="connsiteX5" fmla="*/ 474348 w 474348"/>
                    <a:gd name="connsiteY5" fmla="*/ 663840 h 663840"/>
                    <a:gd name="connsiteX6" fmla="*/ 248129 w 474348"/>
                    <a:gd name="connsiteY6" fmla="*/ 663840 h 663840"/>
                    <a:gd name="connsiteX7" fmla="*/ 0 w 474348"/>
                    <a:gd name="connsiteY7" fmla="*/ 663840 h 663840"/>
                    <a:gd name="connsiteX8" fmla="*/ 0 w 474348"/>
                    <a:gd name="connsiteY8" fmla="*/ 663840 h 663840"/>
                    <a:gd name="connsiteX9" fmla="*/ 0 w 474348"/>
                    <a:gd name="connsiteY9" fmla="*/ 211225 h 663840"/>
                    <a:gd name="connsiteX10" fmla="*/ 144178 w 474348"/>
                    <a:gd name="connsiteY10" fmla="*/ 22667 h 663840"/>
                    <a:gd name="connsiteX0" fmla="*/ 144178 w 474348"/>
                    <a:gd name="connsiteY0" fmla="*/ 22667 h 663840"/>
                    <a:gd name="connsiteX1" fmla="*/ 214238 w 474348"/>
                    <a:gd name="connsiteY1" fmla="*/ 0 h 663840"/>
                    <a:gd name="connsiteX2" fmla="*/ 314250 w 474348"/>
                    <a:gd name="connsiteY2" fmla="*/ 18756 h 663840"/>
                    <a:gd name="connsiteX3" fmla="*/ 474348 w 474348"/>
                    <a:gd name="connsiteY3" fmla="*/ 211225 h 663840"/>
                    <a:gd name="connsiteX4" fmla="*/ 474348 w 474348"/>
                    <a:gd name="connsiteY4" fmla="*/ 663840 h 663840"/>
                    <a:gd name="connsiteX5" fmla="*/ 474348 w 474348"/>
                    <a:gd name="connsiteY5" fmla="*/ 663840 h 663840"/>
                    <a:gd name="connsiteX6" fmla="*/ 248129 w 474348"/>
                    <a:gd name="connsiteY6" fmla="*/ 663840 h 663840"/>
                    <a:gd name="connsiteX7" fmla="*/ 0 w 474348"/>
                    <a:gd name="connsiteY7" fmla="*/ 663840 h 663840"/>
                    <a:gd name="connsiteX8" fmla="*/ 0 w 474348"/>
                    <a:gd name="connsiteY8" fmla="*/ 663840 h 663840"/>
                    <a:gd name="connsiteX9" fmla="*/ 0 w 474348"/>
                    <a:gd name="connsiteY9" fmla="*/ 211225 h 663840"/>
                    <a:gd name="connsiteX10" fmla="*/ 144178 w 474348"/>
                    <a:gd name="connsiteY10" fmla="*/ 22667 h 663840"/>
                    <a:gd name="connsiteX0" fmla="*/ 144178 w 474348"/>
                    <a:gd name="connsiteY0" fmla="*/ 22667 h 663840"/>
                    <a:gd name="connsiteX1" fmla="*/ 214238 w 474348"/>
                    <a:gd name="connsiteY1" fmla="*/ 0 h 663840"/>
                    <a:gd name="connsiteX2" fmla="*/ 314250 w 474348"/>
                    <a:gd name="connsiteY2" fmla="*/ 18756 h 663840"/>
                    <a:gd name="connsiteX3" fmla="*/ 474348 w 474348"/>
                    <a:gd name="connsiteY3" fmla="*/ 211225 h 663840"/>
                    <a:gd name="connsiteX4" fmla="*/ 474348 w 474348"/>
                    <a:gd name="connsiteY4" fmla="*/ 663840 h 663840"/>
                    <a:gd name="connsiteX5" fmla="*/ 474348 w 474348"/>
                    <a:gd name="connsiteY5" fmla="*/ 663840 h 663840"/>
                    <a:gd name="connsiteX6" fmla="*/ 248129 w 474348"/>
                    <a:gd name="connsiteY6" fmla="*/ 663840 h 663840"/>
                    <a:gd name="connsiteX7" fmla="*/ 0 w 474348"/>
                    <a:gd name="connsiteY7" fmla="*/ 663840 h 663840"/>
                    <a:gd name="connsiteX8" fmla="*/ 0 w 474348"/>
                    <a:gd name="connsiteY8" fmla="*/ 663840 h 663840"/>
                    <a:gd name="connsiteX9" fmla="*/ 0 w 474348"/>
                    <a:gd name="connsiteY9" fmla="*/ 211225 h 663840"/>
                    <a:gd name="connsiteX10" fmla="*/ 144178 w 474348"/>
                    <a:gd name="connsiteY10" fmla="*/ 22667 h 663840"/>
                    <a:gd name="connsiteX0" fmla="*/ 144178 w 474348"/>
                    <a:gd name="connsiteY0" fmla="*/ 22667 h 663840"/>
                    <a:gd name="connsiteX1" fmla="*/ 214238 w 474348"/>
                    <a:gd name="connsiteY1" fmla="*/ 0 h 663840"/>
                    <a:gd name="connsiteX2" fmla="*/ 314250 w 474348"/>
                    <a:gd name="connsiteY2" fmla="*/ 18756 h 663840"/>
                    <a:gd name="connsiteX3" fmla="*/ 474348 w 474348"/>
                    <a:gd name="connsiteY3" fmla="*/ 211225 h 663840"/>
                    <a:gd name="connsiteX4" fmla="*/ 474348 w 474348"/>
                    <a:gd name="connsiteY4" fmla="*/ 663840 h 663840"/>
                    <a:gd name="connsiteX5" fmla="*/ 474348 w 474348"/>
                    <a:gd name="connsiteY5" fmla="*/ 663840 h 663840"/>
                    <a:gd name="connsiteX6" fmla="*/ 248129 w 474348"/>
                    <a:gd name="connsiteY6" fmla="*/ 663840 h 663840"/>
                    <a:gd name="connsiteX7" fmla="*/ 0 w 474348"/>
                    <a:gd name="connsiteY7" fmla="*/ 663840 h 663840"/>
                    <a:gd name="connsiteX8" fmla="*/ 0 w 474348"/>
                    <a:gd name="connsiteY8" fmla="*/ 663840 h 663840"/>
                    <a:gd name="connsiteX9" fmla="*/ 0 w 474348"/>
                    <a:gd name="connsiteY9" fmla="*/ 211225 h 663840"/>
                    <a:gd name="connsiteX10" fmla="*/ 144178 w 474348"/>
                    <a:gd name="connsiteY10" fmla="*/ 22667 h 6638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74348" h="663840">
                      <a:moveTo>
                        <a:pt x="144178" y="22667"/>
                      </a:moveTo>
                      <a:cubicBezTo>
                        <a:pt x="211732" y="-970"/>
                        <a:pt x="181869" y="7990"/>
                        <a:pt x="214238" y="0"/>
                      </a:cubicBezTo>
                      <a:cubicBezTo>
                        <a:pt x="259321" y="7224"/>
                        <a:pt x="221757" y="369"/>
                        <a:pt x="314250" y="18756"/>
                      </a:cubicBezTo>
                      <a:cubicBezTo>
                        <a:pt x="399877" y="51074"/>
                        <a:pt x="474348" y="104798"/>
                        <a:pt x="474348" y="211225"/>
                      </a:cubicBezTo>
                      <a:lnTo>
                        <a:pt x="474348" y="663840"/>
                      </a:lnTo>
                      <a:lnTo>
                        <a:pt x="474348" y="663840"/>
                      </a:lnTo>
                      <a:lnTo>
                        <a:pt x="248129" y="663840"/>
                      </a:lnTo>
                      <a:lnTo>
                        <a:pt x="0" y="663840"/>
                      </a:lnTo>
                      <a:lnTo>
                        <a:pt x="0" y="663840"/>
                      </a:lnTo>
                      <a:lnTo>
                        <a:pt x="0" y="211225"/>
                      </a:lnTo>
                      <a:cubicBezTo>
                        <a:pt x="0" y="104798"/>
                        <a:pt x="80700" y="56026"/>
                        <a:pt x="144178" y="22667"/>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200" name="Round Same Side Corner Rectangle 11"/>
                <p:cNvSpPr/>
                <p:nvPr/>
              </p:nvSpPr>
              <p:spPr>
                <a:xfrm rot="7140000">
                  <a:off x="4278989" y="1266737"/>
                  <a:ext cx="251846" cy="2632764"/>
                </a:xfrm>
                <a:custGeom>
                  <a:avLst/>
                  <a:gdLst>
                    <a:gd name="connsiteX0" fmla="*/ 192704 w 474348"/>
                    <a:gd name="connsiteY0" fmla="*/ 0 h 645319"/>
                    <a:gd name="connsiteX1" fmla="*/ 281644 w 474348"/>
                    <a:gd name="connsiteY1" fmla="*/ 0 h 645319"/>
                    <a:gd name="connsiteX2" fmla="*/ 474348 w 474348"/>
                    <a:gd name="connsiteY2" fmla="*/ 192704 h 645319"/>
                    <a:gd name="connsiteX3" fmla="*/ 474348 w 474348"/>
                    <a:gd name="connsiteY3" fmla="*/ 645319 h 645319"/>
                    <a:gd name="connsiteX4" fmla="*/ 474348 w 474348"/>
                    <a:gd name="connsiteY4" fmla="*/ 645319 h 645319"/>
                    <a:gd name="connsiteX5" fmla="*/ 0 w 474348"/>
                    <a:gd name="connsiteY5" fmla="*/ 645319 h 645319"/>
                    <a:gd name="connsiteX6" fmla="*/ 0 w 474348"/>
                    <a:gd name="connsiteY6" fmla="*/ 645319 h 645319"/>
                    <a:gd name="connsiteX7" fmla="*/ 0 w 474348"/>
                    <a:gd name="connsiteY7" fmla="*/ 192704 h 645319"/>
                    <a:gd name="connsiteX8" fmla="*/ 192704 w 474348"/>
                    <a:gd name="connsiteY8" fmla="*/ 0 h 645319"/>
                    <a:gd name="connsiteX0" fmla="*/ 192704 w 474348"/>
                    <a:gd name="connsiteY0" fmla="*/ 0 h 645319"/>
                    <a:gd name="connsiteX1" fmla="*/ 281644 w 474348"/>
                    <a:gd name="connsiteY1" fmla="*/ 0 h 645319"/>
                    <a:gd name="connsiteX2" fmla="*/ 474348 w 474348"/>
                    <a:gd name="connsiteY2" fmla="*/ 192704 h 645319"/>
                    <a:gd name="connsiteX3" fmla="*/ 474348 w 474348"/>
                    <a:gd name="connsiteY3" fmla="*/ 645319 h 645319"/>
                    <a:gd name="connsiteX4" fmla="*/ 474348 w 474348"/>
                    <a:gd name="connsiteY4" fmla="*/ 645319 h 645319"/>
                    <a:gd name="connsiteX5" fmla="*/ 248129 w 474348"/>
                    <a:gd name="connsiteY5" fmla="*/ 645319 h 645319"/>
                    <a:gd name="connsiteX6" fmla="*/ 0 w 474348"/>
                    <a:gd name="connsiteY6" fmla="*/ 645319 h 645319"/>
                    <a:gd name="connsiteX7" fmla="*/ 0 w 474348"/>
                    <a:gd name="connsiteY7" fmla="*/ 645319 h 645319"/>
                    <a:gd name="connsiteX8" fmla="*/ 0 w 474348"/>
                    <a:gd name="connsiteY8" fmla="*/ 192704 h 645319"/>
                    <a:gd name="connsiteX9" fmla="*/ 192704 w 474348"/>
                    <a:gd name="connsiteY9" fmla="*/ 0 h 645319"/>
                    <a:gd name="connsiteX0" fmla="*/ 192704 w 474348"/>
                    <a:gd name="connsiteY0" fmla="*/ 2381 h 647700"/>
                    <a:gd name="connsiteX1" fmla="*/ 240986 w 474348"/>
                    <a:gd name="connsiteY1" fmla="*/ 0 h 647700"/>
                    <a:gd name="connsiteX2" fmla="*/ 281644 w 474348"/>
                    <a:gd name="connsiteY2" fmla="*/ 2381 h 647700"/>
                    <a:gd name="connsiteX3" fmla="*/ 474348 w 474348"/>
                    <a:gd name="connsiteY3" fmla="*/ 195085 h 647700"/>
                    <a:gd name="connsiteX4" fmla="*/ 474348 w 474348"/>
                    <a:gd name="connsiteY4" fmla="*/ 647700 h 647700"/>
                    <a:gd name="connsiteX5" fmla="*/ 474348 w 474348"/>
                    <a:gd name="connsiteY5" fmla="*/ 647700 h 647700"/>
                    <a:gd name="connsiteX6" fmla="*/ 248129 w 474348"/>
                    <a:gd name="connsiteY6" fmla="*/ 647700 h 647700"/>
                    <a:gd name="connsiteX7" fmla="*/ 0 w 474348"/>
                    <a:gd name="connsiteY7" fmla="*/ 647700 h 647700"/>
                    <a:gd name="connsiteX8" fmla="*/ 0 w 474348"/>
                    <a:gd name="connsiteY8" fmla="*/ 647700 h 647700"/>
                    <a:gd name="connsiteX9" fmla="*/ 0 w 474348"/>
                    <a:gd name="connsiteY9" fmla="*/ 195085 h 647700"/>
                    <a:gd name="connsiteX10" fmla="*/ 192704 w 474348"/>
                    <a:gd name="connsiteY10" fmla="*/ 2381 h 647700"/>
                    <a:gd name="connsiteX0" fmla="*/ 192704 w 474348"/>
                    <a:gd name="connsiteY0" fmla="*/ 42862 h 688181"/>
                    <a:gd name="connsiteX1" fmla="*/ 240986 w 474348"/>
                    <a:gd name="connsiteY1" fmla="*/ 0 h 688181"/>
                    <a:gd name="connsiteX2" fmla="*/ 281644 w 474348"/>
                    <a:gd name="connsiteY2" fmla="*/ 42862 h 688181"/>
                    <a:gd name="connsiteX3" fmla="*/ 474348 w 474348"/>
                    <a:gd name="connsiteY3" fmla="*/ 235566 h 688181"/>
                    <a:gd name="connsiteX4" fmla="*/ 474348 w 474348"/>
                    <a:gd name="connsiteY4" fmla="*/ 688181 h 688181"/>
                    <a:gd name="connsiteX5" fmla="*/ 474348 w 474348"/>
                    <a:gd name="connsiteY5" fmla="*/ 688181 h 688181"/>
                    <a:gd name="connsiteX6" fmla="*/ 248129 w 474348"/>
                    <a:gd name="connsiteY6" fmla="*/ 688181 h 688181"/>
                    <a:gd name="connsiteX7" fmla="*/ 0 w 474348"/>
                    <a:gd name="connsiteY7" fmla="*/ 688181 h 688181"/>
                    <a:gd name="connsiteX8" fmla="*/ 0 w 474348"/>
                    <a:gd name="connsiteY8" fmla="*/ 688181 h 688181"/>
                    <a:gd name="connsiteX9" fmla="*/ 0 w 474348"/>
                    <a:gd name="connsiteY9" fmla="*/ 235566 h 688181"/>
                    <a:gd name="connsiteX10" fmla="*/ 192704 w 474348"/>
                    <a:gd name="connsiteY10" fmla="*/ 42862 h 688181"/>
                    <a:gd name="connsiteX0" fmla="*/ 192704 w 474348"/>
                    <a:gd name="connsiteY0" fmla="*/ 23812 h 669131"/>
                    <a:gd name="connsiteX1" fmla="*/ 265690 w 474348"/>
                    <a:gd name="connsiteY1" fmla="*/ 0 h 669131"/>
                    <a:gd name="connsiteX2" fmla="*/ 281644 w 474348"/>
                    <a:gd name="connsiteY2" fmla="*/ 23812 h 669131"/>
                    <a:gd name="connsiteX3" fmla="*/ 474348 w 474348"/>
                    <a:gd name="connsiteY3" fmla="*/ 216516 h 669131"/>
                    <a:gd name="connsiteX4" fmla="*/ 474348 w 474348"/>
                    <a:gd name="connsiteY4" fmla="*/ 669131 h 669131"/>
                    <a:gd name="connsiteX5" fmla="*/ 474348 w 474348"/>
                    <a:gd name="connsiteY5" fmla="*/ 669131 h 669131"/>
                    <a:gd name="connsiteX6" fmla="*/ 248129 w 474348"/>
                    <a:gd name="connsiteY6" fmla="*/ 669131 h 669131"/>
                    <a:gd name="connsiteX7" fmla="*/ 0 w 474348"/>
                    <a:gd name="connsiteY7" fmla="*/ 669131 h 669131"/>
                    <a:gd name="connsiteX8" fmla="*/ 0 w 474348"/>
                    <a:gd name="connsiteY8" fmla="*/ 669131 h 669131"/>
                    <a:gd name="connsiteX9" fmla="*/ 0 w 474348"/>
                    <a:gd name="connsiteY9" fmla="*/ 216516 h 669131"/>
                    <a:gd name="connsiteX10" fmla="*/ 192704 w 474348"/>
                    <a:gd name="connsiteY10" fmla="*/ 23812 h 669131"/>
                    <a:gd name="connsiteX0" fmla="*/ 192704 w 474348"/>
                    <a:gd name="connsiteY0" fmla="*/ 23812 h 669131"/>
                    <a:gd name="connsiteX1" fmla="*/ 265690 w 474348"/>
                    <a:gd name="connsiteY1" fmla="*/ 0 h 669131"/>
                    <a:gd name="connsiteX2" fmla="*/ 309530 w 474348"/>
                    <a:gd name="connsiteY2" fmla="*/ 23110 h 669131"/>
                    <a:gd name="connsiteX3" fmla="*/ 474348 w 474348"/>
                    <a:gd name="connsiteY3" fmla="*/ 216516 h 669131"/>
                    <a:gd name="connsiteX4" fmla="*/ 474348 w 474348"/>
                    <a:gd name="connsiteY4" fmla="*/ 669131 h 669131"/>
                    <a:gd name="connsiteX5" fmla="*/ 474348 w 474348"/>
                    <a:gd name="connsiteY5" fmla="*/ 669131 h 669131"/>
                    <a:gd name="connsiteX6" fmla="*/ 248129 w 474348"/>
                    <a:gd name="connsiteY6" fmla="*/ 669131 h 669131"/>
                    <a:gd name="connsiteX7" fmla="*/ 0 w 474348"/>
                    <a:gd name="connsiteY7" fmla="*/ 669131 h 669131"/>
                    <a:gd name="connsiteX8" fmla="*/ 0 w 474348"/>
                    <a:gd name="connsiteY8" fmla="*/ 669131 h 669131"/>
                    <a:gd name="connsiteX9" fmla="*/ 0 w 474348"/>
                    <a:gd name="connsiteY9" fmla="*/ 216516 h 669131"/>
                    <a:gd name="connsiteX10" fmla="*/ 192704 w 474348"/>
                    <a:gd name="connsiteY10" fmla="*/ 23812 h 669131"/>
                    <a:gd name="connsiteX0" fmla="*/ 192704 w 474348"/>
                    <a:gd name="connsiteY0" fmla="*/ 23812 h 669131"/>
                    <a:gd name="connsiteX1" fmla="*/ 265690 w 474348"/>
                    <a:gd name="connsiteY1" fmla="*/ 0 h 669131"/>
                    <a:gd name="connsiteX2" fmla="*/ 309530 w 474348"/>
                    <a:gd name="connsiteY2" fmla="*/ 23110 h 669131"/>
                    <a:gd name="connsiteX3" fmla="*/ 474348 w 474348"/>
                    <a:gd name="connsiteY3" fmla="*/ 216516 h 669131"/>
                    <a:gd name="connsiteX4" fmla="*/ 474348 w 474348"/>
                    <a:gd name="connsiteY4" fmla="*/ 669131 h 669131"/>
                    <a:gd name="connsiteX5" fmla="*/ 474348 w 474348"/>
                    <a:gd name="connsiteY5" fmla="*/ 669131 h 669131"/>
                    <a:gd name="connsiteX6" fmla="*/ 248129 w 474348"/>
                    <a:gd name="connsiteY6" fmla="*/ 669131 h 669131"/>
                    <a:gd name="connsiteX7" fmla="*/ 0 w 474348"/>
                    <a:gd name="connsiteY7" fmla="*/ 669131 h 669131"/>
                    <a:gd name="connsiteX8" fmla="*/ 0 w 474348"/>
                    <a:gd name="connsiteY8" fmla="*/ 669131 h 669131"/>
                    <a:gd name="connsiteX9" fmla="*/ 0 w 474348"/>
                    <a:gd name="connsiteY9" fmla="*/ 216516 h 669131"/>
                    <a:gd name="connsiteX10" fmla="*/ 192704 w 474348"/>
                    <a:gd name="connsiteY10" fmla="*/ 23812 h 669131"/>
                    <a:gd name="connsiteX0" fmla="*/ 192704 w 474348"/>
                    <a:gd name="connsiteY0" fmla="*/ 23812 h 669131"/>
                    <a:gd name="connsiteX1" fmla="*/ 265690 w 474348"/>
                    <a:gd name="connsiteY1" fmla="*/ 0 h 669131"/>
                    <a:gd name="connsiteX2" fmla="*/ 309530 w 474348"/>
                    <a:gd name="connsiteY2" fmla="*/ 23110 h 669131"/>
                    <a:gd name="connsiteX3" fmla="*/ 474348 w 474348"/>
                    <a:gd name="connsiteY3" fmla="*/ 216516 h 669131"/>
                    <a:gd name="connsiteX4" fmla="*/ 474348 w 474348"/>
                    <a:gd name="connsiteY4" fmla="*/ 669131 h 669131"/>
                    <a:gd name="connsiteX5" fmla="*/ 474348 w 474348"/>
                    <a:gd name="connsiteY5" fmla="*/ 669131 h 669131"/>
                    <a:gd name="connsiteX6" fmla="*/ 248129 w 474348"/>
                    <a:gd name="connsiteY6" fmla="*/ 669131 h 669131"/>
                    <a:gd name="connsiteX7" fmla="*/ 0 w 474348"/>
                    <a:gd name="connsiteY7" fmla="*/ 669131 h 669131"/>
                    <a:gd name="connsiteX8" fmla="*/ 0 w 474348"/>
                    <a:gd name="connsiteY8" fmla="*/ 669131 h 669131"/>
                    <a:gd name="connsiteX9" fmla="*/ 0 w 474348"/>
                    <a:gd name="connsiteY9" fmla="*/ 216516 h 669131"/>
                    <a:gd name="connsiteX10" fmla="*/ 192704 w 474348"/>
                    <a:gd name="connsiteY10" fmla="*/ 23812 h 669131"/>
                    <a:gd name="connsiteX0" fmla="*/ 192704 w 474348"/>
                    <a:gd name="connsiteY0" fmla="*/ 23812 h 669131"/>
                    <a:gd name="connsiteX1" fmla="*/ 265690 w 474348"/>
                    <a:gd name="connsiteY1" fmla="*/ 0 h 669131"/>
                    <a:gd name="connsiteX2" fmla="*/ 309530 w 474348"/>
                    <a:gd name="connsiteY2" fmla="*/ 23110 h 669131"/>
                    <a:gd name="connsiteX3" fmla="*/ 474348 w 474348"/>
                    <a:gd name="connsiteY3" fmla="*/ 216516 h 669131"/>
                    <a:gd name="connsiteX4" fmla="*/ 474348 w 474348"/>
                    <a:gd name="connsiteY4" fmla="*/ 669131 h 669131"/>
                    <a:gd name="connsiteX5" fmla="*/ 474348 w 474348"/>
                    <a:gd name="connsiteY5" fmla="*/ 669131 h 669131"/>
                    <a:gd name="connsiteX6" fmla="*/ 248129 w 474348"/>
                    <a:gd name="connsiteY6" fmla="*/ 669131 h 669131"/>
                    <a:gd name="connsiteX7" fmla="*/ 0 w 474348"/>
                    <a:gd name="connsiteY7" fmla="*/ 669131 h 669131"/>
                    <a:gd name="connsiteX8" fmla="*/ 0 w 474348"/>
                    <a:gd name="connsiteY8" fmla="*/ 669131 h 669131"/>
                    <a:gd name="connsiteX9" fmla="*/ 0 w 474348"/>
                    <a:gd name="connsiteY9" fmla="*/ 216516 h 669131"/>
                    <a:gd name="connsiteX10" fmla="*/ 192704 w 474348"/>
                    <a:gd name="connsiteY10" fmla="*/ 23812 h 6691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74348" h="669131">
                      <a:moveTo>
                        <a:pt x="192704" y="23812"/>
                      </a:moveTo>
                      <a:lnTo>
                        <a:pt x="265690" y="0"/>
                      </a:lnTo>
                      <a:cubicBezTo>
                        <a:pt x="271008" y="7937"/>
                        <a:pt x="275989" y="2061"/>
                        <a:pt x="309530" y="23110"/>
                      </a:cubicBezTo>
                      <a:cubicBezTo>
                        <a:pt x="387382" y="59846"/>
                        <a:pt x="474348" y="110089"/>
                        <a:pt x="474348" y="216516"/>
                      </a:cubicBezTo>
                      <a:lnTo>
                        <a:pt x="474348" y="669131"/>
                      </a:lnTo>
                      <a:lnTo>
                        <a:pt x="474348" y="669131"/>
                      </a:lnTo>
                      <a:lnTo>
                        <a:pt x="248129" y="669131"/>
                      </a:lnTo>
                      <a:lnTo>
                        <a:pt x="0" y="669131"/>
                      </a:lnTo>
                      <a:lnTo>
                        <a:pt x="0" y="669131"/>
                      </a:lnTo>
                      <a:lnTo>
                        <a:pt x="0" y="216516"/>
                      </a:lnTo>
                      <a:cubicBezTo>
                        <a:pt x="0" y="110089"/>
                        <a:pt x="135350" y="45744"/>
                        <a:pt x="192704" y="23812"/>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201" name="Oval 200"/>
                <p:cNvSpPr/>
                <p:nvPr/>
              </p:nvSpPr>
              <p:spPr>
                <a:xfrm>
                  <a:off x="2740926" y="1513161"/>
                  <a:ext cx="629631" cy="629631"/>
                </a:xfrm>
                <a:prstGeom prst="ellipse">
                  <a:avLst/>
                </a:prstGeom>
                <a:solidFill>
                  <a:schemeClr val="bg1"/>
                </a:solidFill>
                <a:ln w="508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grpSp>
          <p:nvGrpSpPr>
            <p:cNvPr id="202" name="Group 201"/>
            <p:cNvGrpSpPr/>
            <p:nvPr/>
          </p:nvGrpSpPr>
          <p:grpSpPr>
            <a:xfrm flipH="1">
              <a:off x="1529076" y="2240510"/>
              <a:ext cx="1244571" cy="1931440"/>
              <a:chOff x="274646" y="-1004072"/>
              <a:chExt cx="5446648" cy="8452622"/>
            </a:xfrm>
            <a:effectLst>
              <a:outerShdw blurRad="76200" dir="13500000" sy="23000" kx="1200000" algn="br" rotWithShape="0">
                <a:prstClr val="black">
                  <a:alpha val="20000"/>
                </a:prstClr>
              </a:outerShdw>
            </a:effectLst>
          </p:grpSpPr>
          <p:sp>
            <p:nvSpPr>
              <p:cNvPr id="203" name="Isosceles Triangle 202"/>
              <p:cNvSpPr/>
              <p:nvPr/>
            </p:nvSpPr>
            <p:spPr>
              <a:xfrm>
                <a:off x="2789660" y="1551279"/>
                <a:ext cx="575648" cy="5897271"/>
              </a:xfrm>
              <a:prstGeom prst="triangle">
                <a:avLst>
                  <a:gd name="adj" fmla="val 5330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04" name="Group 203"/>
              <p:cNvGrpSpPr/>
              <p:nvPr/>
            </p:nvGrpSpPr>
            <p:grpSpPr>
              <a:xfrm>
                <a:off x="274646" y="-1004072"/>
                <a:ext cx="5446648" cy="3713114"/>
                <a:chOff x="274646" y="-1004072"/>
                <a:chExt cx="5446648" cy="3713114"/>
              </a:xfrm>
            </p:grpSpPr>
            <p:sp>
              <p:nvSpPr>
                <p:cNvPr id="205" name="Round Same Side Corner Rectangle 11"/>
                <p:cNvSpPr/>
                <p:nvPr/>
              </p:nvSpPr>
              <p:spPr>
                <a:xfrm rot="240000">
                  <a:off x="3037776" y="-1004072"/>
                  <a:ext cx="251846" cy="2632765"/>
                </a:xfrm>
                <a:custGeom>
                  <a:avLst/>
                  <a:gdLst>
                    <a:gd name="connsiteX0" fmla="*/ 192704 w 474348"/>
                    <a:gd name="connsiteY0" fmla="*/ 0 h 645319"/>
                    <a:gd name="connsiteX1" fmla="*/ 281644 w 474348"/>
                    <a:gd name="connsiteY1" fmla="*/ 0 h 645319"/>
                    <a:gd name="connsiteX2" fmla="*/ 474348 w 474348"/>
                    <a:gd name="connsiteY2" fmla="*/ 192704 h 645319"/>
                    <a:gd name="connsiteX3" fmla="*/ 474348 w 474348"/>
                    <a:gd name="connsiteY3" fmla="*/ 645319 h 645319"/>
                    <a:gd name="connsiteX4" fmla="*/ 474348 w 474348"/>
                    <a:gd name="connsiteY4" fmla="*/ 645319 h 645319"/>
                    <a:gd name="connsiteX5" fmla="*/ 0 w 474348"/>
                    <a:gd name="connsiteY5" fmla="*/ 645319 h 645319"/>
                    <a:gd name="connsiteX6" fmla="*/ 0 w 474348"/>
                    <a:gd name="connsiteY6" fmla="*/ 645319 h 645319"/>
                    <a:gd name="connsiteX7" fmla="*/ 0 w 474348"/>
                    <a:gd name="connsiteY7" fmla="*/ 192704 h 645319"/>
                    <a:gd name="connsiteX8" fmla="*/ 192704 w 474348"/>
                    <a:gd name="connsiteY8" fmla="*/ 0 h 645319"/>
                    <a:gd name="connsiteX0" fmla="*/ 192704 w 474348"/>
                    <a:gd name="connsiteY0" fmla="*/ 0 h 645319"/>
                    <a:gd name="connsiteX1" fmla="*/ 281644 w 474348"/>
                    <a:gd name="connsiteY1" fmla="*/ 0 h 645319"/>
                    <a:gd name="connsiteX2" fmla="*/ 474348 w 474348"/>
                    <a:gd name="connsiteY2" fmla="*/ 192704 h 645319"/>
                    <a:gd name="connsiteX3" fmla="*/ 474348 w 474348"/>
                    <a:gd name="connsiteY3" fmla="*/ 645319 h 645319"/>
                    <a:gd name="connsiteX4" fmla="*/ 474348 w 474348"/>
                    <a:gd name="connsiteY4" fmla="*/ 645319 h 645319"/>
                    <a:gd name="connsiteX5" fmla="*/ 248129 w 474348"/>
                    <a:gd name="connsiteY5" fmla="*/ 645319 h 645319"/>
                    <a:gd name="connsiteX6" fmla="*/ 0 w 474348"/>
                    <a:gd name="connsiteY6" fmla="*/ 645319 h 645319"/>
                    <a:gd name="connsiteX7" fmla="*/ 0 w 474348"/>
                    <a:gd name="connsiteY7" fmla="*/ 645319 h 645319"/>
                    <a:gd name="connsiteX8" fmla="*/ 0 w 474348"/>
                    <a:gd name="connsiteY8" fmla="*/ 192704 h 645319"/>
                    <a:gd name="connsiteX9" fmla="*/ 192704 w 474348"/>
                    <a:gd name="connsiteY9" fmla="*/ 0 h 645319"/>
                    <a:gd name="connsiteX0" fmla="*/ 192704 w 474348"/>
                    <a:gd name="connsiteY0" fmla="*/ 2381 h 647700"/>
                    <a:gd name="connsiteX1" fmla="*/ 240986 w 474348"/>
                    <a:gd name="connsiteY1" fmla="*/ 0 h 647700"/>
                    <a:gd name="connsiteX2" fmla="*/ 281644 w 474348"/>
                    <a:gd name="connsiteY2" fmla="*/ 2381 h 647700"/>
                    <a:gd name="connsiteX3" fmla="*/ 474348 w 474348"/>
                    <a:gd name="connsiteY3" fmla="*/ 195085 h 647700"/>
                    <a:gd name="connsiteX4" fmla="*/ 474348 w 474348"/>
                    <a:gd name="connsiteY4" fmla="*/ 647700 h 647700"/>
                    <a:gd name="connsiteX5" fmla="*/ 474348 w 474348"/>
                    <a:gd name="connsiteY5" fmla="*/ 647700 h 647700"/>
                    <a:gd name="connsiteX6" fmla="*/ 248129 w 474348"/>
                    <a:gd name="connsiteY6" fmla="*/ 647700 h 647700"/>
                    <a:gd name="connsiteX7" fmla="*/ 0 w 474348"/>
                    <a:gd name="connsiteY7" fmla="*/ 647700 h 647700"/>
                    <a:gd name="connsiteX8" fmla="*/ 0 w 474348"/>
                    <a:gd name="connsiteY8" fmla="*/ 647700 h 647700"/>
                    <a:gd name="connsiteX9" fmla="*/ 0 w 474348"/>
                    <a:gd name="connsiteY9" fmla="*/ 195085 h 647700"/>
                    <a:gd name="connsiteX10" fmla="*/ 192704 w 474348"/>
                    <a:gd name="connsiteY10" fmla="*/ 2381 h 647700"/>
                    <a:gd name="connsiteX0" fmla="*/ 192704 w 474348"/>
                    <a:gd name="connsiteY0" fmla="*/ 42862 h 688181"/>
                    <a:gd name="connsiteX1" fmla="*/ 240986 w 474348"/>
                    <a:gd name="connsiteY1" fmla="*/ 0 h 688181"/>
                    <a:gd name="connsiteX2" fmla="*/ 281644 w 474348"/>
                    <a:gd name="connsiteY2" fmla="*/ 42862 h 688181"/>
                    <a:gd name="connsiteX3" fmla="*/ 474348 w 474348"/>
                    <a:gd name="connsiteY3" fmla="*/ 235566 h 688181"/>
                    <a:gd name="connsiteX4" fmla="*/ 474348 w 474348"/>
                    <a:gd name="connsiteY4" fmla="*/ 688181 h 688181"/>
                    <a:gd name="connsiteX5" fmla="*/ 474348 w 474348"/>
                    <a:gd name="connsiteY5" fmla="*/ 688181 h 688181"/>
                    <a:gd name="connsiteX6" fmla="*/ 248129 w 474348"/>
                    <a:gd name="connsiteY6" fmla="*/ 688181 h 688181"/>
                    <a:gd name="connsiteX7" fmla="*/ 0 w 474348"/>
                    <a:gd name="connsiteY7" fmla="*/ 688181 h 688181"/>
                    <a:gd name="connsiteX8" fmla="*/ 0 w 474348"/>
                    <a:gd name="connsiteY8" fmla="*/ 688181 h 688181"/>
                    <a:gd name="connsiteX9" fmla="*/ 0 w 474348"/>
                    <a:gd name="connsiteY9" fmla="*/ 235566 h 688181"/>
                    <a:gd name="connsiteX10" fmla="*/ 192704 w 474348"/>
                    <a:gd name="connsiteY10" fmla="*/ 42862 h 688181"/>
                    <a:gd name="connsiteX0" fmla="*/ 192704 w 474348"/>
                    <a:gd name="connsiteY0" fmla="*/ 23812 h 669131"/>
                    <a:gd name="connsiteX1" fmla="*/ 265690 w 474348"/>
                    <a:gd name="connsiteY1" fmla="*/ 0 h 669131"/>
                    <a:gd name="connsiteX2" fmla="*/ 281644 w 474348"/>
                    <a:gd name="connsiteY2" fmla="*/ 23812 h 669131"/>
                    <a:gd name="connsiteX3" fmla="*/ 474348 w 474348"/>
                    <a:gd name="connsiteY3" fmla="*/ 216516 h 669131"/>
                    <a:gd name="connsiteX4" fmla="*/ 474348 w 474348"/>
                    <a:gd name="connsiteY4" fmla="*/ 669131 h 669131"/>
                    <a:gd name="connsiteX5" fmla="*/ 474348 w 474348"/>
                    <a:gd name="connsiteY5" fmla="*/ 669131 h 669131"/>
                    <a:gd name="connsiteX6" fmla="*/ 248129 w 474348"/>
                    <a:gd name="connsiteY6" fmla="*/ 669131 h 669131"/>
                    <a:gd name="connsiteX7" fmla="*/ 0 w 474348"/>
                    <a:gd name="connsiteY7" fmla="*/ 669131 h 669131"/>
                    <a:gd name="connsiteX8" fmla="*/ 0 w 474348"/>
                    <a:gd name="connsiteY8" fmla="*/ 669131 h 669131"/>
                    <a:gd name="connsiteX9" fmla="*/ 0 w 474348"/>
                    <a:gd name="connsiteY9" fmla="*/ 216516 h 669131"/>
                    <a:gd name="connsiteX10" fmla="*/ 192704 w 474348"/>
                    <a:gd name="connsiteY10" fmla="*/ 23812 h 669131"/>
                    <a:gd name="connsiteX0" fmla="*/ 192704 w 474348"/>
                    <a:gd name="connsiteY0" fmla="*/ 23812 h 669131"/>
                    <a:gd name="connsiteX1" fmla="*/ 265690 w 474348"/>
                    <a:gd name="connsiteY1" fmla="*/ 0 h 669131"/>
                    <a:gd name="connsiteX2" fmla="*/ 281644 w 474348"/>
                    <a:gd name="connsiteY2" fmla="*/ 23812 h 669131"/>
                    <a:gd name="connsiteX3" fmla="*/ 474348 w 474348"/>
                    <a:gd name="connsiteY3" fmla="*/ 216516 h 669131"/>
                    <a:gd name="connsiteX4" fmla="*/ 474348 w 474348"/>
                    <a:gd name="connsiteY4" fmla="*/ 669131 h 669131"/>
                    <a:gd name="connsiteX5" fmla="*/ 474348 w 474348"/>
                    <a:gd name="connsiteY5" fmla="*/ 669131 h 669131"/>
                    <a:gd name="connsiteX6" fmla="*/ 248129 w 474348"/>
                    <a:gd name="connsiteY6" fmla="*/ 669131 h 669131"/>
                    <a:gd name="connsiteX7" fmla="*/ 0 w 474348"/>
                    <a:gd name="connsiteY7" fmla="*/ 669131 h 669131"/>
                    <a:gd name="connsiteX8" fmla="*/ 0 w 474348"/>
                    <a:gd name="connsiteY8" fmla="*/ 669131 h 669131"/>
                    <a:gd name="connsiteX9" fmla="*/ 0 w 474348"/>
                    <a:gd name="connsiteY9" fmla="*/ 216516 h 669131"/>
                    <a:gd name="connsiteX10" fmla="*/ 192704 w 474348"/>
                    <a:gd name="connsiteY10" fmla="*/ 23812 h 669131"/>
                    <a:gd name="connsiteX0" fmla="*/ 192704 w 474348"/>
                    <a:gd name="connsiteY0" fmla="*/ 23812 h 669131"/>
                    <a:gd name="connsiteX1" fmla="*/ 265690 w 474348"/>
                    <a:gd name="connsiteY1" fmla="*/ 0 h 669131"/>
                    <a:gd name="connsiteX2" fmla="*/ 281644 w 474348"/>
                    <a:gd name="connsiteY2" fmla="*/ 23812 h 669131"/>
                    <a:gd name="connsiteX3" fmla="*/ 474348 w 474348"/>
                    <a:gd name="connsiteY3" fmla="*/ 216516 h 669131"/>
                    <a:gd name="connsiteX4" fmla="*/ 474348 w 474348"/>
                    <a:gd name="connsiteY4" fmla="*/ 669131 h 669131"/>
                    <a:gd name="connsiteX5" fmla="*/ 474348 w 474348"/>
                    <a:gd name="connsiteY5" fmla="*/ 669131 h 669131"/>
                    <a:gd name="connsiteX6" fmla="*/ 248129 w 474348"/>
                    <a:gd name="connsiteY6" fmla="*/ 669131 h 669131"/>
                    <a:gd name="connsiteX7" fmla="*/ 0 w 474348"/>
                    <a:gd name="connsiteY7" fmla="*/ 669131 h 669131"/>
                    <a:gd name="connsiteX8" fmla="*/ 0 w 474348"/>
                    <a:gd name="connsiteY8" fmla="*/ 669131 h 669131"/>
                    <a:gd name="connsiteX9" fmla="*/ 0 w 474348"/>
                    <a:gd name="connsiteY9" fmla="*/ 216516 h 669131"/>
                    <a:gd name="connsiteX10" fmla="*/ 192704 w 474348"/>
                    <a:gd name="connsiteY10" fmla="*/ 23812 h 669131"/>
                    <a:gd name="connsiteX0" fmla="*/ 192704 w 474348"/>
                    <a:gd name="connsiteY0" fmla="*/ 23812 h 669131"/>
                    <a:gd name="connsiteX1" fmla="*/ 265690 w 474348"/>
                    <a:gd name="connsiteY1" fmla="*/ 0 h 669131"/>
                    <a:gd name="connsiteX2" fmla="*/ 281644 w 474348"/>
                    <a:gd name="connsiteY2" fmla="*/ 23812 h 669131"/>
                    <a:gd name="connsiteX3" fmla="*/ 474348 w 474348"/>
                    <a:gd name="connsiteY3" fmla="*/ 216516 h 669131"/>
                    <a:gd name="connsiteX4" fmla="*/ 474348 w 474348"/>
                    <a:gd name="connsiteY4" fmla="*/ 669131 h 669131"/>
                    <a:gd name="connsiteX5" fmla="*/ 474348 w 474348"/>
                    <a:gd name="connsiteY5" fmla="*/ 669131 h 669131"/>
                    <a:gd name="connsiteX6" fmla="*/ 248129 w 474348"/>
                    <a:gd name="connsiteY6" fmla="*/ 669131 h 669131"/>
                    <a:gd name="connsiteX7" fmla="*/ 0 w 474348"/>
                    <a:gd name="connsiteY7" fmla="*/ 669131 h 669131"/>
                    <a:gd name="connsiteX8" fmla="*/ 0 w 474348"/>
                    <a:gd name="connsiteY8" fmla="*/ 669131 h 669131"/>
                    <a:gd name="connsiteX9" fmla="*/ 0 w 474348"/>
                    <a:gd name="connsiteY9" fmla="*/ 216516 h 669131"/>
                    <a:gd name="connsiteX10" fmla="*/ 192704 w 474348"/>
                    <a:gd name="connsiteY10" fmla="*/ 23812 h 669131"/>
                    <a:gd name="connsiteX0" fmla="*/ 192704 w 474348"/>
                    <a:gd name="connsiteY0" fmla="*/ 23812 h 669131"/>
                    <a:gd name="connsiteX1" fmla="*/ 265690 w 474348"/>
                    <a:gd name="connsiteY1" fmla="*/ 0 h 669131"/>
                    <a:gd name="connsiteX2" fmla="*/ 281644 w 474348"/>
                    <a:gd name="connsiteY2" fmla="*/ 23812 h 669131"/>
                    <a:gd name="connsiteX3" fmla="*/ 474348 w 474348"/>
                    <a:gd name="connsiteY3" fmla="*/ 216516 h 669131"/>
                    <a:gd name="connsiteX4" fmla="*/ 474348 w 474348"/>
                    <a:gd name="connsiteY4" fmla="*/ 669131 h 669131"/>
                    <a:gd name="connsiteX5" fmla="*/ 474348 w 474348"/>
                    <a:gd name="connsiteY5" fmla="*/ 669131 h 669131"/>
                    <a:gd name="connsiteX6" fmla="*/ 248129 w 474348"/>
                    <a:gd name="connsiteY6" fmla="*/ 669131 h 669131"/>
                    <a:gd name="connsiteX7" fmla="*/ 0 w 474348"/>
                    <a:gd name="connsiteY7" fmla="*/ 669131 h 669131"/>
                    <a:gd name="connsiteX8" fmla="*/ 0 w 474348"/>
                    <a:gd name="connsiteY8" fmla="*/ 669131 h 669131"/>
                    <a:gd name="connsiteX9" fmla="*/ 0 w 474348"/>
                    <a:gd name="connsiteY9" fmla="*/ 216516 h 669131"/>
                    <a:gd name="connsiteX10" fmla="*/ 192704 w 474348"/>
                    <a:gd name="connsiteY10" fmla="*/ 23812 h 669131"/>
                    <a:gd name="connsiteX0" fmla="*/ 192704 w 474348"/>
                    <a:gd name="connsiteY0" fmla="*/ 23812 h 669131"/>
                    <a:gd name="connsiteX1" fmla="*/ 265690 w 474348"/>
                    <a:gd name="connsiteY1" fmla="*/ 0 h 669131"/>
                    <a:gd name="connsiteX2" fmla="*/ 299854 w 474348"/>
                    <a:gd name="connsiteY2" fmla="*/ 24247 h 669131"/>
                    <a:gd name="connsiteX3" fmla="*/ 474348 w 474348"/>
                    <a:gd name="connsiteY3" fmla="*/ 216516 h 669131"/>
                    <a:gd name="connsiteX4" fmla="*/ 474348 w 474348"/>
                    <a:gd name="connsiteY4" fmla="*/ 669131 h 669131"/>
                    <a:gd name="connsiteX5" fmla="*/ 474348 w 474348"/>
                    <a:gd name="connsiteY5" fmla="*/ 669131 h 669131"/>
                    <a:gd name="connsiteX6" fmla="*/ 248129 w 474348"/>
                    <a:gd name="connsiteY6" fmla="*/ 669131 h 669131"/>
                    <a:gd name="connsiteX7" fmla="*/ 0 w 474348"/>
                    <a:gd name="connsiteY7" fmla="*/ 669131 h 669131"/>
                    <a:gd name="connsiteX8" fmla="*/ 0 w 474348"/>
                    <a:gd name="connsiteY8" fmla="*/ 669131 h 669131"/>
                    <a:gd name="connsiteX9" fmla="*/ 0 w 474348"/>
                    <a:gd name="connsiteY9" fmla="*/ 216516 h 669131"/>
                    <a:gd name="connsiteX10" fmla="*/ 192704 w 474348"/>
                    <a:gd name="connsiteY10" fmla="*/ 23812 h 669131"/>
                    <a:gd name="connsiteX0" fmla="*/ 192704 w 474348"/>
                    <a:gd name="connsiteY0" fmla="*/ 23812 h 669131"/>
                    <a:gd name="connsiteX1" fmla="*/ 265690 w 474348"/>
                    <a:gd name="connsiteY1" fmla="*/ 0 h 669131"/>
                    <a:gd name="connsiteX2" fmla="*/ 299854 w 474348"/>
                    <a:gd name="connsiteY2" fmla="*/ 24247 h 669131"/>
                    <a:gd name="connsiteX3" fmla="*/ 474348 w 474348"/>
                    <a:gd name="connsiteY3" fmla="*/ 216516 h 669131"/>
                    <a:gd name="connsiteX4" fmla="*/ 474348 w 474348"/>
                    <a:gd name="connsiteY4" fmla="*/ 669131 h 669131"/>
                    <a:gd name="connsiteX5" fmla="*/ 474348 w 474348"/>
                    <a:gd name="connsiteY5" fmla="*/ 669131 h 669131"/>
                    <a:gd name="connsiteX6" fmla="*/ 248129 w 474348"/>
                    <a:gd name="connsiteY6" fmla="*/ 669131 h 669131"/>
                    <a:gd name="connsiteX7" fmla="*/ 0 w 474348"/>
                    <a:gd name="connsiteY7" fmla="*/ 669131 h 669131"/>
                    <a:gd name="connsiteX8" fmla="*/ 0 w 474348"/>
                    <a:gd name="connsiteY8" fmla="*/ 669131 h 669131"/>
                    <a:gd name="connsiteX9" fmla="*/ 0 w 474348"/>
                    <a:gd name="connsiteY9" fmla="*/ 216516 h 669131"/>
                    <a:gd name="connsiteX10" fmla="*/ 192704 w 474348"/>
                    <a:gd name="connsiteY10" fmla="*/ 23812 h 669131"/>
                    <a:gd name="connsiteX0" fmla="*/ 192704 w 474348"/>
                    <a:gd name="connsiteY0" fmla="*/ 23812 h 669131"/>
                    <a:gd name="connsiteX1" fmla="*/ 265690 w 474348"/>
                    <a:gd name="connsiteY1" fmla="*/ 0 h 669131"/>
                    <a:gd name="connsiteX2" fmla="*/ 299854 w 474348"/>
                    <a:gd name="connsiteY2" fmla="*/ 24247 h 669131"/>
                    <a:gd name="connsiteX3" fmla="*/ 474348 w 474348"/>
                    <a:gd name="connsiteY3" fmla="*/ 216516 h 669131"/>
                    <a:gd name="connsiteX4" fmla="*/ 474348 w 474348"/>
                    <a:gd name="connsiteY4" fmla="*/ 669131 h 669131"/>
                    <a:gd name="connsiteX5" fmla="*/ 474348 w 474348"/>
                    <a:gd name="connsiteY5" fmla="*/ 669131 h 669131"/>
                    <a:gd name="connsiteX6" fmla="*/ 248129 w 474348"/>
                    <a:gd name="connsiteY6" fmla="*/ 669131 h 669131"/>
                    <a:gd name="connsiteX7" fmla="*/ 0 w 474348"/>
                    <a:gd name="connsiteY7" fmla="*/ 669131 h 669131"/>
                    <a:gd name="connsiteX8" fmla="*/ 0 w 474348"/>
                    <a:gd name="connsiteY8" fmla="*/ 669131 h 669131"/>
                    <a:gd name="connsiteX9" fmla="*/ 0 w 474348"/>
                    <a:gd name="connsiteY9" fmla="*/ 216516 h 669131"/>
                    <a:gd name="connsiteX10" fmla="*/ 192704 w 474348"/>
                    <a:gd name="connsiteY10" fmla="*/ 23812 h 669131"/>
                    <a:gd name="connsiteX0" fmla="*/ 192704 w 474348"/>
                    <a:gd name="connsiteY0" fmla="*/ 23812 h 669131"/>
                    <a:gd name="connsiteX1" fmla="*/ 265690 w 474348"/>
                    <a:gd name="connsiteY1" fmla="*/ 0 h 669131"/>
                    <a:gd name="connsiteX2" fmla="*/ 299854 w 474348"/>
                    <a:gd name="connsiteY2" fmla="*/ 24247 h 669131"/>
                    <a:gd name="connsiteX3" fmla="*/ 474348 w 474348"/>
                    <a:gd name="connsiteY3" fmla="*/ 216516 h 669131"/>
                    <a:gd name="connsiteX4" fmla="*/ 474348 w 474348"/>
                    <a:gd name="connsiteY4" fmla="*/ 669131 h 669131"/>
                    <a:gd name="connsiteX5" fmla="*/ 474348 w 474348"/>
                    <a:gd name="connsiteY5" fmla="*/ 669131 h 669131"/>
                    <a:gd name="connsiteX6" fmla="*/ 248129 w 474348"/>
                    <a:gd name="connsiteY6" fmla="*/ 669131 h 669131"/>
                    <a:gd name="connsiteX7" fmla="*/ 0 w 474348"/>
                    <a:gd name="connsiteY7" fmla="*/ 669131 h 669131"/>
                    <a:gd name="connsiteX8" fmla="*/ 0 w 474348"/>
                    <a:gd name="connsiteY8" fmla="*/ 669131 h 669131"/>
                    <a:gd name="connsiteX9" fmla="*/ 0 w 474348"/>
                    <a:gd name="connsiteY9" fmla="*/ 216516 h 669131"/>
                    <a:gd name="connsiteX10" fmla="*/ 192704 w 474348"/>
                    <a:gd name="connsiteY10" fmla="*/ 23812 h 669131"/>
                    <a:gd name="connsiteX0" fmla="*/ 192704 w 474348"/>
                    <a:gd name="connsiteY0" fmla="*/ 23812 h 669131"/>
                    <a:gd name="connsiteX1" fmla="*/ 265690 w 474348"/>
                    <a:gd name="connsiteY1" fmla="*/ 0 h 669131"/>
                    <a:gd name="connsiteX2" fmla="*/ 317751 w 474348"/>
                    <a:gd name="connsiteY2" fmla="*/ 24078 h 669131"/>
                    <a:gd name="connsiteX3" fmla="*/ 474348 w 474348"/>
                    <a:gd name="connsiteY3" fmla="*/ 216516 h 669131"/>
                    <a:gd name="connsiteX4" fmla="*/ 474348 w 474348"/>
                    <a:gd name="connsiteY4" fmla="*/ 669131 h 669131"/>
                    <a:gd name="connsiteX5" fmla="*/ 474348 w 474348"/>
                    <a:gd name="connsiteY5" fmla="*/ 669131 h 669131"/>
                    <a:gd name="connsiteX6" fmla="*/ 248129 w 474348"/>
                    <a:gd name="connsiteY6" fmla="*/ 669131 h 669131"/>
                    <a:gd name="connsiteX7" fmla="*/ 0 w 474348"/>
                    <a:gd name="connsiteY7" fmla="*/ 669131 h 669131"/>
                    <a:gd name="connsiteX8" fmla="*/ 0 w 474348"/>
                    <a:gd name="connsiteY8" fmla="*/ 669131 h 669131"/>
                    <a:gd name="connsiteX9" fmla="*/ 0 w 474348"/>
                    <a:gd name="connsiteY9" fmla="*/ 216516 h 669131"/>
                    <a:gd name="connsiteX10" fmla="*/ 192704 w 474348"/>
                    <a:gd name="connsiteY10" fmla="*/ 23812 h 669131"/>
                    <a:gd name="connsiteX0" fmla="*/ 192704 w 474348"/>
                    <a:gd name="connsiteY0" fmla="*/ 23812 h 669131"/>
                    <a:gd name="connsiteX1" fmla="*/ 265690 w 474348"/>
                    <a:gd name="connsiteY1" fmla="*/ 0 h 669131"/>
                    <a:gd name="connsiteX2" fmla="*/ 317751 w 474348"/>
                    <a:gd name="connsiteY2" fmla="*/ 24078 h 669131"/>
                    <a:gd name="connsiteX3" fmla="*/ 474348 w 474348"/>
                    <a:gd name="connsiteY3" fmla="*/ 216516 h 669131"/>
                    <a:gd name="connsiteX4" fmla="*/ 474348 w 474348"/>
                    <a:gd name="connsiteY4" fmla="*/ 669131 h 669131"/>
                    <a:gd name="connsiteX5" fmla="*/ 474348 w 474348"/>
                    <a:gd name="connsiteY5" fmla="*/ 669131 h 669131"/>
                    <a:gd name="connsiteX6" fmla="*/ 248129 w 474348"/>
                    <a:gd name="connsiteY6" fmla="*/ 669131 h 669131"/>
                    <a:gd name="connsiteX7" fmla="*/ 0 w 474348"/>
                    <a:gd name="connsiteY7" fmla="*/ 669131 h 669131"/>
                    <a:gd name="connsiteX8" fmla="*/ 0 w 474348"/>
                    <a:gd name="connsiteY8" fmla="*/ 669131 h 669131"/>
                    <a:gd name="connsiteX9" fmla="*/ 0 w 474348"/>
                    <a:gd name="connsiteY9" fmla="*/ 216516 h 669131"/>
                    <a:gd name="connsiteX10" fmla="*/ 192704 w 474348"/>
                    <a:gd name="connsiteY10" fmla="*/ 23812 h 6691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74348" h="669131">
                      <a:moveTo>
                        <a:pt x="192704" y="23812"/>
                      </a:moveTo>
                      <a:cubicBezTo>
                        <a:pt x="263527" y="1482"/>
                        <a:pt x="241361" y="7937"/>
                        <a:pt x="265690" y="0"/>
                      </a:cubicBezTo>
                      <a:cubicBezTo>
                        <a:pt x="271008" y="7937"/>
                        <a:pt x="263093" y="-988"/>
                        <a:pt x="317751" y="24078"/>
                      </a:cubicBezTo>
                      <a:cubicBezTo>
                        <a:pt x="369579" y="48860"/>
                        <a:pt x="474348" y="110089"/>
                        <a:pt x="474348" y="216516"/>
                      </a:cubicBezTo>
                      <a:lnTo>
                        <a:pt x="474348" y="669131"/>
                      </a:lnTo>
                      <a:lnTo>
                        <a:pt x="474348" y="669131"/>
                      </a:lnTo>
                      <a:lnTo>
                        <a:pt x="248129" y="669131"/>
                      </a:lnTo>
                      <a:lnTo>
                        <a:pt x="0" y="669131"/>
                      </a:lnTo>
                      <a:lnTo>
                        <a:pt x="0" y="669131"/>
                      </a:lnTo>
                      <a:lnTo>
                        <a:pt x="0" y="216516"/>
                      </a:lnTo>
                      <a:cubicBezTo>
                        <a:pt x="0" y="110089"/>
                        <a:pt x="141340" y="43314"/>
                        <a:pt x="192704" y="23812"/>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206" name="Round Same Side Corner Rectangle 11"/>
                <p:cNvSpPr/>
                <p:nvPr/>
              </p:nvSpPr>
              <p:spPr>
                <a:xfrm rot="15060000">
                  <a:off x="1454696" y="1026331"/>
                  <a:ext cx="251846" cy="2611946"/>
                </a:xfrm>
                <a:custGeom>
                  <a:avLst/>
                  <a:gdLst>
                    <a:gd name="connsiteX0" fmla="*/ 192704 w 474348"/>
                    <a:gd name="connsiteY0" fmla="*/ 0 h 645319"/>
                    <a:gd name="connsiteX1" fmla="*/ 281644 w 474348"/>
                    <a:gd name="connsiteY1" fmla="*/ 0 h 645319"/>
                    <a:gd name="connsiteX2" fmla="*/ 474348 w 474348"/>
                    <a:gd name="connsiteY2" fmla="*/ 192704 h 645319"/>
                    <a:gd name="connsiteX3" fmla="*/ 474348 w 474348"/>
                    <a:gd name="connsiteY3" fmla="*/ 645319 h 645319"/>
                    <a:gd name="connsiteX4" fmla="*/ 474348 w 474348"/>
                    <a:gd name="connsiteY4" fmla="*/ 645319 h 645319"/>
                    <a:gd name="connsiteX5" fmla="*/ 0 w 474348"/>
                    <a:gd name="connsiteY5" fmla="*/ 645319 h 645319"/>
                    <a:gd name="connsiteX6" fmla="*/ 0 w 474348"/>
                    <a:gd name="connsiteY6" fmla="*/ 645319 h 645319"/>
                    <a:gd name="connsiteX7" fmla="*/ 0 w 474348"/>
                    <a:gd name="connsiteY7" fmla="*/ 192704 h 645319"/>
                    <a:gd name="connsiteX8" fmla="*/ 192704 w 474348"/>
                    <a:gd name="connsiteY8" fmla="*/ 0 h 645319"/>
                    <a:gd name="connsiteX0" fmla="*/ 192704 w 474348"/>
                    <a:gd name="connsiteY0" fmla="*/ 0 h 645319"/>
                    <a:gd name="connsiteX1" fmla="*/ 281644 w 474348"/>
                    <a:gd name="connsiteY1" fmla="*/ 0 h 645319"/>
                    <a:gd name="connsiteX2" fmla="*/ 474348 w 474348"/>
                    <a:gd name="connsiteY2" fmla="*/ 192704 h 645319"/>
                    <a:gd name="connsiteX3" fmla="*/ 474348 w 474348"/>
                    <a:gd name="connsiteY3" fmla="*/ 645319 h 645319"/>
                    <a:gd name="connsiteX4" fmla="*/ 474348 w 474348"/>
                    <a:gd name="connsiteY4" fmla="*/ 645319 h 645319"/>
                    <a:gd name="connsiteX5" fmla="*/ 248129 w 474348"/>
                    <a:gd name="connsiteY5" fmla="*/ 645319 h 645319"/>
                    <a:gd name="connsiteX6" fmla="*/ 0 w 474348"/>
                    <a:gd name="connsiteY6" fmla="*/ 645319 h 645319"/>
                    <a:gd name="connsiteX7" fmla="*/ 0 w 474348"/>
                    <a:gd name="connsiteY7" fmla="*/ 645319 h 645319"/>
                    <a:gd name="connsiteX8" fmla="*/ 0 w 474348"/>
                    <a:gd name="connsiteY8" fmla="*/ 192704 h 645319"/>
                    <a:gd name="connsiteX9" fmla="*/ 192704 w 474348"/>
                    <a:gd name="connsiteY9" fmla="*/ 0 h 645319"/>
                    <a:gd name="connsiteX0" fmla="*/ 192704 w 474348"/>
                    <a:gd name="connsiteY0" fmla="*/ 2381 h 647700"/>
                    <a:gd name="connsiteX1" fmla="*/ 240986 w 474348"/>
                    <a:gd name="connsiteY1" fmla="*/ 0 h 647700"/>
                    <a:gd name="connsiteX2" fmla="*/ 281644 w 474348"/>
                    <a:gd name="connsiteY2" fmla="*/ 2381 h 647700"/>
                    <a:gd name="connsiteX3" fmla="*/ 474348 w 474348"/>
                    <a:gd name="connsiteY3" fmla="*/ 195085 h 647700"/>
                    <a:gd name="connsiteX4" fmla="*/ 474348 w 474348"/>
                    <a:gd name="connsiteY4" fmla="*/ 647700 h 647700"/>
                    <a:gd name="connsiteX5" fmla="*/ 474348 w 474348"/>
                    <a:gd name="connsiteY5" fmla="*/ 647700 h 647700"/>
                    <a:gd name="connsiteX6" fmla="*/ 248129 w 474348"/>
                    <a:gd name="connsiteY6" fmla="*/ 647700 h 647700"/>
                    <a:gd name="connsiteX7" fmla="*/ 0 w 474348"/>
                    <a:gd name="connsiteY7" fmla="*/ 647700 h 647700"/>
                    <a:gd name="connsiteX8" fmla="*/ 0 w 474348"/>
                    <a:gd name="connsiteY8" fmla="*/ 647700 h 647700"/>
                    <a:gd name="connsiteX9" fmla="*/ 0 w 474348"/>
                    <a:gd name="connsiteY9" fmla="*/ 195085 h 647700"/>
                    <a:gd name="connsiteX10" fmla="*/ 192704 w 474348"/>
                    <a:gd name="connsiteY10" fmla="*/ 2381 h 647700"/>
                    <a:gd name="connsiteX0" fmla="*/ 192704 w 474348"/>
                    <a:gd name="connsiteY0" fmla="*/ 42862 h 688181"/>
                    <a:gd name="connsiteX1" fmla="*/ 240986 w 474348"/>
                    <a:gd name="connsiteY1" fmla="*/ 0 h 688181"/>
                    <a:gd name="connsiteX2" fmla="*/ 281644 w 474348"/>
                    <a:gd name="connsiteY2" fmla="*/ 42862 h 688181"/>
                    <a:gd name="connsiteX3" fmla="*/ 474348 w 474348"/>
                    <a:gd name="connsiteY3" fmla="*/ 235566 h 688181"/>
                    <a:gd name="connsiteX4" fmla="*/ 474348 w 474348"/>
                    <a:gd name="connsiteY4" fmla="*/ 688181 h 688181"/>
                    <a:gd name="connsiteX5" fmla="*/ 474348 w 474348"/>
                    <a:gd name="connsiteY5" fmla="*/ 688181 h 688181"/>
                    <a:gd name="connsiteX6" fmla="*/ 248129 w 474348"/>
                    <a:gd name="connsiteY6" fmla="*/ 688181 h 688181"/>
                    <a:gd name="connsiteX7" fmla="*/ 0 w 474348"/>
                    <a:gd name="connsiteY7" fmla="*/ 688181 h 688181"/>
                    <a:gd name="connsiteX8" fmla="*/ 0 w 474348"/>
                    <a:gd name="connsiteY8" fmla="*/ 688181 h 688181"/>
                    <a:gd name="connsiteX9" fmla="*/ 0 w 474348"/>
                    <a:gd name="connsiteY9" fmla="*/ 235566 h 688181"/>
                    <a:gd name="connsiteX10" fmla="*/ 192704 w 474348"/>
                    <a:gd name="connsiteY10" fmla="*/ 42862 h 688181"/>
                    <a:gd name="connsiteX0" fmla="*/ 192704 w 474348"/>
                    <a:gd name="connsiteY0" fmla="*/ 23812 h 669131"/>
                    <a:gd name="connsiteX1" fmla="*/ 265690 w 474348"/>
                    <a:gd name="connsiteY1" fmla="*/ 0 h 669131"/>
                    <a:gd name="connsiteX2" fmla="*/ 281644 w 474348"/>
                    <a:gd name="connsiteY2" fmla="*/ 23812 h 669131"/>
                    <a:gd name="connsiteX3" fmla="*/ 474348 w 474348"/>
                    <a:gd name="connsiteY3" fmla="*/ 216516 h 669131"/>
                    <a:gd name="connsiteX4" fmla="*/ 474348 w 474348"/>
                    <a:gd name="connsiteY4" fmla="*/ 669131 h 669131"/>
                    <a:gd name="connsiteX5" fmla="*/ 474348 w 474348"/>
                    <a:gd name="connsiteY5" fmla="*/ 669131 h 669131"/>
                    <a:gd name="connsiteX6" fmla="*/ 248129 w 474348"/>
                    <a:gd name="connsiteY6" fmla="*/ 669131 h 669131"/>
                    <a:gd name="connsiteX7" fmla="*/ 0 w 474348"/>
                    <a:gd name="connsiteY7" fmla="*/ 669131 h 669131"/>
                    <a:gd name="connsiteX8" fmla="*/ 0 w 474348"/>
                    <a:gd name="connsiteY8" fmla="*/ 669131 h 669131"/>
                    <a:gd name="connsiteX9" fmla="*/ 0 w 474348"/>
                    <a:gd name="connsiteY9" fmla="*/ 216516 h 669131"/>
                    <a:gd name="connsiteX10" fmla="*/ 192704 w 474348"/>
                    <a:gd name="connsiteY10" fmla="*/ 23812 h 669131"/>
                    <a:gd name="connsiteX0" fmla="*/ 192704 w 474348"/>
                    <a:gd name="connsiteY0" fmla="*/ 23812 h 669131"/>
                    <a:gd name="connsiteX1" fmla="*/ 265690 w 474348"/>
                    <a:gd name="connsiteY1" fmla="*/ 0 h 669131"/>
                    <a:gd name="connsiteX2" fmla="*/ 281644 w 474348"/>
                    <a:gd name="connsiteY2" fmla="*/ 23812 h 669131"/>
                    <a:gd name="connsiteX3" fmla="*/ 474348 w 474348"/>
                    <a:gd name="connsiteY3" fmla="*/ 216516 h 669131"/>
                    <a:gd name="connsiteX4" fmla="*/ 474348 w 474348"/>
                    <a:gd name="connsiteY4" fmla="*/ 669131 h 669131"/>
                    <a:gd name="connsiteX5" fmla="*/ 474348 w 474348"/>
                    <a:gd name="connsiteY5" fmla="*/ 669131 h 669131"/>
                    <a:gd name="connsiteX6" fmla="*/ 248129 w 474348"/>
                    <a:gd name="connsiteY6" fmla="*/ 669131 h 669131"/>
                    <a:gd name="connsiteX7" fmla="*/ 0 w 474348"/>
                    <a:gd name="connsiteY7" fmla="*/ 669131 h 669131"/>
                    <a:gd name="connsiteX8" fmla="*/ 0 w 474348"/>
                    <a:gd name="connsiteY8" fmla="*/ 669131 h 669131"/>
                    <a:gd name="connsiteX9" fmla="*/ 0 w 474348"/>
                    <a:gd name="connsiteY9" fmla="*/ 216516 h 669131"/>
                    <a:gd name="connsiteX10" fmla="*/ 192704 w 474348"/>
                    <a:gd name="connsiteY10" fmla="*/ 23812 h 669131"/>
                    <a:gd name="connsiteX0" fmla="*/ 192704 w 474348"/>
                    <a:gd name="connsiteY0" fmla="*/ 23812 h 669131"/>
                    <a:gd name="connsiteX1" fmla="*/ 265690 w 474348"/>
                    <a:gd name="connsiteY1" fmla="*/ 0 h 669131"/>
                    <a:gd name="connsiteX2" fmla="*/ 281644 w 474348"/>
                    <a:gd name="connsiteY2" fmla="*/ 23812 h 669131"/>
                    <a:gd name="connsiteX3" fmla="*/ 474348 w 474348"/>
                    <a:gd name="connsiteY3" fmla="*/ 216516 h 669131"/>
                    <a:gd name="connsiteX4" fmla="*/ 474348 w 474348"/>
                    <a:gd name="connsiteY4" fmla="*/ 669131 h 669131"/>
                    <a:gd name="connsiteX5" fmla="*/ 474348 w 474348"/>
                    <a:gd name="connsiteY5" fmla="*/ 669131 h 669131"/>
                    <a:gd name="connsiteX6" fmla="*/ 248129 w 474348"/>
                    <a:gd name="connsiteY6" fmla="*/ 669131 h 669131"/>
                    <a:gd name="connsiteX7" fmla="*/ 0 w 474348"/>
                    <a:gd name="connsiteY7" fmla="*/ 669131 h 669131"/>
                    <a:gd name="connsiteX8" fmla="*/ 0 w 474348"/>
                    <a:gd name="connsiteY8" fmla="*/ 669131 h 669131"/>
                    <a:gd name="connsiteX9" fmla="*/ 0 w 474348"/>
                    <a:gd name="connsiteY9" fmla="*/ 216516 h 669131"/>
                    <a:gd name="connsiteX10" fmla="*/ 192704 w 474348"/>
                    <a:gd name="connsiteY10" fmla="*/ 23812 h 669131"/>
                    <a:gd name="connsiteX0" fmla="*/ 192704 w 474348"/>
                    <a:gd name="connsiteY0" fmla="*/ 23812 h 669131"/>
                    <a:gd name="connsiteX1" fmla="*/ 265690 w 474348"/>
                    <a:gd name="connsiteY1" fmla="*/ 0 h 669131"/>
                    <a:gd name="connsiteX2" fmla="*/ 314250 w 474348"/>
                    <a:gd name="connsiteY2" fmla="*/ 24047 h 669131"/>
                    <a:gd name="connsiteX3" fmla="*/ 474348 w 474348"/>
                    <a:gd name="connsiteY3" fmla="*/ 216516 h 669131"/>
                    <a:gd name="connsiteX4" fmla="*/ 474348 w 474348"/>
                    <a:gd name="connsiteY4" fmla="*/ 669131 h 669131"/>
                    <a:gd name="connsiteX5" fmla="*/ 474348 w 474348"/>
                    <a:gd name="connsiteY5" fmla="*/ 669131 h 669131"/>
                    <a:gd name="connsiteX6" fmla="*/ 248129 w 474348"/>
                    <a:gd name="connsiteY6" fmla="*/ 669131 h 669131"/>
                    <a:gd name="connsiteX7" fmla="*/ 0 w 474348"/>
                    <a:gd name="connsiteY7" fmla="*/ 669131 h 669131"/>
                    <a:gd name="connsiteX8" fmla="*/ 0 w 474348"/>
                    <a:gd name="connsiteY8" fmla="*/ 669131 h 669131"/>
                    <a:gd name="connsiteX9" fmla="*/ 0 w 474348"/>
                    <a:gd name="connsiteY9" fmla="*/ 216516 h 669131"/>
                    <a:gd name="connsiteX10" fmla="*/ 192704 w 474348"/>
                    <a:gd name="connsiteY10" fmla="*/ 23812 h 669131"/>
                    <a:gd name="connsiteX0" fmla="*/ 192704 w 474348"/>
                    <a:gd name="connsiteY0" fmla="*/ 23812 h 669131"/>
                    <a:gd name="connsiteX1" fmla="*/ 265690 w 474348"/>
                    <a:gd name="connsiteY1" fmla="*/ 0 h 669131"/>
                    <a:gd name="connsiteX2" fmla="*/ 314250 w 474348"/>
                    <a:gd name="connsiteY2" fmla="*/ 24047 h 669131"/>
                    <a:gd name="connsiteX3" fmla="*/ 474348 w 474348"/>
                    <a:gd name="connsiteY3" fmla="*/ 216516 h 669131"/>
                    <a:gd name="connsiteX4" fmla="*/ 474348 w 474348"/>
                    <a:gd name="connsiteY4" fmla="*/ 669131 h 669131"/>
                    <a:gd name="connsiteX5" fmla="*/ 474348 w 474348"/>
                    <a:gd name="connsiteY5" fmla="*/ 669131 h 669131"/>
                    <a:gd name="connsiteX6" fmla="*/ 248129 w 474348"/>
                    <a:gd name="connsiteY6" fmla="*/ 669131 h 669131"/>
                    <a:gd name="connsiteX7" fmla="*/ 0 w 474348"/>
                    <a:gd name="connsiteY7" fmla="*/ 669131 h 669131"/>
                    <a:gd name="connsiteX8" fmla="*/ 0 w 474348"/>
                    <a:gd name="connsiteY8" fmla="*/ 669131 h 669131"/>
                    <a:gd name="connsiteX9" fmla="*/ 0 w 474348"/>
                    <a:gd name="connsiteY9" fmla="*/ 216516 h 669131"/>
                    <a:gd name="connsiteX10" fmla="*/ 192704 w 474348"/>
                    <a:gd name="connsiteY10" fmla="*/ 23812 h 669131"/>
                    <a:gd name="connsiteX0" fmla="*/ 192704 w 474348"/>
                    <a:gd name="connsiteY0" fmla="*/ 23812 h 669131"/>
                    <a:gd name="connsiteX1" fmla="*/ 265690 w 474348"/>
                    <a:gd name="connsiteY1" fmla="*/ 0 h 669131"/>
                    <a:gd name="connsiteX2" fmla="*/ 314250 w 474348"/>
                    <a:gd name="connsiteY2" fmla="*/ 24047 h 669131"/>
                    <a:gd name="connsiteX3" fmla="*/ 474348 w 474348"/>
                    <a:gd name="connsiteY3" fmla="*/ 216516 h 669131"/>
                    <a:gd name="connsiteX4" fmla="*/ 474348 w 474348"/>
                    <a:gd name="connsiteY4" fmla="*/ 669131 h 669131"/>
                    <a:gd name="connsiteX5" fmla="*/ 474348 w 474348"/>
                    <a:gd name="connsiteY5" fmla="*/ 669131 h 669131"/>
                    <a:gd name="connsiteX6" fmla="*/ 248129 w 474348"/>
                    <a:gd name="connsiteY6" fmla="*/ 669131 h 669131"/>
                    <a:gd name="connsiteX7" fmla="*/ 0 w 474348"/>
                    <a:gd name="connsiteY7" fmla="*/ 669131 h 669131"/>
                    <a:gd name="connsiteX8" fmla="*/ 0 w 474348"/>
                    <a:gd name="connsiteY8" fmla="*/ 669131 h 669131"/>
                    <a:gd name="connsiteX9" fmla="*/ 0 w 474348"/>
                    <a:gd name="connsiteY9" fmla="*/ 216516 h 669131"/>
                    <a:gd name="connsiteX10" fmla="*/ 192704 w 474348"/>
                    <a:gd name="connsiteY10" fmla="*/ 23812 h 669131"/>
                    <a:gd name="connsiteX0" fmla="*/ 174282 w 474348"/>
                    <a:gd name="connsiteY0" fmla="*/ 23596 h 669131"/>
                    <a:gd name="connsiteX1" fmla="*/ 265690 w 474348"/>
                    <a:gd name="connsiteY1" fmla="*/ 0 h 669131"/>
                    <a:gd name="connsiteX2" fmla="*/ 314250 w 474348"/>
                    <a:gd name="connsiteY2" fmla="*/ 24047 h 669131"/>
                    <a:gd name="connsiteX3" fmla="*/ 474348 w 474348"/>
                    <a:gd name="connsiteY3" fmla="*/ 216516 h 669131"/>
                    <a:gd name="connsiteX4" fmla="*/ 474348 w 474348"/>
                    <a:gd name="connsiteY4" fmla="*/ 669131 h 669131"/>
                    <a:gd name="connsiteX5" fmla="*/ 474348 w 474348"/>
                    <a:gd name="connsiteY5" fmla="*/ 669131 h 669131"/>
                    <a:gd name="connsiteX6" fmla="*/ 248129 w 474348"/>
                    <a:gd name="connsiteY6" fmla="*/ 669131 h 669131"/>
                    <a:gd name="connsiteX7" fmla="*/ 0 w 474348"/>
                    <a:gd name="connsiteY7" fmla="*/ 669131 h 669131"/>
                    <a:gd name="connsiteX8" fmla="*/ 0 w 474348"/>
                    <a:gd name="connsiteY8" fmla="*/ 669131 h 669131"/>
                    <a:gd name="connsiteX9" fmla="*/ 0 w 474348"/>
                    <a:gd name="connsiteY9" fmla="*/ 216516 h 669131"/>
                    <a:gd name="connsiteX10" fmla="*/ 174282 w 474348"/>
                    <a:gd name="connsiteY10" fmla="*/ 23596 h 669131"/>
                    <a:gd name="connsiteX0" fmla="*/ 174282 w 474348"/>
                    <a:gd name="connsiteY0" fmla="*/ 24619 h 670154"/>
                    <a:gd name="connsiteX1" fmla="*/ 216121 w 474348"/>
                    <a:gd name="connsiteY1" fmla="*/ 0 h 670154"/>
                    <a:gd name="connsiteX2" fmla="*/ 314250 w 474348"/>
                    <a:gd name="connsiteY2" fmla="*/ 25070 h 670154"/>
                    <a:gd name="connsiteX3" fmla="*/ 474348 w 474348"/>
                    <a:gd name="connsiteY3" fmla="*/ 217539 h 670154"/>
                    <a:gd name="connsiteX4" fmla="*/ 474348 w 474348"/>
                    <a:gd name="connsiteY4" fmla="*/ 670154 h 670154"/>
                    <a:gd name="connsiteX5" fmla="*/ 474348 w 474348"/>
                    <a:gd name="connsiteY5" fmla="*/ 670154 h 670154"/>
                    <a:gd name="connsiteX6" fmla="*/ 248129 w 474348"/>
                    <a:gd name="connsiteY6" fmla="*/ 670154 h 670154"/>
                    <a:gd name="connsiteX7" fmla="*/ 0 w 474348"/>
                    <a:gd name="connsiteY7" fmla="*/ 670154 h 670154"/>
                    <a:gd name="connsiteX8" fmla="*/ 0 w 474348"/>
                    <a:gd name="connsiteY8" fmla="*/ 670154 h 670154"/>
                    <a:gd name="connsiteX9" fmla="*/ 0 w 474348"/>
                    <a:gd name="connsiteY9" fmla="*/ 217539 h 670154"/>
                    <a:gd name="connsiteX10" fmla="*/ 174282 w 474348"/>
                    <a:gd name="connsiteY10" fmla="*/ 24619 h 670154"/>
                    <a:gd name="connsiteX0" fmla="*/ 174282 w 474348"/>
                    <a:gd name="connsiteY0" fmla="*/ 24619 h 670154"/>
                    <a:gd name="connsiteX1" fmla="*/ 216121 w 474348"/>
                    <a:gd name="connsiteY1" fmla="*/ 0 h 670154"/>
                    <a:gd name="connsiteX2" fmla="*/ 314250 w 474348"/>
                    <a:gd name="connsiteY2" fmla="*/ 25070 h 670154"/>
                    <a:gd name="connsiteX3" fmla="*/ 474348 w 474348"/>
                    <a:gd name="connsiteY3" fmla="*/ 217539 h 670154"/>
                    <a:gd name="connsiteX4" fmla="*/ 474348 w 474348"/>
                    <a:gd name="connsiteY4" fmla="*/ 670154 h 670154"/>
                    <a:gd name="connsiteX5" fmla="*/ 474348 w 474348"/>
                    <a:gd name="connsiteY5" fmla="*/ 670154 h 670154"/>
                    <a:gd name="connsiteX6" fmla="*/ 248129 w 474348"/>
                    <a:gd name="connsiteY6" fmla="*/ 670154 h 670154"/>
                    <a:gd name="connsiteX7" fmla="*/ 0 w 474348"/>
                    <a:gd name="connsiteY7" fmla="*/ 670154 h 670154"/>
                    <a:gd name="connsiteX8" fmla="*/ 0 w 474348"/>
                    <a:gd name="connsiteY8" fmla="*/ 670154 h 670154"/>
                    <a:gd name="connsiteX9" fmla="*/ 0 w 474348"/>
                    <a:gd name="connsiteY9" fmla="*/ 217539 h 670154"/>
                    <a:gd name="connsiteX10" fmla="*/ 174282 w 474348"/>
                    <a:gd name="connsiteY10" fmla="*/ 24619 h 670154"/>
                    <a:gd name="connsiteX0" fmla="*/ 174282 w 474348"/>
                    <a:gd name="connsiteY0" fmla="*/ 24619 h 670154"/>
                    <a:gd name="connsiteX1" fmla="*/ 216121 w 474348"/>
                    <a:gd name="connsiteY1" fmla="*/ 0 h 670154"/>
                    <a:gd name="connsiteX2" fmla="*/ 314250 w 474348"/>
                    <a:gd name="connsiteY2" fmla="*/ 25070 h 670154"/>
                    <a:gd name="connsiteX3" fmla="*/ 474348 w 474348"/>
                    <a:gd name="connsiteY3" fmla="*/ 217539 h 670154"/>
                    <a:gd name="connsiteX4" fmla="*/ 474348 w 474348"/>
                    <a:gd name="connsiteY4" fmla="*/ 670154 h 670154"/>
                    <a:gd name="connsiteX5" fmla="*/ 474348 w 474348"/>
                    <a:gd name="connsiteY5" fmla="*/ 670154 h 670154"/>
                    <a:gd name="connsiteX6" fmla="*/ 248129 w 474348"/>
                    <a:gd name="connsiteY6" fmla="*/ 670154 h 670154"/>
                    <a:gd name="connsiteX7" fmla="*/ 0 w 474348"/>
                    <a:gd name="connsiteY7" fmla="*/ 670154 h 670154"/>
                    <a:gd name="connsiteX8" fmla="*/ 0 w 474348"/>
                    <a:gd name="connsiteY8" fmla="*/ 670154 h 670154"/>
                    <a:gd name="connsiteX9" fmla="*/ 0 w 474348"/>
                    <a:gd name="connsiteY9" fmla="*/ 217539 h 670154"/>
                    <a:gd name="connsiteX10" fmla="*/ 174282 w 474348"/>
                    <a:gd name="connsiteY10" fmla="*/ 24619 h 670154"/>
                    <a:gd name="connsiteX0" fmla="*/ 174282 w 474348"/>
                    <a:gd name="connsiteY0" fmla="*/ 24619 h 670154"/>
                    <a:gd name="connsiteX1" fmla="*/ 216121 w 474348"/>
                    <a:gd name="connsiteY1" fmla="*/ 0 h 670154"/>
                    <a:gd name="connsiteX2" fmla="*/ 314250 w 474348"/>
                    <a:gd name="connsiteY2" fmla="*/ 25070 h 670154"/>
                    <a:gd name="connsiteX3" fmla="*/ 474348 w 474348"/>
                    <a:gd name="connsiteY3" fmla="*/ 217539 h 670154"/>
                    <a:gd name="connsiteX4" fmla="*/ 474348 w 474348"/>
                    <a:gd name="connsiteY4" fmla="*/ 670154 h 670154"/>
                    <a:gd name="connsiteX5" fmla="*/ 474348 w 474348"/>
                    <a:gd name="connsiteY5" fmla="*/ 670154 h 670154"/>
                    <a:gd name="connsiteX6" fmla="*/ 248129 w 474348"/>
                    <a:gd name="connsiteY6" fmla="*/ 670154 h 670154"/>
                    <a:gd name="connsiteX7" fmla="*/ 0 w 474348"/>
                    <a:gd name="connsiteY7" fmla="*/ 670154 h 670154"/>
                    <a:gd name="connsiteX8" fmla="*/ 0 w 474348"/>
                    <a:gd name="connsiteY8" fmla="*/ 670154 h 670154"/>
                    <a:gd name="connsiteX9" fmla="*/ 0 w 474348"/>
                    <a:gd name="connsiteY9" fmla="*/ 217539 h 670154"/>
                    <a:gd name="connsiteX10" fmla="*/ 174282 w 474348"/>
                    <a:gd name="connsiteY10" fmla="*/ 24619 h 670154"/>
                    <a:gd name="connsiteX0" fmla="*/ 148557 w 474348"/>
                    <a:gd name="connsiteY0" fmla="*/ 27264 h 670154"/>
                    <a:gd name="connsiteX1" fmla="*/ 216121 w 474348"/>
                    <a:gd name="connsiteY1" fmla="*/ 0 h 670154"/>
                    <a:gd name="connsiteX2" fmla="*/ 314250 w 474348"/>
                    <a:gd name="connsiteY2" fmla="*/ 25070 h 670154"/>
                    <a:gd name="connsiteX3" fmla="*/ 474348 w 474348"/>
                    <a:gd name="connsiteY3" fmla="*/ 217539 h 670154"/>
                    <a:gd name="connsiteX4" fmla="*/ 474348 w 474348"/>
                    <a:gd name="connsiteY4" fmla="*/ 670154 h 670154"/>
                    <a:gd name="connsiteX5" fmla="*/ 474348 w 474348"/>
                    <a:gd name="connsiteY5" fmla="*/ 670154 h 670154"/>
                    <a:gd name="connsiteX6" fmla="*/ 248129 w 474348"/>
                    <a:gd name="connsiteY6" fmla="*/ 670154 h 670154"/>
                    <a:gd name="connsiteX7" fmla="*/ 0 w 474348"/>
                    <a:gd name="connsiteY7" fmla="*/ 670154 h 670154"/>
                    <a:gd name="connsiteX8" fmla="*/ 0 w 474348"/>
                    <a:gd name="connsiteY8" fmla="*/ 670154 h 670154"/>
                    <a:gd name="connsiteX9" fmla="*/ 0 w 474348"/>
                    <a:gd name="connsiteY9" fmla="*/ 217539 h 670154"/>
                    <a:gd name="connsiteX10" fmla="*/ 148557 w 474348"/>
                    <a:gd name="connsiteY10" fmla="*/ 27264 h 670154"/>
                    <a:gd name="connsiteX0" fmla="*/ 148557 w 474348"/>
                    <a:gd name="connsiteY0" fmla="*/ 20950 h 663840"/>
                    <a:gd name="connsiteX1" fmla="*/ 214238 w 474348"/>
                    <a:gd name="connsiteY1" fmla="*/ 0 h 663840"/>
                    <a:gd name="connsiteX2" fmla="*/ 314250 w 474348"/>
                    <a:gd name="connsiteY2" fmla="*/ 18756 h 663840"/>
                    <a:gd name="connsiteX3" fmla="*/ 474348 w 474348"/>
                    <a:gd name="connsiteY3" fmla="*/ 211225 h 663840"/>
                    <a:gd name="connsiteX4" fmla="*/ 474348 w 474348"/>
                    <a:gd name="connsiteY4" fmla="*/ 663840 h 663840"/>
                    <a:gd name="connsiteX5" fmla="*/ 474348 w 474348"/>
                    <a:gd name="connsiteY5" fmla="*/ 663840 h 663840"/>
                    <a:gd name="connsiteX6" fmla="*/ 248129 w 474348"/>
                    <a:gd name="connsiteY6" fmla="*/ 663840 h 663840"/>
                    <a:gd name="connsiteX7" fmla="*/ 0 w 474348"/>
                    <a:gd name="connsiteY7" fmla="*/ 663840 h 663840"/>
                    <a:gd name="connsiteX8" fmla="*/ 0 w 474348"/>
                    <a:gd name="connsiteY8" fmla="*/ 663840 h 663840"/>
                    <a:gd name="connsiteX9" fmla="*/ 0 w 474348"/>
                    <a:gd name="connsiteY9" fmla="*/ 211225 h 663840"/>
                    <a:gd name="connsiteX10" fmla="*/ 148557 w 474348"/>
                    <a:gd name="connsiteY10" fmla="*/ 20950 h 663840"/>
                    <a:gd name="connsiteX0" fmla="*/ 148557 w 474348"/>
                    <a:gd name="connsiteY0" fmla="*/ 20950 h 663840"/>
                    <a:gd name="connsiteX1" fmla="*/ 214238 w 474348"/>
                    <a:gd name="connsiteY1" fmla="*/ 0 h 663840"/>
                    <a:gd name="connsiteX2" fmla="*/ 314250 w 474348"/>
                    <a:gd name="connsiteY2" fmla="*/ 18756 h 663840"/>
                    <a:gd name="connsiteX3" fmla="*/ 474348 w 474348"/>
                    <a:gd name="connsiteY3" fmla="*/ 211225 h 663840"/>
                    <a:gd name="connsiteX4" fmla="*/ 474348 w 474348"/>
                    <a:gd name="connsiteY4" fmla="*/ 663840 h 663840"/>
                    <a:gd name="connsiteX5" fmla="*/ 474348 w 474348"/>
                    <a:gd name="connsiteY5" fmla="*/ 663840 h 663840"/>
                    <a:gd name="connsiteX6" fmla="*/ 248129 w 474348"/>
                    <a:gd name="connsiteY6" fmla="*/ 663840 h 663840"/>
                    <a:gd name="connsiteX7" fmla="*/ 0 w 474348"/>
                    <a:gd name="connsiteY7" fmla="*/ 663840 h 663840"/>
                    <a:gd name="connsiteX8" fmla="*/ 0 w 474348"/>
                    <a:gd name="connsiteY8" fmla="*/ 663840 h 663840"/>
                    <a:gd name="connsiteX9" fmla="*/ 0 w 474348"/>
                    <a:gd name="connsiteY9" fmla="*/ 211225 h 663840"/>
                    <a:gd name="connsiteX10" fmla="*/ 148557 w 474348"/>
                    <a:gd name="connsiteY10" fmla="*/ 20950 h 663840"/>
                    <a:gd name="connsiteX0" fmla="*/ 148557 w 474348"/>
                    <a:gd name="connsiteY0" fmla="*/ 20950 h 663840"/>
                    <a:gd name="connsiteX1" fmla="*/ 214238 w 474348"/>
                    <a:gd name="connsiteY1" fmla="*/ 0 h 663840"/>
                    <a:gd name="connsiteX2" fmla="*/ 314250 w 474348"/>
                    <a:gd name="connsiteY2" fmla="*/ 18756 h 663840"/>
                    <a:gd name="connsiteX3" fmla="*/ 474348 w 474348"/>
                    <a:gd name="connsiteY3" fmla="*/ 211225 h 663840"/>
                    <a:gd name="connsiteX4" fmla="*/ 474348 w 474348"/>
                    <a:gd name="connsiteY4" fmla="*/ 663840 h 663840"/>
                    <a:gd name="connsiteX5" fmla="*/ 474348 w 474348"/>
                    <a:gd name="connsiteY5" fmla="*/ 663840 h 663840"/>
                    <a:gd name="connsiteX6" fmla="*/ 248129 w 474348"/>
                    <a:gd name="connsiteY6" fmla="*/ 663840 h 663840"/>
                    <a:gd name="connsiteX7" fmla="*/ 0 w 474348"/>
                    <a:gd name="connsiteY7" fmla="*/ 663840 h 663840"/>
                    <a:gd name="connsiteX8" fmla="*/ 0 w 474348"/>
                    <a:gd name="connsiteY8" fmla="*/ 663840 h 663840"/>
                    <a:gd name="connsiteX9" fmla="*/ 0 w 474348"/>
                    <a:gd name="connsiteY9" fmla="*/ 211225 h 663840"/>
                    <a:gd name="connsiteX10" fmla="*/ 148557 w 474348"/>
                    <a:gd name="connsiteY10" fmla="*/ 20950 h 663840"/>
                    <a:gd name="connsiteX0" fmla="*/ 144178 w 474348"/>
                    <a:gd name="connsiteY0" fmla="*/ 22667 h 663840"/>
                    <a:gd name="connsiteX1" fmla="*/ 214238 w 474348"/>
                    <a:gd name="connsiteY1" fmla="*/ 0 h 663840"/>
                    <a:gd name="connsiteX2" fmla="*/ 314250 w 474348"/>
                    <a:gd name="connsiteY2" fmla="*/ 18756 h 663840"/>
                    <a:gd name="connsiteX3" fmla="*/ 474348 w 474348"/>
                    <a:gd name="connsiteY3" fmla="*/ 211225 h 663840"/>
                    <a:gd name="connsiteX4" fmla="*/ 474348 w 474348"/>
                    <a:gd name="connsiteY4" fmla="*/ 663840 h 663840"/>
                    <a:gd name="connsiteX5" fmla="*/ 474348 w 474348"/>
                    <a:gd name="connsiteY5" fmla="*/ 663840 h 663840"/>
                    <a:gd name="connsiteX6" fmla="*/ 248129 w 474348"/>
                    <a:gd name="connsiteY6" fmla="*/ 663840 h 663840"/>
                    <a:gd name="connsiteX7" fmla="*/ 0 w 474348"/>
                    <a:gd name="connsiteY7" fmla="*/ 663840 h 663840"/>
                    <a:gd name="connsiteX8" fmla="*/ 0 w 474348"/>
                    <a:gd name="connsiteY8" fmla="*/ 663840 h 663840"/>
                    <a:gd name="connsiteX9" fmla="*/ 0 w 474348"/>
                    <a:gd name="connsiteY9" fmla="*/ 211225 h 663840"/>
                    <a:gd name="connsiteX10" fmla="*/ 144178 w 474348"/>
                    <a:gd name="connsiteY10" fmla="*/ 22667 h 663840"/>
                    <a:gd name="connsiteX0" fmla="*/ 144178 w 474348"/>
                    <a:gd name="connsiteY0" fmla="*/ 22667 h 663840"/>
                    <a:gd name="connsiteX1" fmla="*/ 214238 w 474348"/>
                    <a:gd name="connsiteY1" fmla="*/ 0 h 663840"/>
                    <a:gd name="connsiteX2" fmla="*/ 314250 w 474348"/>
                    <a:gd name="connsiteY2" fmla="*/ 18756 h 663840"/>
                    <a:gd name="connsiteX3" fmla="*/ 474348 w 474348"/>
                    <a:gd name="connsiteY3" fmla="*/ 211225 h 663840"/>
                    <a:gd name="connsiteX4" fmla="*/ 474348 w 474348"/>
                    <a:gd name="connsiteY4" fmla="*/ 663840 h 663840"/>
                    <a:gd name="connsiteX5" fmla="*/ 474348 w 474348"/>
                    <a:gd name="connsiteY5" fmla="*/ 663840 h 663840"/>
                    <a:gd name="connsiteX6" fmla="*/ 248129 w 474348"/>
                    <a:gd name="connsiteY6" fmla="*/ 663840 h 663840"/>
                    <a:gd name="connsiteX7" fmla="*/ 0 w 474348"/>
                    <a:gd name="connsiteY7" fmla="*/ 663840 h 663840"/>
                    <a:gd name="connsiteX8" fmla="*/ 0 w 474348"/>
                    <a:gd name="connsiteY8" fmla="*/ 663840 h 663840"/>
                    <a:gd name="connsiteX9" fmla="*/ 0 w 474348"/>
                    <a:gd name="connsiteY9" fmla="*/ 211225 h 663840"/>
                    <a:gd name="connsiteX10" fmla="*/ 144178 w 474348"/>
                    <a:gd name="connsiteY10" fmla="*/ 22667 h 663840"/>
                    <a:gd name="connsiteX0" fmla="*/ 144178 w 474348"/>
                    <a:gd name="connsiteY0" fmla="*/ 22667 h 663840"/>
                    <a:gd name="connsiteX1" fmla="*/ 214238 w 474348"/>
                    <a:gd name="connsiteY1" fmla="*/ 0 h 663840"/>
                    <a:gd name="connsiteX2" fmla="*/ 314250 w 474348"/>
                    <a:gd name="connsiteY2" fmla="*/ 18756 h 663840"/>
                    <a:gd name="connsiteX3" fmla="*/ 474348 w 474348"/>
                    <a:gd name="connsiteY3" fmla="*/ 211225 h 663840"/>
                    <a:gd name="connsiteX4" fmla="*/ 474348 w 474348"/>
                    <a:gd name="connsiteY4" fmla="*/ 663840 h 663840"/>
                    <a:gd name="connsiteX5" fmla="*/ 474348 w 474348"/>
                    <a:gd name="connsiteY5" fmla="*/ 663840 h 663840"/>
                    <a:gd name="connsiteX6" fmla="*/ 248129 w 474348"/>
                    <a:gd name="connsiteY6" fmla="*/ 663840 h 663840"/>
                    <a:gd name="connsiteX7" fmla="*/ 0 w 474348"/>
                    <a:gd name="connsiteY7" fmla="*/ 663840 h 663840"/>
                    <a:gd name="connsiteX8" fmla="*/ 0 w 474348"/>
                    <a:gd name="connsiteY8" fmla="*/ 663840 h 663840"/>
                    <a:gd name="connsiteX9" fmla="*/ 0 w 474348"/>
                    <a:gd name="connsiteY9" fmla="*/ 211225 h 663840"/>
                    <a:gd name="connsiteX10" fmla="*/ 144178 w 474348"/>
                    <a:gd name="connsiteY10" fmla="*/ 22667 h 663840"/>
                    <a:gd name="connsiteX0" fmla="*/ 144178 w 474348"/>
                    <a:gd name="connsiteY0" fmla="*/ 22667 h 663840"/>
                    <a:gd name="connsiteX1" fmla="*/ 214238 w 474348"/>
                    <a:gd name="connsiteY1" fmla="*/ 0 h 663840"/>
                    <a:gd name="connsiteX2" fmla="*/ 314250 w 474348"/>
                    <a:gd name="connsiteY2" fmla="*/ 18756 h 663840"/>
                    <a:gd name="connsiteX3" fmla="*/ 474348 w 474348"/>
                    <a:gd name="connsiteY3" fmla="*/ 211225 h 663840"/>
                    <a:gd name="connsiteX4" fmla="*/ 474348 w 474348"/>
                    <a:gd name="connsiteY4" fmla="*/ 663840 h 663840"/>
                    <a:gd name="connsiteX5" fmla="*/ 474348 w 474348"/>
                    <a:gd name="connsiteY5" fmla="*/ 663840 h 663840"/>
                    <a:gd name="connsiteX6" fmla="*/ 248129 w 474348"/>
                    <a:gd name="connsiteY6" fmla="*/ 663840 h 663840"/>
                    <a:gd name="connsiteX7" fmla="*/ 0 w 474348"/>
                    <a:gd name="connsiteY7" fmla="*/ 663840 h 663840"/>
                    <a:gd name="connsiteX8" fmla="*/ 0 w 474348"/>
                    <a:gd name="connsiteY8" fmla="*/ 663840 h 663840"/>
                    <a:gd name="connsiteX9" fmla="*/ 0 w 474348"/>
                    <a:gd name="connsiteY9" fmla="*/ 211225 h 663840"/>
                    <a:gd name="connsiteX10" fmla="*/ 144178 w 474348"/>
                    <a:gd name="connsiteY10" fmla="*/ 22667 h 6638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74348" h="663840">
                      <a:moveTo>
                        <a:pt x="144178" y="22667"/>
                      </a:moveTo>
                      <a:cubicBezTo>
                        <a:pt x="211732" y="-970"/>
                        <a:pt x="181869" y="7990"/>
                        <a:pt x="214238" y="0"/>
                      </a:cubicBezTo>
                      <a:cubicBezTo>
                        <a:pt x="259321" y="7224"/>
                        <a:pt x="221757" y="369"/>
                        <a:pt x="314250" y="18756"/>
                      </a:cubicBezTo>
                      <a:cubicBezTo>
                        <a:pt x="399877" y="51074"/>
                        <a:pt x="474348" y="104798"/>
                        <a:pt x="474348" y="211225"/>
                      </a:cubicBezTo>
                      <a:lnTo>
                        <a:pt x="474348" y="663840"/>
                      </a:lnTo>
                      <a:lnTo>
                        <a:pt x="474348" y="663840"/>
                      </a:lnTo>
                      <a:lnTo>
                        <a:pt x="248129" y="663840"/>
                      </a:lnTo>
                      <a:lnTo>
                        <a:pt x="0" y="663840"/>
                      </a:lnTo>
                      <a:lnTo>
                        <a:pt x="0" y="663840"/>
                      </a:lnTo>
                      <a:lnTo>
                        <a:pt x="0" y="211225"/>
                      </a:lnTo>
                      <a:cubicBezTo>
                        <a:pt x="0" y="104798"/>
                        <a:pt x="80700" y="56026"/>
                        <a:pt x="144178" y="22667"/>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207" name="Round Same Side Corner Rectangle 11"/>
                <p:cNvSpPr/>
                <p:nvPr/>
              </p:nvSpPr>
              <p:spPr>
                <a:xfrm rot="7140000">
                  <a:off x="4278989" y="1266737"/>
                  <a:ext cx="251846" cy="2632764"/>
                </a:xfrm>
                <a:custGeom>
                  <a:avLst/>
                  <a:gdLst>
                    <a:gd name="connsiteX0" fmla="*/ 192704 w 474348"/>
                    <a:gd name="connsiteY0" fmla="*/ 0 h 645319"/>
                    <a:gd name="connsiteX1" fmla="*/ 281644 w 474348"/>
                    <a:gd name="connsiteY1" fmla="*/ 0 h 645319"/>
                    <a:gd name="connsiteX2" fmla="*/ 474348 w 474348"/>
                    <a:gd name="connsiteY2" fmla="*/ 192704 h 645319"/>
                    <a:gd name="connsiteX3" fmla="*/ 474348 w 474348"/>
                    <a:gd name="connsiteY3" fmla="*/ 645319 h 645319"/>
                    <a:gd name="connsiteX4" fmla="*/ 474348 w 474348"/>
                    <a:gd name="connsiteY4" fmla="*/ 645319 h 645319"/>
                    <a:gd name="connsiteX5" fmla="*/ 0 w 474348"/>
                    <a:gd name="connsiteY5" fmla="*/ 645319 h 645319"/>
                    <a:gd name="connsiteX6" fmla="*/ 0 w 474348"/>
                    <a:gd name="connsiteY6" fmla="*/ 645319 h 645319"/>
                    <a:gd name="connsiteX7" fmla="*/ 0 w 474348"/>
                    <a:gd name="connsiteY7" fmla="*/ 192704 h 645319"/>
                    <a:gd name="connsiteX8" fmla="*/ 192704 w 474348"/>
                    <a:gd name="connsiteY8" fmla="*/ 0 h 645319"/>
                    <a:gd name="connsiteX0" fmla="*/ 192704 w 474348"/>
                    <a:gd name="connsiteY0" fmla="*/ 0 h 645319"/>
                    <a:gd name="connsiteX1" fmla="*/ 281644 w 474348"/>
                    <a:gd name="connsiteY1" fmla="*/ 0 h 645319"/>
                    <a:gd name="connsiteX2" fmla="*/ 474348 w 474348"/>
                    <a:gd name="connsiteY2" fmla="*/ 192704 h 645319"/>
                    <a:gd name="connsiteX3" fmla="*/ 474348 w 474348"/>
                    <a:gd name="connsiteY3" fmla="*/ 645319 h 645319"/>
                    <a:gd name="connsiteX4" fmla="*/ 474348 w 474348"/>
                    <a:gd name="connsiteY4" fmla="*/ 645319 h 645319"/>
                    <a:gd name="connsiteX5" fmla="*/ 248129 w 474348"/>
                    <a:gd name="connsiteY5" fmla="*/ 645319 h 645319"/>
                    <a:gd name="connsiteX6" fmla="*/ 0 w 474348"/>
                    <a:gd name="connsiteY6" fmla="*/ 645319 h 645319"/>
                    <a:gd name="connsiteX7" fmla="*/ 0 w 474348"/>
                    <a:gd name="connsiteY7" fmla="*/ 645319 h 645319"/>
                    <a:gd name="connsiteX8" fmla="*/ 0 w 474348"/>
                    <a:gd name="connsiteY8" fmla="*/ 192704 h 645319"/>
                    <a:gd name="connsiteX9" fmla="*/ 192704 w 474348"/>
                    <a:gd name="connsiteY9" fmla="*/ 0 h 645319"/>
                    <a:gd name="connsiteX0" fmla="*/ 192704 w 474348"/>
                    <a:gd name="connsiteY0" fmla="*/ 2381 h 647700"/>
                    <a:gd name="connsiteX1" fmla="*/ 240986 w 474348"/>
                    <a:gd name="connsiteY1" fmla="*/ 0 h 647700"/>
                    <a:gd name="connsiteX2" fmla="*/ 281644 w 474348"/>
                    <a:gd name="connsiteY2" fmla="*/ 2381 h 647700"/>
                    <a:gd name="connsiteX3" fmla="*/ 474348 w 474348"/>
                    <a:gd name="connsiteY3" fmla="*/ 195085 h 647700"/>
                    <a:gd name="connsiteX4" fmla="*/ 474348 w 474348"/>
                    <a:gd name="connsiteY4" fmla="*/ 647700 h 647700"/>
                    <a:gd name="connsiteX5" fmla="*/ 474348 w 474348"/>
                    <a:gd name="connsiteY5" fmla="*/ 647700 h 647700"/>
                    <a:gd name="connsiteX6" fmla="*/ 248129 w 474348"/>
                    <a:gd name="connsiteY6" fmla="*/ 647700 h 647700"/>
                    <a:gd name="connsiteX7" fmla="*/ 0 w 474348"/>
                    <a:gd name="connsiteY7" fmla="*/ 647700 h 647700"/>
                    <a:gd name="connsiteX8" fmla="*/ 0 w 474348"/>
                    <a:gd name="connsiteY8" fmla="*/ 647700 h 647700"/>
                    <a:gd name="connsiteX9" fmla="*/ 0 w 474348"/>
                    <a:gd name="connsiteY9" fmla="*/ 195085 h 647700"/>
                    <a:gd name="connsiteX10" fmla="*/ 192704 w 474348"/>
                    <a:gd name="connsiteY10" fmla="*/ 2381 h 647700"/>
                    <a:gd name="connsiteX0" fmla="*/ 192704 w 474348"/>
                    <a:gd name="connsiteY0" fmla="*/ 42862 h 688181"/>
                    <a:gd name="connsiteX1" fmla="*/ 240986 w 474348"/>
                    <a:gd name="connsiteY1" fmla="*/ 0 h 688181"/>
                    <a:gd name="connsiteX2" fmla="*/ 281644 w 474348"/>
                    <a:gd name="connsiteY2" fmla="*/ 42862 h 688181"/>
                    <a:gd name="connsiteX3" fmla="*/ 474348 w 474348"/>
                    <a:gd name="connsiteY3" fmla="*/ 235566 h 688181"/>
                    <a:gd name="connsiteX4" fmla="*/ 474348 w 474348"/>
                    <a:gd name="connsiteY4" fmla="*/ 688181 h 688181"/>
                    <a:gd name="connsiteX5" fmla="*/ 474348 w 474348"/>
                    <a:gd name="connsiteY5" fmla="*/ 688181 h 688181"/>
                    <a:gd name="connsiteX6" fmla="*/ 248129 w 474348"/>
                    <a:gd name="connsiteY6" fmla="*/ 688181 h 688181"/>
                    <a:gd name="connsiteX7" fmla="*/ 0 w 474348"/>
                    <a:gd name="connsiteY7" fmla="*/ 688181 h 688181"/>
                    <a:gd name="connsiteX8" fmla="*/ 0 w 474348"/>
                    <a:gd name="connsiteY8" fmla="*/ 688181 h 688181"/>
                    <a:gd name="connsiteX9" fmla="*/ 0 w 474348"/>
                    <a:gd name="connsiteY9" fmla="*/ 235566 h 688181"/>
                    <a:gd name="connsiteX10" fmla="*/ 192704 w 474348"/>
                    <a:gd name="connsiteY10" fmla="*/ 42862 h 688181"/>
                    <a:gd name="connsiteX0" fmla="*/ 192704 w 474348"/>
                    <a:gd name="connsiteY0" fmla="*/ 23812 h 669131"/>
                    <a:gd name="connsiteX1" fmla="*/ 265690 w 474348"/>
                    <a:gd name="connsiteY1" fmla="*/ 0 h 669131"/>
                    <a:gd name="connsiteX2" fmla="*/ 281644 w 474348"/>
                    <a:gd name="connsiteY2" fmla="*/ 23812 h 669131"/>
                    <a:gd name="connsiteX3" fmla="*/ 474348 w 474348"/>
                    <a:gd name="connsiteY3" fmla="*/ 216516 h 669131"/>
                    <a:gd name="connsiteX4" fmla="*/ 474348 w 474348"/>
                    <a:gd name="connsiteY4" fmla="*/ 669131 h 669131"/>
                    <a:gd name="connsiteX5" fmla="*/ 474348 w 474348"/>
                    <a:gd name="connsiteY5" fmla="*/ 669131 h 669131"/>
                    <a:gd name="connsiteX6" fmla="*/ 248129 w 474348"/>
                    <a:gd name="connsiteY6" fmla="*/ 669131 h 669131"/>
                    <a:gd name="connsiteX7" fmla="*/ 0 w 474348"/>
                    <a:gd name="connsiteY7" fmla="*/ 669131 h 669131"/>
                    <a:gd name="connsiteX8" fmla="*/ 0 w 474348"/>
                    <a:gd name="connsiteY8" fmla="*/ 669131 h 669131"/>
                    <a:gd name="connsiteX9" fmla="*/ 0 w 474348"/>
                    <a:gd name="connsiteY9" fmla="*/ 216516 h 669131"/>
                    <a:gd name="connsiteX10" fmla="*/ 192704 w 474348"/>
                    <a:gd name="connsiteY10" fmla="*/ 23812 h 669131"/>
                    <a:gd name="connsiteX0" fmla="*/ 192704 w 474348"/>
                    <a:gd name="connsiteY0" fmla="*/ 23812 h 669131"/>
                    <a:gd name="connsiteX1" fmla="*/ 265690 w 474348"/>
                    <a:gd name="connsiteY1" fmla="*/ 0 h 669131"/>
                    <a:gd name="connsiteX2" fmla="*/ 309530 w 474348"/>
                    <a:gd name="connsiteY2" fmla="*/ 23110 h 669131"/>
                    <a:gd name="connsiteX3" fmla="*/ 474348 w 474348"/>
                    <a:gd name="connsiteY3" fmla="*/ 216516 h 669131"/>
                    <a:gd name="connsiteX4" fmla="*/ 474348 w 474348"/>
                    <a:gd name="connsiteY4" fmla="*/ 669131 h 669131"/>
                    <a:gd name="connsiteX5" fmla="*/ 474348 w 474348"/>
                    <a:gd name="connsiteY5" fmla="*/ 669131 h 669131"/>
                    <a:gd name="connsiteX6" fmla="*/ 248129 w 474348"/>
                    <a:gd name="connsiteY6" fmla="*/ 669131 h 669131"/>
                    <a:gd name="connsiteX7" fmla="*/ 0 w 474348"/>
                    <a:gd name="connsiteY7" fmla="*/ 669131 h 669131"/>
                    <a:gd name="connsiteX8" fmla="*/ 0 w 474348"/>
                    <a:gd name="connsiteY8" fmla="*/ 669131 h 669131"/>
                    <a:gd name="connsiteX9" fmla="*/ 0 w 474348"/>
                    <a:gd name="connsiteY9" fmla="*/ 216516 h 669131"/>
                    <a:gd name="connsiteX10" fmla="*/ 192704 w 474348"/>
                    <a:gd name="connsiteY10" fmla="*/ 23812 h 669131"/>
                    <a:gd name="connsiteX0" fmla="*/ 192704 w 474348"/>
                    <a:gd name="connsiteY0" fmla="*/ 23812 h 669131"/>
                    <a:gd name="connsiteX1" fmla="*/ 265690 w 474348"/>
                    <a:gd name="connsiteY1" fmla="*/ 0 h 669131"/>
                    <a:gd name="connsiteX2" fmla="*/ 309530 w 474348"/>
                    <a:gd name="connsiteY2" fmla="*/ 23110 h 669131"/>
                    <a:gd name="connsiteX3" fmla="*/ 474348 w 474348"/>
                    <a:gd name="connsiteY3" fmla="*/ 216516 h 669131"/>
                    <a:gd name="connsiteX4" fmla="*/ 474348 w 474348"/>
                    <a:gd name="connsiteY4" fmla="*/ 669131 h 669131"/>
                    <a:gd name="connsiteX5" fmla="*/ 474348 w 474348"/>
                    <a:gd name="connsiteY5" fmla="*/ 669131 h 669131"/>
                    <a:gd name="connsiteX6" fmla="*/ 248129 w 474348"/>
                    <a:gd name="connsiteY6" fmla="*/ 669131 h 669131"/>
                    <a:gd name="connsiteX7" fmla="*/ 0 w 474348"/>
                    <a:gd name="connsiteY7" fmla="*/ 669131 h 669131"/>
                    <a:gd name="connsiteX8" fmla="*/ 0 w 474348"/>
                    <a:gd name="connsiteY8" fmla="*/ 669131 h 669131"/>
                    <a:gd name="connsiteX9" fmla="*/ 0 w 474348"/>
                    <a:gd name="connsiteY9" fmla="*/ 216516 h 669131"/>
                    <a:gd name="connsiteX10" fmla="*/ 192704 w 474348"/>
                    <a:gd name="connsiteY10" fmla="*/ 23812 h 669131"/>
                    <a:gd name="connsiteX0" fmla="*/ 192704 w 474348"/>
                    <a:gd name="connsiteY0" fmla="*/ 23812 h 669131"/>
                    <a:gd name="connsiteX1" fmla="*/ 265690 w 474348"/>
                    <a:gd name="connsiteY1" fmla="*/ 0 h 669131"/>
                    <a:gd name="connsiteX2" fmla="*/ 309530 w 474348"/>
                    <a:gd name="connsiteY2" fmla="*/ 23110 h 669131"/>
                    <a:gd name="connsiteX3" fmla="*/ 474348 w 474348"/>
                    <a:gd name="connsiteY3" fmla="*/ 216516 h 669131"/>
                    <a:gd name="connsiteX4" fmla="*/ 474348 w 474348"/>
                    <a:gd name="connsiteY4" fmla="*/ 669131 h 669131"/>
                    <a:gd name="connsiteX5" fmla="*/ 474348 w 474348"/>
                    <a:gd name="connsiteY5" fmla="*/ 669131 h 669131"/>
                    <a:gd name="connsiteX6" fmla="*/ 248129 w 474348"/>
                    <a:gd name="connsiteY6" fmla="*/ 669131 h 669131"/>
                    <a:gd name="connsiteX7" fmla="*/ 0 w 474348"/>
                    <a:gd name="connsiteY7" fmla="*/ 669131 h 669131"/>
                    <a:gd name="connsiteX8" fmla="*/ 0 w 474348"/>
                    <a:gd name="connsiteY8" fmla="*/ 669131 h 669131"/>
                    <a:gd name="connsiteX9" fmla="*/ 0 w 474348"/>
                    <a:gd name="connsiteY9" fmla="*/ 216516 h 669131"/>
                    <a:gd name="connsiteX10" fmla="*/ 192704 w 474348"/>
                    <a:gd name="connsiteY10" fmla="*/ 23812 h 669131"/>
                    <a:gd name="connsiteX0" fmla="*/ 192704 w 474348"/>
                    <a:gd name="connsiteY0" fmla="*/ 23812 h 669131"/>
                    <a:gd name="connsiteX1" fmla="*/ 265690 w 474348"/>
                    <a:gd name="connsiteY1" fmla="*/ 0 h 669131"/>
                    <a:gd name="connsiteX2" fmla="*/ 309530 w 474348"/>
                    <a:gd name="connsiteY2" fmla="*/ 23110 h 669131"/>
                    <a:gd name="connsiteX3" fmla="*/ 474348 w 474348"/>
                    <a:gd name="connsiteY3" fmla="*/ 216516 h 669131"/>
                    <a:gd name="connsiteX4" fmla="*/ 474348 w 474348"/>
                    <a:gd name="connsiteY4" fmla="*/ 669131 h 669131"/>
                    <a:gd name="connsiteX5" fmla="*/ 474348 w 474348"/>
                    <a:gd name="connsiteY5" fmla="*/ 669131 h 669131"/>
                    <a:gd name="connsiteX6" fmla="*/ 248129 w 474348"/>
                    <a:gd name="connsiteY6" fmla="*/ 669131 h 669131"/>
                    <a:gd name="connsiteX7" fmla="*/ 0 w 474348"/>
                    <a:gd name="connsiteY7" fmla="*/ 669131 h 669131"/>
                    <a:gd name="connsiteX8" fmla="*/ 0 w 474348"/>
                    <a:gd name="connsiteY8" fmla="*/ 669131 h 669131"/>
                    <a:gd name="connsiteX9" fmla="*/ 0 w 474348"/>
                    <a:gd name="connsiteY9" fmla="*/ 216516 h 669131"/>
                    <a:gd name="connsiteX10" fmla="*/ 192704 w 474348"/>
                    <a:gd name="connsiteY10" fmla="*/ 23812 h 6691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74348" h="669131">
                      <a:moveTo>
                        <a:pt x="192704" y="23812"/>
                      </a:moveTo>
                      <a:lnTo>
                        <a:pt x="265690" y="0"/>
                      </a:lnTo>
                      <a:cubicBezTo>
                        <a:pt x="271008" y="7937"/>
                        <a:pt x="275989" y="2061"/>
                        <a:pt x="309530" y="23110"/>
                      </a:cubicBezTo>
                      <a:cubicBezTo>
                        <a:pt x="387382" y="59846"/>
                        <a:pt x="474348" y="110089"/>
                        <a:pt x="474348" y="216516"/>
                      </a:cubicBezTo>
                      <a:lnTo>
                        <a:pt x="474348" y="669131"/>
                      </a:lnTo>
                      <a:lnTo>
                        <a:pt x="474348" y="669131"/>
                      </a:lnTo>
                      <a:lnTo>
                        <a:pt x="248129" y="669131"/>
                      </a:lnTo>
                      <a:lnTo>
                        <a:pt x="0" y="669131"/>
                      </a:lnTo>
                      <a:lnTo>
                        <a:pt x="0" y="669131"/>
                      </a:lnTo>
                      <a:lnTo>
                        <a:pt x="0" y="216516"/>
                      </a:lnTo>
                      <a:cubicBezTo>
                        <a:pt x="0" y="110089"/>
                        <a:pt x="135350" y="45744"/>
                        <a:pt x="192704" y="23812"/>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208" name="Oval 207"/>
                <p:cNvSpPr/>
                <p:nvPr/>
              </p:nvSpPr>
              <p:spPr>
                <a:xfrm>
                  <a:off x="2740926" y="1513161"/>
                  <a:ext cx="629631" cy="629631"/>
                </a:xfrm>
                <a:prstGeom prst="ellipse">
                  <a:avLst/>
                </a:prstGeom>
                <a:solidFill>
                  <a:schemeClr val="bg1"/>
                </a:solidFill>
                <a:ln w="508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grpSp>
          <p:nvGrpSpPr>
            <p:cNvPr id="209" name="Group 208"/>
            <p:cNvGrpSpPr/>
            <p:nvPr/>
          </p:nvGrpSpPr>
          <p:grpSpPr>
            <a:xfrm flipH="1">
              <a:off x="873832" y="2512584"/>
              <a:ext cx="833455" cy="1293433"/>
              <a:chOff x="274646" y="-1004072"/>
              <a:chExt cx="5446648" cy="8452622"/>
            </a:xfrm>
            <a:effectLst>
              <a:outerShdw blurRad="76200" dir="13500000" sy="23000" kx="1200000" algn="br" rotWithShape="0">
                <a:prstClr val="black">
                  <a:alpha val="20000"/>
                </a:prstClr>
              </a:outerShdw>
            </a:effectLst>
          </p:grpSpPr>
          <p:sp>
            <p:nvSpPr>
              <p:cNvPr id="210" name="Isosceles Triangle 209"/>
              <p:cNvSpPr/>
              <p:nvPr/>
            </p:nvSpPr>
            <p:spPr>
              <a:xfrm>
                <a:off x="2789660" y="1551279"/>
                <a:ext cx="575648" cy="5897271"/>
              </a:xfrm>
              <a:prstGeom prst="triangle">
                <a:avLst>
                  <a:gd name="adj" fmla="val 5330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11" name="Group 210"/>
              <p:cNvGrpSpPr/>
              <p:nvPr/>
            </p:nvGrpSpPr>
            <p:grpSpPr>
              <a:xfrm>
                <a:off x="274646" y="-1004072"/>
                <a:ext cx="5446648" cy="3713114"/>
                <a:chOff x="274646" y="-1004072"/>
                <a:chExt cx="5446648" cy="3713114"/>
              </a:xfrm>
            </p:grpSpPr>
            <p:sp>
              <p:nvSpPr>
                <p:cNvPr id="212" name="Round Same Side Corner Rectangle 11"/>
                <p:cNvSpPr/>
                <p:nvPr/>
              </p:nvSpPr>
              <p:spPr>
                <a:xfrm rot="240000">
                  <a:off x="3037776" y="-1004072"/>
                  <a:ext cx="251846" cy="2632765"/>
                </a:xfrm>
                <a:custGeom>
                  <a:avLst/>
                  <a:gdLst>
                    <a:gd name="connsiteX0" fmla="*/ 192704 w 474348"/>
                    <a:gd name="connsiteY0" fmla="*/ 0 h 645319"/>
                    <a:gd name="connsiteX1" fmla="*/ 281644 w 474348"/>
                    <a:gd name="connsiteY1" fmla="*/ 0 h 645319"/>
                    <a:gd name="connsiteX2" fmla="*/ 474348 w 474348"/>
                    <a:gd name="connsiteY2" fmla="*/ 192704 h 645319"/>
                    <a:gd name="connsiteX3" fmla="*/ 474348 w 474348"/>
                    <a:gd name="connsiteY3" fmla="*/ 645319 h 645319"/>
                    <a:gd name="connsiteX4" fmla="*/ 474348 w 474348"/>
                    <a:gd name="connsiteY4" fmla="*/ 645319 h 645319"/>
                    <a:gd name="connsiteX5" fmla="*/ 0 w 474348"/>
                    <a:gd name="connsiteY5" fmla="*/ 645319 h 645319"/>
                    <a:gd name="connsiteX6" fmla="*/ 0 w 474348"/>
                    <a:gd name="connsiteY6" fmla="*/ 645319 h 645319"/>
                    <a:gd name="connsiteX7" fmla="*/ 0 w 474348"/>
                    <a:gd name="connsiteY7" fmla="*/ 192704 h 645319"/>
                    <a:gd name="connsiteX8" fmla="*/ 192704 w 474348"/>
                    <a:gd name="connsiteY8" fmla="*/ 0 h 645319"/>
                    <a:gd name="connsiteX0" fmla="*/ 192704 w 474348"/>
                    <a:gd name="connsiteY0" fmla="*/ 0 h 645319"/>
                    <a:gd name="connsiteX1" fmla="*/ 281644 w 474348"/>
                    <a:gd name="connsiteY1" fmla="*/ 0 h 645319"/>
                    <a:gd name="connsiteX2" fmla="*/ 474348 w 474348"/>
                    <a:gd name="connsiteY2" fmla="*/ 192704 h 645319"/>
                    <a:gd name="connsiteX3" fmla="*/ 474348 w 474348"/>
                    <a:gd name="connsiteY3" fmla="*/ 645319 h 645319"/>
                    <a:gd name="connsiteX4" fmla="*/ 474348 w 474348"/>
                    <a:gd name="connsiteY4" fmla="*/ 645319 h 645319"/>
                    <a:gd name="connsiteX5" fmla="*/ 248129 w 474348"/>
                    <a:gd name="connsiteY5" fmla="*/ 645319 h 645319"/>
                    <a:gd name="connsiteX6" fmla="*/ 0 w 474348"/>
                    <a:gd name="connsiteY6" fmla="*/ 645319 h 645319"/>
                    <a:gd name="connsiteX7" fmla="*/ 0 w 474348"/>
                    <a:gd name="connsiteY7" fmla="*/ 645319 h 645319"/>
                    <a:gd name="connsiteX8" fmla="*/ 0 w 474348"/>
                    <a:gd name="connsiteY8" fmla="*/ 192704 h 645319"/>
                    <a:gd name="connsiteX9" fmla="*/ 192704 w 474348"/>
                    <a:gd name="connsiteY9" fmla="*/ 0 h 645319"/>
                    <a:gd name="connsiteX0" fmla="*/ 192704 w 474348"/>
                    <a:gd name="connsiteY0" fmla="*/ 2381 h 647700"/>
                    <a:gd name="connsiteX1" fmla="*/ 240986 w 474348"/>
                    <a:gd name="connsiteY1" fmla="*/ 0 h 647700"/>
                    <a:gd name="connsiteX2" fmla="*/ 281644 w 474348"/>
                    <a:gd name="connsiteY2" fmla="*/ 2381 h 647700"/>
                    <a:gd name="connsiteX3" fmla="*/ 474348 w 474348"/>
                    <a:gd name="connsiteY3" fmla="*/ 195085 h 647700"/>
                    <a:gd name="connsiteX4" fmla="*/ 474348 w 474348"/>
                    <a:gd name="connsiteY4" fmla="*/ 647700 h 647700"/>
                    <a:gd name="connsiteX5" fmla="*/ 474348 w 474348"/>
                    <a:gd name="connsiteY5" fmla="*/ 647700 h 647700"/>
                    <a:gd name="connsiteX6" fmla="*/ 248129 w 474348"/>
                    <a:gd name="connsiteY6" fmla="*/ 647700 h 647700"/>
                    <a:gd name="connsiteX7" fmla="*/ 0 w 474348"/>
                    <a:gd name="connsiteY7" fmla="*/ 647700 h 647700"/>
                    <a:gd name="connsiteX8" fmla="*/ 0 w 474348"/>
                    <a:gd name="connsiteY8" fmla="*/ 647700 h 647700"/>
                    <a:gd name="connsiteX9" fmla="*/ 0 w 474348"/>
                    <a:gd name="connsiteY9" fmla="*/ 195085 h 647700"/>
                    <a:gd name="connsiteX10" fmla="*/ 192704 w 474348"/>
                    <a:gd name="connsiteY10" fmla="*/ 2381 h 647700"/>
                    <a:gd name="connsiteX0" fmla="*/ 192704 w 474348"/>
                    <a:gd name="connsiteY0" fmla="*/ 42862 h 688181"/>
                    <a:gd name="connsiteX1" fmla="*/ 240986 w 474348"/>
                    <a:gd name="connsiteY1" fmla="*/ 0 h 688181"/>
                    <a:gd name="connsiteX2" fmla="*/ 281644 w 474348"/>
                    <a:gd name="connsiteY2" fmla="*/ 42862 h 688181"/>
                    <a:gd name="connsiteX3" fmla="*/ 474348 w 474348"/>
                    <a:gd name="connsiteY3" fmla="*/ 235566 h 688181"/>
                    <a:gd name="connsiteX4" fmla="*/ 474348 w 474348"/>
                    <a:gd name="connsiteY4" fmla="*/ 688181 h 688181"/>
                    <a:gd name="connsiteX5" fmla="*/ 474348 w 474348"/>
                    <a:gd name="connsiteY5" fmla="*/ 688181 h 688181"/>
                    <a:gd name="connsiteX6" fmla="*/ 248129 w 474348"/>
                    <a:gd name="connsiteY6" fmla="*/ 688181 h 688181"/>
                    <a:gd name="connsiteX7" fmla="*/ 0 w 474348"/>
                    <a:gd name="connsiteY7" fmla="*/ 688181 h 688181"/>
                    <a:gd name="connsiteX8" fmla="*/ 0 w 474348"/>
                    <a:gd name="connsiteY8" fmla="*/ 688181 h 688181"/>
                    <a:gd name="connsiteX9" fmla="*/ 0 w 474348"/>
                    <a:gd name="connsiteY9" fmla="*/ 235566 h 688181"/>
                    <a:gd name="connsiteX10" fmla="*/ 192704 w 474348"/>
                    <a:gd name="connsiteY10" fmla="*/ 42862 h 688181"/>
                    <a:gd name="connsiteX0" fmla="*/ 192704 w 474348"/>
                    <a:gd name="connsiteY0" fmla="*/ 23812 h 669131"/>
                    <a:gd name="connsiteX1" fmla="*/ 265690 w 474348"/>
                    <a:gd name="connsiteY1" fmla="*/ 0 h 669131"/>
                    <a:gd name="connsiteX2" fmla="*/ 281644 w 474348"/>
                    <a:gd name="connsiteY2" fmla="*/ 23812 h 669131"/>
                    <a:gd name="connsiteX3" fmla="*/ 474348 w 474348"/>
                    <a:gd name="connsiteY3" fmla="*/ 216516 h 669131"/>
                    <a:gd name="connsiteX4" fmla="*/ 474348 w 474348"/>
                    <a:gd name="connsiteY4" fmla="*/ 669131 h 669131"/>
                    <a:gd name="connsiteX5" fmla="*/ 474348 w 474348"/>
                    <a:gd name="connsiteY5" fmla="*/ 669131 h 669131"/>
                    <a:gd name="connsiteX6" fmla="*/ 248129 w 474348"/>
                    <a:gd name="connsiteY6" fmla="*/ 669131 h 669131"/>
                    <a:gd name="connsiteX7" fmla="*/ 0 w 474348"/>
                    <a:gd name="connsiteY7" fmla="*/ 669131 h 669131"/>
                    <a:gd name="connsiteX8" fmla="*/ 0 w 474348"/>
                    <a:gd name="connsiteY8" fmla="*/ 669131 h 669131"/>
                    <a:gd name="connsiteX9" fmla="*/ 0 w 474348"/>
                    <a:gd name="connsiteY9" fmla="*/ 216516 h 669131"/>
                    <a:gd name="connsiteX10" fmla="*/ 192704 w 474348"/>
                    <a:gd name="connsiteY10" fmla="*/ 23812 h 669131"/>
                    <a:gd name="connsiteX0" fmla="*/ 192704 w 474348"/>
                    <a:gd name="connsiteY0" fmla="*/ 23812 h 669131"/>
                    <a:gd name="connsiteX1" fmla="*/ 265690 w 474348"/>
                    <a:gd name="connsiteY1" fmla="*/ 0 h 669131"/>
                    <a:gd name="connsiteX2" fmla="*/ 281644 w 474348"/>
                    <a:gd name="connsiteY2" fmla="*/ 23812 h 669131"/>
                    <a:gd name="connsiteX3" fmla="*/ 474348 w 474348"/>
                    <a:gd name="connsiteY3" fmla="*/ 216516 h 669131"/>
                    <a:gd name="connsiteX4" fmla="*/ 474348 w 474348"/>
                    <a:gd name="connsiteY4" fmla="*/ 669131 h 669131"/>
                    <a:gd name="connsiteX5" fmla="*/ 474348 w 474348"/>
                    <a:gd name="connsiteY5" fmla="*/ 669131 h 669131"/>
                    <a:gd name="connsiteX6" fmla="*/ 248129 w 474348"/>
                    <a:gd name="connsiteY6" fmla="*/ 669131 h 669131"/>
                    <a:gd name="connsiteX7" fmla="*/ 0 w 474348"/>
                    <a:gd name="connsiteY7" fmla="*/ 669131 h 669131"/>
                    <a:gd name="connsiteX8" fmla="*/ 0 w 474348"/>
                    <a:gd name="connsiteY8" fmla="*/ 669131 h 669131"/>
                    <a:gd name="connsiteX9" fmla="*/ 0 w 474348"/>
                    <a:gd name="connsiteY9" fmla="*/ 216516 h 669131"/>
                    <a:gd name="connsiteX10" fmla="*/ 192704 w 474348"/>
                    <a:gd name="connsiteY10" fmla="*/ 23812 h 669131"/>
                    <a:gd name="connsiteX0" fmla="*/ 192704 w 474348"/>
                    <a:gd name="connsiteY0" fmla="*/ 23812 h 669131"/>
                    <a:gd name="connsiteX1" fmla="*/ 265690 w 474348"/>
                    <a:gd name="connsiteY1" fmla="*/ 0 h 669131"/>
                    <a:gd name="connsiteX2" fmla="*/ 281644 w 474348"/>
                    <a:gd name="connsiteY2" fmla="*/ 23812 h 669131"/>
                    <a:gd name="connsiteX3" fmla="*/ 474348 w 474348"/>
                    <a:gd name="connsiteY3" fmla="*/ 216516 h 669131"/>
                    <a:gd name="connsiteX4" fmla="*/ 474348 w 474348"/>
                    <a:gd name="connsiteY4" fmla="*/ 669131 h 669131"/>
                    <a:gd name="connsiteX5" fmla="*/ 474348 w 474348"/>
                    <a:gd name="connsiteY5" fmla="*/ 669131 h 669131"/>
                    <a:gd name="connsiteX6" fmla="*/ 248129 w 474348"/>
                    <a:gd name="connsiteY6" fmla="*/ 669131 h 669131"/>
                    <a:gd name="connsiteX7" fmla="*/ 0 w 474348"/>
                    <a:gd name="connsiteY7" fmla="*/ 669131 h 669131"/>
                    <a:gd name="connsiteX8" fmla="*/ 0 w 474348"/>
                    <a:gd name="connsiteY8" fmla="*/ 669131 h 669131"/>
                    <a:gd name="connsiteX9" fmla="*/ 0 w 474348"/>
                    <a:gd name="connsiteY9" fmla="*/ 216516 h 669131"/>
                    <a:gd name="connsiteX10" fmla="*/ 192704 w 474348"/>
                    <a:gd name="connsiteY10" fmla="*/ 23812 h 669131"/>
                    <a:gd name="connsiteX0" fmla="*/ 192704 w 474348"/>
                    <a:gd name="connsiteY0" fmla="*/ 23812 h 669131"/>
                    <a:gd name="connsiteX1" fmla="*/ 265690 w 474348"/>
                    <a:gd name="connsiteY1" fmla="*/ 0 h 669131"/>
                    <a:gd name="connsiteX2" fmla="*/ 281644 w 474348"/>
                    <a:gd name="connsiteY2" fmla="*/ 23812 h 669131"/>
                    <a:gd name="connsiteX3" fmla="*/ 474348 w 474348"/>
                    <a:gd name="connsiteY3" fmla="*/ 216516 h 669131"/>
                    <a:gd name="connsiteX4" fmla="*/ 474348 w 474348"/>
                    <a:gd name="connsiteY4" fmla="*/ 669131 h 669131"/>
                    <a:gd name="connsiteX5" fmla="*/ 474348 w 474348"/>
                    <a:gd name="connsiteY5" fmla="*/ 669131 h 669131"/>
                    <a:gd name="connsiteX6" fmla="*/ 248129 w 474348"/>
                    <a:gd name="connsiteY6" fmla="*/ 669131 h 669131"/>
                    <a:gd name="connsiteX7" fmla="*/ 0 w 474348"/>
                    <a:gd name="connsiteY7" fmla="*/ 669131 h 669131"/>
                    <a:gd name="connsiteX8" fmla="*/ 0 w 474348"/>
                    <a:gd name="connsiteY8" fmla="*/ 669131 h 669131"/>
                    <a:gd name="connsiteX9" fmla="*/ 0 w 474348"/>
                    <a:gd name="connsiteY9" fmla="*/ 216516 h 669131"/>
                    <a:gd name="connsiteX10" fmla="*/ 192704 w 474348"/>
                    <a:gd name="connsiteY10" fmla="*/ 23812 h 669131"/>
                    <a:gd name="connsiteX0" fmla="*/ 192704 w 474348"/>
                    <a:gd name="connsiteY0" fmla="*/ 23812 h 669131"/>
                    <a:gd name="connsiteX1" fmla="*/ 265690 w 474348"/>
                    <a:gd name="connsiteY1" fmla="*/ 0 h 669131"/>
                    <a:gd name="connsiteX2" fmla="*/ 281644 w 474348"/>
                    <a:gd name="connsiteY2" fmla="*/ 23812 h 669131"/>
                    <a:gd name="connsiteX3" fmla="*/ 474348 w 474348"/>
                    <a:gd name="connsiteY3" fmla="*/ 216516 h 669131"/>
                    <a:gd name="connsiteX4" fmla="*/ 474348 w 474348"/>
                    <a:gd name="connsiteY4" fmla="*/ 669131 h 669131"/>
                    <a:gd name="connsiteX5" fmla="*/ 474348 w 474348"/>
                    <a:gd name="connsiteY5" fmla="*/ 669131 h 669131"/>
                    <a:gd name="connsiteX6" fmla="*/ 248129 w 474348"/>
                    <a:gd name="connsiteY6" fmla="*/ 669131 h 669131"/>
                    <a:gd name="connsiteX7" fmla="*/ 0 w 474348"/>
                    <a:gd name="connsiteY7" fmla="*/ 669131 h 669131"/>
                    <a:gd name="connsiteX8" fmla="*/ 0 w 474348"/>
                    <a:gd name="connsiteY8" fmla="*/ 669131 h 669131"/>
                    <a:gd name="connsiteX9" fmla="*/ 0 w 474348"/>
                    <a:gd name="connsiteY9" fmla="*/ 216516 h 669131"/>
                    <a:gd name="connsiteX10" fmla="*/ 192704 w 474348"/>
                    <a:gd name="connsiteY10" fmla="*/ 23812 h 669131"/>
                    <a:gd name="connsiteX0" fmla="*/ 192704 w 474348"/>
                    <a:gd name="connsiteY0" fmla="*/ 23812 h 669131"/>
                    <a:gd name="connsiteX1" fmla="*/ 265690 w 474348"/>
                    <a:gd name="connsiteY1" fmla="*/ 0 h 669131"/>
                    <a:gd name="connsiteX2" fmla="*/ 299854 w 474348"/>
                    <a:gd name="connsiteY2" fmla="*/ 24247 h 669131"/>
                    <a:gd name="connsiteX3" fmla="*/ 474348 w 474348"/>
                    <a:gd name="connsiteY3" fmla="*/ 216516 h 669131"/>
                    <a:gd name="connsiteX4" fmla="*/ 474348 w 474348"/>
                    <a:gd name="connsiteY4" fmla="*/ 669131 h 669131"/>
                    <a:gd name="connsiteX5" fmla="*/ 474348 w 474348"/>
                    <a:gd name="connsiteY5" fmla="*/ 669131 h 669131"/>
                    <a:gd name="connsiteX6" fmla="*/ 248129 w 474348"/>
                    <a:gd name="connsiteY6" fmla="*/ 669131 h 669131"/>
                    <a:gd name="connsiteX7" fmla="*/ 0 w 474348"/>
                    <a:gd name="connsiteY7" fmla="*/ 669131 h 669131"/>
                    <a:gd name="connsiteX8" fmla="*/ 0 w 474348"/>
                    <a:gd name="connsiteY8" fmla="*/ 669131 h 669131"/>
                    <a:gd name="connsiteX9" fmla="*/ 0 w 474348"/>
                    <a:gd name="connsiteY9" fmla="*/ 216516 h 669131"/>
                    <a:gd name="connsiteX10" fmla="*/ 192704 w 474348"/>
                    <a:gd name="connsiteY10" fmla="*/ 23812 h 669131"/>
                    <a:gd name="connsiteX0" fmla="*/ 192704 w 474348"/>
                    <a:gd name="connsiteY0" fmla="*/ 23812 h 669131"/>
                    <a:gd name="connsiteX1" fmla="*/ 265690 w 474348"/>
                    <a:gd name="connsiteY1" fmla="*/ 0 h 669131"/>
                    <a:gd name="connsiteX2" fmla="*/ 299854 w 474348"/>
                    <a:gd name="connsiteY2" fmla="*/ 24247 h 669131"/>
                    <a:gd name="connsiteX3" fmla="*/ 474348 w 474348"/>
                    <a:gd name="connsiteY3" fmla="*/ 216516 h 669131"/>
                    <a:gd name="connsiteX4" fmla="*/ 474348 w 474348"/>
                    <a:gd name="connsiteY4" fmla="*/ 669131 h 669131"/>
                    <a:gd name="connsiteX5" fmla="*/ 474348 w 474348"/>
                    <a:gd name="connsiteY5" fmla="*/ 669131 h 669131"/>
                    <a:gd name="connsiteX6" fmla="*/ 248129 w 474348"/>
                    <a:gd name="connsiteY6" fmla="*/ 669131 h 669131"/>
                    <a:gd name="connsiteX7" fmla="*/ 0 w 474348"/>
                    <a:gd name="connsiteY7" fmla="*/ 669131 h 669131"/>
                    <a:gd name="connsiteX8" fmla="*/ 0 w 474348"/>
                    <a:gd name="connsiteY8" fmla="*/ 669131 h 669131"/>
                    <a:gd name="connsiteX9" fmla="*/ 0 w 474348"/>
                    <a:gd name="connsiteY9" fmla="*/ 216516 h 669131"/>
                    <a:gd name="connsiteX10" fmla="*/ 192704 w 474348"/>
                    <a:gd name="connsiteY10" fmla="*/ 23812 h 669131"/>
                    <a:gd name="connsiteX0" fmla="*/ 192704 w 474348"/>
                    <a:gd name="connsiteY0" fmla="*/ 23812 h 669131"/>
                    <a:gd name="connsiteX1" fmla="*/ 265690 w 474348"/>
                    <a:gd name="connsiteY1" fmla="*/ 0 h 669131"/>
                    <a:gd name="connsiteX2" fmla="*/ 299854 w 474348"/>
                    <a:gd name="connsiteY2" fmla="*/ 24247 h 669131"/>
                    <a:gd name="connsiteX3" fmla="*/ 474348 w 474348"/>
                    <a:gd name="connsiteY3" fmla="*/ 216516 h 669131"/>
                    <a:gd name="connsiteX4" fmla="*/ 474348 w 474348"/>
                    <a:gd name="connsiteY4" fmla="*/ 669131 h 669131"/>
                    <a:gd name="connsiteX5" fmla="*/ 474348 w 474348"/>
                    <a:gd name="connsiteY5" fmla="*/ 669131 h 669131"/>
                    <a:gd name="connsiteX6" fmla="*/ 248129 w 474348"/>
                    <a:gd name="connsiteY6" fmla="*/ 669131 h 669131"/>
                    <a:gd name="connsiteX7" fmla="*/ 0 w 474348"/>
                    <a:gd name="connsiteY7" fmla="*/ 669131 h 669131"/>
                    <a:gd name="connsiteX8" fmla="*/ 0 w 474348"/>
                    <a:gd name="connsiteY8" fmla="*/ 669131 h 669131"/>
                    <a:gd name="connsiteX9" fmla="*/ 0 w 474348"/>
                    <a:gd name="connsiteY9" fmla="*/ 216516 h 669131"/>
                    <a:gd name="connsiteX10" fmla="*/ 192704 w 474348"/>
                    <a:gd name="connsiteY10" fmla="*/ 23812 h 669131"/>
                    <a:gd name="connsiteX0" fmla="*/ 192704 w 474348"/>
                    <a:gd name="connsiteY0" fmla="*/ 23812 h 669131"/>
                    <a:gd name="connsiteX1" fmla="*/ 265690 w 474348"/>
                    <a:gd name="connsiteY1" fmla="*/ 0 h 669131"/>
                    <a:gd name="connsiteX2" fmla="*/ 299854 w 474348"/>
                    <a:gd name="connsiteY2" fmla="*/ 24247 h 669131"/>
                    <a:gd name="connsiteX3" fmla="*/ 474348 w 474348"/>
                    <a:gd name="connsiteY3" fmla="*/ 216516 h 669131"/>
                    <a:gd name="connsiteX4" fmla="*/ 474348 w 474348"/>
                    <a:gd name="connsiteY4" fmla="*/ 669131 h 669131"/>
                    <a:gd name="connsiteX5" fmla="*/ 474348 w 474348"/>
                    <a:gd name="connsiteY5" fmla="*/ 669131 h 669131"/>
                    <a:gd name="connsiteX6" fmla="*/ 248129 w 474348"/>
                    <a:gd name="connsiteY6" fmla="*/ 669131 h 669131"/>
                    <a:gd name="connsiteX7" fmla="*/ 0 w 474348"/>
                    <a:gd name="connsiteY7" fmla="*/ 669131 h 669131"/>
                    <a:gd name="connsiteX8" fmla="*/ 0 w 474348"/>
                    <a:gd name="connsiteY8" fmla="*/ 669131 h 669131"/>
                    <a:gd name="connsiteX9" fmla="*/ 0 w 474348"/>
                    <a:gd name="connsiteY9" fmla="*/ 216516 h 669131"/>
                    <a:gd name="connsiteX10" fmla="*/ 192704 w 474348"/>
                    <a:gd name="connsiteY10" fmla="*/ 23812 h 669131"/>
                    <a:gd name="connsiteX0" fmla="*/ 192704 w 474348"/>
                    <a:gd name="connsiteY0" fmla="*/ 23812 h 669131"/>
                    <a:gd name="connsiteX1" fmla="*/ 265690 w 474348"/>
                    <a:gd name="connsiteY1" fmla="*/ 0 h 669131"/>
                    <a:gd name="connsiteX2" fmla="*/ 317751 w 474348"/>
                    <a:gd name="connsiteY2" fmla="*/ 24078 h 669131"/>
                    <a:gd name="connsiteX3" fmla="*/ 474348 w 474348"/>
                    <a:gd name="connsiteY3" fmla="*/ 216516 h 669131"/>
                    <a:gd name="connsiteX4" fmla="*/ 474348 w 474348"/>
                    <a:gd name="connsiteY4" fmla="*/ 669131 h 669131"/>
                    <a:gd name="connsiteX5" fmla="*/ 474348 w 474348"/>
                    <a:gd name="connsiteY5" fmla="*/ 669131 h 669131"/>
                    <a:gd name="connsiteX6" fmla="*/ 248129 w 474348"/>
                    <a:gd name="connsiteY6" fmla="*/ 669131 h 669131"/>
                    <a:gd name="connsiteX7" fmla="*/ 0 w 474348"/>
                    <a:gd name="connsiteY7" fmla="*/ 669131 h 669131"/>
                    <a:gd name="connsiteX8" fmla="*/ 0 w 474348"/>
                    <a:gd name="connsiteY8" fmla="*/ 669131 h 669131"/>
                    <a:gd name="connsiteX9" fmla="*/ 0 w 474348"/>
                    <a:gd name="connsiteY9" fmla="*/ 216516 h 669131"/>
                    <a:gd name="connsiteX10" fmla="*/ 192704 w 474348"/>
                    <a:gd name="connsiteY10" fmla="*/ 23812 h 669131"/>
                    <a:gd name="connsiteX0" fmla="*/ 192704 w 474348"/>
                    <a:gd name="connsiteY0" fmla="*/ 23812 h 669131"/>
                    <a:gd name="connsiteX1" fmla="*/ 265690 w 474348"/>
                    <a:gd name="connsiteY1" fmla="*/ 0 h 669131"/>
                    <a:gd name="connsiteX2" fmla="*/ 317751 w 474348"/>
                    <a:gd name="connsiteY2" fmla="*/ 24078 h 669131"/>
                    <a:gd name="connsiteX3" fmla="*/ 474348 w 474348"/>
                    <a:gd name="connsiteY3" fmla="*/ 216516 h 669131"/>
                    <a:gd name="connsiteX4" fmla="*/ 474348 w 474348"/>
                    <a:gd name="connsiteY4" fmla="*/ 669131 h 669131"/>
                    <a:gd name="connsiteX5" fmla="*/ 474348 w 474348"/>
                    <a:gd name="connsiteY5" fmla="*/ 669131 h 669131"/>
                    <a:gd name="connsiteX6" fmla="*/ 248129 w 474348"/>
                    <a:gd name="connsiteY6" fmla="*/ 669131 h 669131"/>
                    <a:gd name="connsiteX7" fmla="*/ 0 w 474348"/>
                    <a:gd name="connsiteY7" fmla="*/ 669131 h 669131"/>
                    <a:gd name="connsiteX8" fmla="*/ 0 w 474348"/>
                    <a:gd name="connsiteY8" fmla="*/ 669131 h 669131"/>
                    <a:gd name="connsiteX9" fmla="*/ 0 w 474348"/>
                    <a:gd name="connsiteY9" fmla="*/ 216516 h 669131"/>
                    <a:gd name="connsiteX10" fmla="*/ 192704 w 474348"/>
                    <a:gd name="connsiteY10" fmla="*/ 23812 h 6691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74348" h="669131">
                      <a:moveTo>
                        <a:pt x="192704" y="23812"/>
                      </a:moveTo>
                      <a:cubicBezTo>
                        <a:pt x="263527" y="1482"/>
                        <a:pt x="241361" y="7937"/>
                        <a:pt x="265690" y="0"/>
                      </a:cubicBezTo>
                      <a:cubicBezTo>
                        <a:pt x="271008" y="7937"/>
                        <a:pt x="263093" y="-988"/>
                        <a:pt x="317751" y="24078"/>
                      </a:cubicBezTo>
                      <a:cubicBezTo>
                        <a:pt x="369579" y="48860"/>
                        <a:pt x="474348" y="110089"/>
                        <a:pt x="474348" y="216516"/>
                      </a:cubicBezTo>
                      <a:lnTo>
                        <a:pt x="474348" y="669131"/>
                      </a:lnTo>
                      <a:lnTo>
                        <a:pt x="474348" y="669131"/>
                      </a:lnTo>
                      <a:lnTo>
                        <a:pt x="248129" y="669131"/>
                      </a:lnTo>
                      <a:lnTo>
                        <a:pt x="0" y="669131"/>
                      </a:lnTo>
                      <a:lnTo>
                        <a:pt x="0" y="669131"/>
                      </a:lnTo>
                      <a:lnTo>
                        <a:pt x="0" y="216516"/>
                      </a:lnTo>
                      <a:cubicBezTo>
                        <a:pt x="0" y="110089"/>
                        <a:pt x="141340" y="43314"/>
                        <a:pt x="192704" y="23812"/>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213" name="Round Same Side Corner Rectangle 11"/>
                <p:cNvSpPr/>
                <p:nvPr/>
              </p:nvSpPr>
              <p:spPr>
                <a:xfrm rot="15060000">
                  <a:off x="1454696" y="1026331"/>
                  <a:ext cx="251846" cy="2611946"/>
                </a:xfrm>
                <a:custGeom>
                  <a:avLst/>
                  <a:gdLst>
                    <a:gd name="connsiteX0" fmla="*/ 192704 w 474348"/>
                    <a:gd name="connsiteY0" fmla="*/ 0 h 645319"/>
                    <a:gd name="connsiteX1" fmla="*/ 281644 w 474348"/>
                    <a:gd name="connsiteY1" fmla="*/ 0 h 645319"/>
                    <a:gd name="connsiteX2" fmla="*/ 474348 w 474348"/>
                    <a:gd name="connsiteY2" fmla="*/ 192704 h 645319"/>
                    <a:gd name="connsiteX3" fmla="*/ 474348 w 474348"/>
                    <a:gd name="connsiteY3" fmla="*/ 645319 h 645319"/>
                    <a:gd name="connsiteX4" fmla="*/ 474348 w 474348"/>
                    <a:gd name="connsiteY4" fmla="*/ 645319 h 645319"/>
                    <a:gd name="connsiteX5" fmla="*/ 0 w 474348"/>
                    <a:gd name="connsiteY5" fmla="*/ 645319 h 645319"/>
                    <a:gd name="connsiteX6" fmla="*/ 0 w 474348"/>
                    <a:gd name="connsiteY6" fmla="*/ 645319 h 645319"/>
                    <a:gd name="connsiteX7" fmla="*/ 0 w 474348"/>
                    <a:gd name="connsiteY7" fmla="*/ 192704 h 645319"/>
                    <a:gd name="connsiteX8" fmla="*/ 192704 w 474348"/>
                    <a:gd name="connsiteY8" fmla="*/ 0 h 645319"/>
                    <a:gd name="connsiteX0" fmla="*/ 192704 w 474348"/>
                    <a:gd name="connsiteY0" fmla="*/ 0 h 645319"/>
                    <a:gd name="connsiteX1" fmla="*/ 281644 w 474348"/>
                    <a:gd name="connsiteY1" fmla="*/ 0 h 645319"/>
                    <a:gd name="connsiteX2" fmla="*/ 474348 w 474348"/>
                    <a:gd name="connsiteY2" fmla="*/ 192704 h 645319"/>
                    <a:gd name="connsiteX3" fmla="*/ 474348 w 474348"/>
                    <a:gd name="connsiteY3" fmla="*/ 645319 h 645319"/>
                    <a:gd name="connsiteX4" fmla="*/ 474348 w 474348"/>
                    <a:gd name="connsiteY4" fmla="*/ 645319 h 645319"/>
                    <a:gd name="connsiteX5" fmla="*/ 248129 w 474348"/>
                    <a:gd name="connsiteY5" fmla="*/ 645319 h 645319"/>
                    <a:gd name="connsiteX6" fmla="*/ 0 w 474348"/>
                    <a:gd name="connsiteY6" fmla="*/ 645319 h 645319"/>
                    <a:gd name="connsiteX7" fmla="*/ 0 w 474348"/>
                    <a:gd name="connsiteY7" fmla="*/ 645319 h 645319"/>
                    <a:gd name="connsiteX8" fmla="*/ 0 w 474348"/>
                    <a:gd name="connsiteY8" fmla="*/ 192704 h 645319"/>
                    <a:gd name="connsiteX9" fmla="*/ 192704 w 474348"/>
                    <a:gd name="connsiteY9" fmla="*/ 0 h 645319"/>
                    <a:gd name="connsiteX0" fmla="*/ 192704 w 474348"/>
                    <a:gd name="connsiteY0" fmla="*/ 2381 h 647700"/>
                    <a:gd name="connsiteX1" fmla="*/ 240986 w 474348"/>
                    <a:gd name="connsiteY1" fmla="*/ 0 h 647700"/>
                    <a:gd name="connsiteX2" fmla="*/ 281644 w 474348"/>
                    <a:gd name="connsiteY2" fmla="*/ 2381 h 647700"/>
                    <a:gd name="connsiteX3" fmla="*/ 474348 w 474348"/>
                    <a:gd name="connsiteY3" fmla="*/ 195085 h 647700"/>
                    <a:gd name="connsiteX4" fmla="*/ 474348 w 474348"/>
                    <a:gd name="connsiteY4" fmla="*/ 647700 h 647700"/>
                    <a:gd name="connsiteX5" fmla="*/ 474348 w 474348"/>
                    <a:gd name="connsiteY5" fmla="*/ 647700 h 647700"/>
                    <a:gd name="connsiteX6" fmla="*/ 248129 w 474348"/>
                    <a:gd name="connsiteY6" fmla="*/ 647700 h 647700"/>
                    <a:gd name="connsiteX7" fmla="*/ 0 w 474348"/>
                    <a:gd name="connsiteY7" fmla="*/ 647700 h 647700"/>
                    <a:gd name="connsiteX8" fmla="*/ 0 w 474348"/>
                    <a:gd name="connsiteY8" fmla="*/ 647700 h 647700"/>
                    <a:gd name="connsiteX9" fmla="*/ 0 w 474348"/>
                    <a:gd name="connsiteY9" fmla="*/ 195085 h 647700"/>
                    <a:gd name="connsiteX10" fmla="*/ 192704 w 474348"/>
                    <a:gd name="connsiteY10" fmla="*/ 2381 h 647700"/>
                    <a:gd name="connsiteX0" fmla="*/ 192704 w 474348"/>
                    <a:gd name="connsiteY0" fmla="*/ 42862 h 688181"/>
                    <a:gd name="connsiteX1" fmla="*/ 240986 w 474348"/>
                    <a:gd name="connsiteY1" fmla="*/ 0 h 688181"/>
                    <a:gd name="connsiteX2" fmla="*/ 281644 w 474348"/>
                    <a:gd name="connsiteY2" fmla="*/ 42862 h 688181"/>
                    <a:gd name="connsiteX3" fmla="*/ 474348 w 474348"/>
                    <a:gd name="connsiteY3" fmla="*/ 235566 h 688181"/>
                    <a:gd name="connsiteX4" fmla="*/ 474348 w 474348"/>
                    <a:gd name="connsiteY4" fmla="*/ 688181 h 688181"/>
                    <a:gd name="connsiteX5" fmla="*/ 474348 w 474348"/>
                    <a:gd name="connsiteY5" fmla="*/ 688181 h 688181"/>
                    <a:gd name="connsiteX6" fmla="*/ 248129 w 474348"/>
                    <a:gd name="connsiteY6" fmla="*/ 688181 h 688181"/>
                    <a:gd name="connsiteX7" fmla="*/ 0 w 474348"/>
                    <a:gd name="connsiteY7" fmla="*/ 688181 h 688181"/>
                    <a:gd name="connsiteX8" fmla="*/ 0 w 474348"/>
                    <a:gd name="connsiteY8" fmla="*/ 688181 h 688181"/>
                    <a:gd name="connsiteX9" fmla="*/ 0 w 474348"/>
                    <a:gd name="connsiteY9" fmla="*/ 235566 h 688181"/>
                    <a:gd name="connsiteX10" fmla="*/ 192704 w 474348"/>
                    <a:gd name="connsiteY10" fmla="*/ 42862 h 688181"/>
                    <a:gd name="connsiteX0" fmla="*/ 192704 w 474348"/>
                    <a:gd name="connsiteY0" fmla="*/ 23812 h 669131"/>
                    <a:gd name="connsiteX1" fmla="*/ 265690 w 474348"/>
                    <a:gd name="connsiteY1" fmla="*/ 0 h 669131"/>
                    <a:gd name="connsiteX2" fmla="*/ 281644 w 474348"/>
                    <a:gd name="connsiteY2" fmla="*/ 23812 h 669131"/>
                    <a:gd name="connsiteX3" fmla="*/ 474348 w 474348"/>
                    <a:gd name="connsiteY3" fmla="*/ 216516 h 669131"/>
                    <a:gd name="connsiteX4" fmla="*/ 474348 w 474348"/>
                    <a:gd name="connsiteY4" fmla="*/ 669131 h 669131"/>
                    <a:gd name="connsiteX5" fmla="*/ 474348 w 474348"/>
                    <a:gd name="connsiteY5" fmla="*/ 669131 h 669131"/>
                    <a:gd name="connsiteX6" fmla="*/ 248129 w 474348"/>
                    <a:gd name="connsiteY6" fmla="*/ 669131 h 669131"/>
                    <a:gd name="connsiteX7" fmla="*/ 0 w 474348"/>
                    <a:gd name="connsiteY7" fmla="*/ 669131 h 669131"/>
                    <a:gd name="connsiteX8" fmla="*/ 0 w 474348"/>
                    <a:gd name="connsiteY8" fmla="*/ 669131 h 669131"/>
                    <a:gd name="connsiteX9" fmla="*/ 0 w 474348"/>
                    <a:gd name="connsiteY9" fmla="*/ 216516 h 669131"/>
                    <a:gd name="connsiteX10" fmla="*/ 192704 w 474348"/>
                    <a:gd name="connsiteY10" fmla="*/ 23812 h 669131"/>
                    <a:gd name="connsiteX0" fmla="*/ 192704 w 474348"/>
                    <a:gd name="connsiteY0" fmla="*/ 23812 h 669131"/>
                    <a:gd name="connsiteX1" fmla="*/ 265690 w 474348"/>
                    <a:gd name="connsiteY1" fmla="*/ 0 h 669131"/>
                    <a:gd name="connsiteX2" fmla="*/ 281644 w 474348"/>
                    <a:gd name="connsiteY2" fmla="*/ 23812 h 669131"/>
                    <a:gd name="connsiteX3" fmla="*/ 474348 w 474348"/>
                    <a:gd name="connsiteY3" fmla="*/ 216516 h 669131"/>
                    <a:gd name="connsiteX4" fmla="*/ 474348 w 474348"/>
                    <a:gd name="connsiteY4" fmla="*/ 669131 h 669131"/>
                    <a:gd name="connsiteX5" fmla="*/ 474348 w 474348"/>
                    <a:gd name="connsiteY5" fmla="*/ 669131 h 669131"/>
                    <a:gd name="connsiteX6" fmla="*/ 248129 w 474348"/>
                    <a:gd name="connsiteY6" fmla="*/ 669131 h 669131"/>
                    <a:gd name="connsiteX7" fmla="*/ 0 w 474348"/>
                    <a:gd name="connsiteY7" fmla="*/ 669131 h 669131"/>
                    <a:gd name="connsiteX8" fmla="*/ 0 w 474348"/>
                    <a:gd name="connsiteY8" fmla="*/ 669131 h 669131"/>
                    <a:gd name="connsiteX9" fmla="*/ 0 w 474348"/>
                    <a:gd name="connsiteY9" fmla="*/ 216516 h 669131"/>
                    <a:gd name="connsiteX10" fmla="*/ 192704 w 474348"/>
                    <a:gd name="connsiteY10" fmla="*/ 23812 h 669131"/>
                    <a:gd name="connsiteX0" fmla="*/ 192704 w 474348"/>
                    <a:gd name="connsiteY0" fmla="*/ 23812 h 669131"/>
                    <a:gd name="connsiteX1" fmla="*/ 265690 w 474348"/>
                    <a:gd name="connsiteY1" fmla="*/ 0 h 669131"/>
                    <a:gd name="connsiteX2" fmla="*/ 281644 w 474348"/>
                    <a:gd name="connsiteY2" fmla="*/ 23812 h 669131"/>
                    <a:gd name="connsiteX3" fmla="*/ 474348 w 474348"/>
                    <a:gd name="connsiteY3" fmla="*/ 216516 h 669131"/>
                    <a:gd name="connsiteX4" fmla="*/ 474348 w 474348"/>
                    <a:gd name="connsiteY4" fmla="*/ 669131 h 669131"/>
                    <a:gd name="connsiteX5" fmla="*/ 474348 w 474348"/>
                    <a:gd name="connsiteY5" fmla="*/ 669131 h 669131"/>
                    <a:gd name="connsiteX6" fmla="*/ 248129 w 474348"/>
                    <a:gd name="connsiteY6" fmla="*/ 669131 h 669131"/>
                    <a:gd name="connsiteX7" fmla="*/ 0 w 474348"/>
                    <a:gd name="connsiteY7" fmla="*/ 669131 h 669131"/>
                    <a:gd name="connsiteX8" fmla="*/ 0 w 474348"/>
                    <a:gd name="connsiteY8" fmla="*/ 669131 h 669131"/>
                    <a:gd name="connsiteX9" fmla="*/ 0 w 474348"/>
                    <a:gd name="connsiteY9" fmla="*/ 216516 h 669131"/>
                    <a:gd name="connsiteX10" fmla="*/ 192704 w 474348"/>
                    <a:gd name="connsiteY10" fmla="*/ 23812 h 669131"/>
                    <a:gd name="connsiteX0" fmla="*/ 192704 w 474348"/>
                    <a:gd name="connsiteY0" fmla="*/ 23812 h 669131"/>
                    <a:gd name="connsiteX1" fmla="*/ 265690 w 474348"/>
                    <a:gd name="connsiteY1" fmla="*/ 0 h 669131"/>
                    <a:gd name="connsiteX2" fmla="*/ 314250 w 474348"/>
                    <a:gd name="connsiteY2" fmla="*/ 24047 h 669131"/>
                    <a:gd name="connsiteX3" fmla="*/ 474348 w 474348"/>
                    <a:gd name="connsiteY3" fmla="*/ 216516 h 669131"/>
                    <a:gd name="connsiteX4" fmla="*/ 474348 w 474348"/>
                    <a:gd name="connsiteY4" fmla="*/ 669131 h 669131"/>
                    <a:gd name="connsiteX5" fmla="*/ 474348 w 474348"/>
                    <a:gd name="connsiteY5" fmla="*/ 669131 h 669131"/>
                    <a:gd name="connsiteX6" fmla="*/ 248129 w 474348"/>
                    <a:gd name="connsiteY6" fmla="*/ 669131 h 669131"/>
                    <a:gd name="connsiteX7" fmla="*/ 0 w 474348"/>
                    <a:gd name="connsiteY7" fmla="*/ 669131 h 669131"/>
                    <a:gd name="connsiteX8" fmla="*/ 0 w 474348"/>
                    <a:gd name="connsiteY8" fmla="*/ 669131 h 669131"/>
                    <a:gd name="connsiteX9" fmla="*/ 0 w 474348"/>
                    <a:gd name="connsiteY9" fmla="*/ 216516 h 669131"/>
                    <a:gd name="connsiteX10" fmla="*/ 192704 w 474348"/>
                    <a:gd name="connsiteY10" fmla="*/ 23812 h 669131"/>
                    <a:gd name="connsiteX0" fmla="*/ 192704 w 474348"/>
                    <a:gd name="connsiteY0" fmla="*/ 23812 h 669131"/>
                    <a:gd name="connsiteX1" fmla="*/ 265690 w 474348"/>
                    <a:gd name="connsiteY1" fmla="*/ 0 h 669131"/>
                    <a:gd name="connsiteX2" fmla="*/ 314250 w 474348"/>
                    <a:gd name="connsiteY2" fmla="*/ 24047 h 669131"/>
                    <a:gd name="connsiteX3" fmla="*/ 474348 w 474348"/>
                    <a:gd name="connsiteY3" fmla="*/ 216516 h 669131"/>
                    <a:gd name="connsiteX4" fmla="*/ 474348 w 474348"/>
                    <a:gd name="connsiteY4" fmla="*/ 669131 h 669131"/>
                    <a:gd name="connsiteX5" fmla="*/ 474348 w 474348"/>
                    <a:gd name="connsiteY5" fmla="*/ 669131 h 669131"/>
                    <a:gd name="connsiteX6" fmla="*/ 248129 w 474348"/>
                    <a:gd name="connsiteY6" fmla="*/ 669131 h 669131"/>
                    <a:gd name="connsiteX7" fmla="*/ 0 w 474348"/>
                    <a:gd name="connsiteY7" fmla="*/ 669131 h 669131"/>
                    <a:gd name="connsiteX8" fmla="*/ 0 w 474348"/>
                    <a:gd name="connsiteY8" fmla="*/ 669131 h 669131"/>
                    <a:gd name="connsiteX9" fmla="*/ 0 w 474348"/>
                    <a:gd name="connsiteY9" fmla="*/ 216516 h 669131"/>
                    <a:gd name="connsiteX10" fmla="*/ 192704 w 474348"/>
                    <a:gd name="connsiteY10" fmla="*/ 23812 h 669131"/>
                    <a:gd name="connsiteX0" fmla="*/ 192704 w 474348"/>
                    <a:gd name="connsiteY0" fmla="*/ 23812 h 669131"/>
                    <a:gd name="connsiteX1" fmla="*/ 265690 w 474348"/>
                    <a:gd name="connsiteY1" fmla="*/ 0 h 669131"/>
                    <a:gd name="connsiteX2" fmla="*/ 314250 w 474348"/>
                    <a:gd name="connsiteY2" fmla="*/ 24047 h 669131"/>
                    <a:gd name="connsiteX3" fmla="*/ 474348 w 474348"/>
                    <a:gd name="connsiteY3" fmla="*/ 216516 h 669131"/>
                    <a:gd name="connsiteX4" fmla="*/ 474348 w 474348"/>
                    <a:gd name="connsiteY4" fmla="*/ 669131 h 669131"/>
                    <a:gd name="connsiteX5" fmla="*/ 474348 w 474348"/>
                    <a:gd name="connsiteY5" fmla="*/ 669131 h 669131"/>
                    <a:gd name="connsiteX6" fmla="*/ 248129 w 474348"/>
                    <a:gd name="connsiteY6" fmla="*/ 669131 h 669131"/>
                    <a:gd name="connsiteX7" fmla="*/ 0 w 474348"/>
                    <a:gd name="connsiteY7" fmla="*/ 669131 h 669131"/>
                    <a:gd name="connsiteX8" fmla="*/ 0 w 474348"/>
                    <a:gd name="connsiteY8" fmla="*/ 669131 h 669131"/>
                    <a:gd name="connsiteX9" fmla="*/ 0 w 474348"/>
                    <a:gd name="connsiteY9" fmla="*/ 216516 h 669131"/>
                    <a:gd name="connsiteX10" fmla="*/ 192704 w 474348"/>
                    <a:gd name="connsiteY10" fmla="*/ 23812 h 669131"/>
                    <a:gd name="connsiteX0" fmla="*/ 174282 w 474348"/>
                    <a:gd name="connsiteY0" fmla="*/ 23596 h 669131"/>
                    <a:gd name="connsiteX1" fmla="*/ 265690 w 474348"/>
                    <a:gd name="connsiteY1" fmla="*/ 0 h 669131"/>
                    <a:gd name="connsiteX2" fmla="*/ 314250 w 474348"/>
                    <a:gd name="connsiteY2" fmla="*/ 24047 h 669131"/>
                    <a:gd name="connsiteX3" fmla="*/ 474348 w 474348"/>
                    <a:gd name="connsiteY3" fmla="*/ 216516 h 669131"/>
                    <a:gd name="connsiteX4" fmla="*/ 474348 w 474348"/>
                    <a:gd name="connsiteY4" fmla="*/ 669131 h 669131"/>
                    <a:gd name="connsiteX5" fmla="*/ 474348 w 474348"/>
                    <a:gd name="connsiteY5" fmla="*/ 669131 h 669131"/>
                    <a:gd name="connsiteX6" fmla="*/ 248129 w 474348"/>
                    <a:gd name="connsiteY6" fmla="*/ 669131 h 669131"/>
                    <a:gd name="connsiteX7" fmla="*/ 0 w 474348"/>
                    <a:gd name="connsiteY7" fmla="*/ 669131 h 669131"/>
                    <a:gd name="connsiteX8" fmla="*/ 0 w 474348"/>
                    <a:gd name="connsiteY8" fmla="*/ 669131 h 669131"/>
                    <a:gd name="connsiteX9" fmla="*/ 0 w 474348"/>
                    <a:gd name="connsiteY9" fmla="*/ 216516 h 669131"/>
                    <a:gd name="connsiteX10" fmla="*/ 174282 w 474348"/>
                    <a:gd name="connsiteY10" fmla="*/ 23596 h 669131"/>
                    <a:gd name="connsiteX0" fmla="*/ 174282 w 474348"/>
                    <a:gd name="connsiteY0" fmla="*/ 24619 h 670154"/>
                    <a:gd name="connsiteX1" fmla="*/ 216121 w 474348"/>
                    <a:gd name="connsiteY1" fmla="*/ 0 h 670154"/>
                    <a:gd name="connsiteX2" fmla="*/ 314250 w 474348"/>
                    <a:gd name="connsiteY2" fmla="*/ 25070 h 670154"/>
                    <a:gd name="connsiteX3" fmla="*/ 474348 w 474348"/>
                    <a:gd name="connsiteY3" fmla="*/ 217539 h 670154"/>
                    <a:gd name="connsiteX4" fmla="*/ 474348 w 474348"/>
                    <a:gd name="connsiteY4" fmla="*/ 670154 h 670154"/>
                    <a:gd name="connsiteX5" fmla="*/ 474348 w 474348"/>
                    <a:gd name="connsiteY5" fmla="*/ 670154 h 670154"/>
                    <a:gd name="connsiteX6" fmla="*/ 248129 w 474348"/>
                    <a:gd name="connsiteY6" fmla="*/ 670154 h 670154"/>
                    <a:gd name="connsiteX7" fmla="*/ 0 w 474348"/>
                    <a:gd name="connsiteY7" fmla="*/ 670154 h 670154"/>
                    <a:gd name="connsiteX8" fmla="*/ 0 w 474348"/>
                    <a:gd name="connsiteY8" fmla="*/ 670154 h 670154"/>
                    <a:gd name="connsiteX9" fmla="*/ 0 w 474348"/>
                    <a:gd name="connsiteY9" fmla="*/ 217539 h 670154"/>
                    <a:gd name="connsiteX10" fmla="*/ 174282 w 474348"/>
                    <a:gd name="connsiteY10" fmla="*/ 24619 h 670154"/>
                    <a:gd name="connsiteX0" fmla="*/ 174282 w 474348"/>
                    <a:gd name="connsiteY0" fmla="*/ 24619 h 670154"/>
                    <a:gd name="connsiteX1" fmla="*/ 216121 w 474348"/>
                    <a:gd name="connsiteY1" fmla="*/ 0 h 670154"/>
                    <a:gd name="connsiteX2" fmla="*/ 314250 w 474348"/>
                    <a:gd name="connsiteY2" fmla="*/ 25070 h 670154"/>
                    <a:gd name="connsiteX3" fmla="*/ 474348 w 474348"/>
                    <a:gd name="connsiteY3" fmla="*/ 217539 h 670154"/>
                    <a:gd name="connsiteX4" fmla="*/ 474348 w 474348"/>
                    <a:gd name="connsiteY4" fmla="*/ 670154 h 670154"/>
                    <a:gd name="connsiteX5" fmla="*/ 474348 w 474348"/>
                    <a:gd name="connsiteY5" fmla="*/ 670154 h 670154"/>
                    <a:gd name="connsiteX6" fmla="*/ 248129 w 474348"/>
                    <a:gd name="connsiteY6" fmla="*/ 670154 h 670154"/>
                    <a:gd name="connsiteX7" fmla="*/ 0 w 474348"/>
                    <a:gd name="connsiteY7" fmla="*/ 670154 h 670154"/>
                    <a:gd name="connsiteX8" fmla="*/ 0 w 474348"/>
                    <a:gd name="connsiteY8" fmla="*/ 670154 h 670154"/>
                    <a:gd name="connsiteX9" fmla="*/ 0 w 474348"/>
                    <a:gd name="connsiteY9" fmla="*/ 217539 h 670154"/>
                    <a:gd name="connsiteX10" fmla="*/ 174282 w 474348"/>
                    <a:gd name="connsiteY10" fmla="*/ 24619 h 670154"/>
                    <a:gd name="connsiteX0" fmla="*/ 174282 w 474348"/>
                    <a:gd name="connsiteY0" fmla="*/ 24619 h 670154"/>
                    <a:gd name="connsiteX1" fmla="*/ 216121 w 474348"/>
                    <a:gd name="connsiteY1" fmla="*/ 0 h 670154"/>
                    <a:gd name="connsiteX2" fmla="*/ 314250 w 474348"/>
                    <a:gd name="connsiteY2" fmla="*/ 25070 h 670154"/>
                    <a:gd name="connsiteX3" fmla="*/ 474348 w 474348"/>
                    <a:gd name="connsiteY3" fmla="*/ 217539 h 670154"/>
                    <a:gd name="connsiteX4" fmla="*/ 474348 w 474348"/>
                    <a:gd name="connsiteY4" fmla="*/ 670154 h 670154"/>
                    <a:gd name="connsiteX5" fmla="*/ 474348 w 474348"/>
                    <a:gd name="connsiteY5" fmla="*/ 670154 h 670154"/>
                    <a:gd name="connsiteX6" fmla="*/ 248129 w 474348"/>
                    <a:gd name="connsiteY6" fmla="*/ 670154 h 670154"/>
                    <a:gd name="connsiteX7" fmla="*/ 0 w 474348"/>
                    <a:gd name="connsiteY7" fmla="*/ 670154 h 670154"/>
                    <a:gd name="connsiteX8" fmla="*/ 0 w 474348"/>
                    <a:gd name="connsiteY8" fmla="*/ 670154 h 670154"/>
                    <a:gd name="connsiteX9" fmla="*/ 0 w 474348"/>
                    <a:gd name="connsiteY9" fmla="*/ 217539 h 670154"/>
                    <a:gd name="connsiteX10" fmla="*/ 174282 w 474348"/>
                    <a:gd name="connsiteY10" fmla="*/ 24619 h 670154"/>
                    <a:gd name="connsiteX0" fmla="*/ 174282 w 474348"/>
                    <a:gd name="connsiteY0" fmla="*/ 24619 h 670154"/>
                    <a:gd name="connsiteX1" fmla="*/ 216121 w 474348"/>
                    <a:gd name="connsiteY1" fmla="*/ 0 h 670154"/>
                    <a:gd name="connsiteX2" fmla="*/ 314250 w 474348"/>
                    <a:gd name="connsiteY2" fmla="*/ 25070 h 670154"/>
                    <a:gd name="connsiteX3" fmla="*/ 474348 w 474348"/>
                    <a:gd name="connsiteY3" fmla="*/ 217539 h 670154"/>
                    <a:gd name="connsiteX4" fmla="*/ 474348 w 474348"/>
                    <a:gd name="connsiteY4" fmla="*/ 670154 h 670154"/>
                    <a:gd name="connsiteX5" fmla="*/ 474348 w 474348"/>
                    <a:gd name="connsiteY5" fmla="*/ 670154 h 670154"/>
                    <a:gd name="connsiteX6" fmla="*/ 248129 w 474348"/>
                    <a:gd name="connsiteY6" fmla="*/ 670154 h 670154"/>
                    <a:gd name="connsiteX7" fmla="*/ 0 w 474348"/>
                    <a:gd name="connsiteY7" fmla="*/ 670154 h 670154"/>
                    <a:gd name="connsiteX8" fmla="*/ 0 w 474348"/>
                    <a:gd name="connsiteY8" fmla="*/ 670154 h 670154"/>
                    <a:gd name="connsiteX9" fmla="*/ 0 w 474348"/>
                    <a:gd name="connsiteY9" fmla="*/ 217539 h 670154"/>
                    <a:gd name="connsiteX10" fmla="*/ 174282 w 474348"/>
                    <a:gd name="connsiteY10" fmla="*/ 24619 h 670154"/>
                    <a:gd name="connsiteX0" fmla="*/ 148557 w 474348"/>
                    <a:gd name="connsiteY0" fmla="*/ 27264 h 670154"/>
                    <a:gd name="connsiteX1" fmla="*/ 216121 w 474348"/>
                    <a:gd name="connsiteY1" fmla="*/ 0 h 670154"/>
                    <a:gd name="connsiteX2" fmla="*/ 314250 w 474348"/>
                    <a:gd name="connsiteY2" fmla="*/ 25070 h 670154"/>
                    <a:gd name="connsiteX3" fmla="*/ 474348 w 474348"/>
                    <a:gd name="connsiteY3" fmla="*/ 217539 h 670154"/>
                    <a:gd name="connsiteX4" fmla="*/ 474348 w 474348"/>
                    <a:gd name="connsiteY4" fmla="*/ 670154 h 670154"/>
                    <a:gd name="connsiteX5" fmla="*/ 474348 w 474348"/>
                    <a:gd name="connsiteY5" fmla="*/ 670154 h 670154"/>
                    <a:gd name="connsiteX6" fmla="*/ 248129 w 474348"/>
                    <a:gd name="connsiteY6" fmla="*/ 670154 h 670154"/>
                    <a:gd name="connsiteX7" fmla="*/ 0 w 474348"/>
                    <a:gd name="connsiteY7" fmla="*/ 670154 h 670154"/>
                    <a:gd name="connsiteX8" fmla="*/ 0 w 474348"/>
                    <a:gd name="connsiteY8" fmla="*/ 670154 h 670154"/>
                    <a:gd name="connsiteX9" fmla="*/ 0 w 474348"/>
                    <a:gd name="connsiteY9" fmla="*/ 217539 h 670154"/>
                    <a:gd name="connsiteX10" fmla="*/ 148557 w 474348"/>
                    <a:gd name="connsiteY10" fmla="*/ 27264 h 670154"/>
                    <a:gd name="connsiteX0" fmla="*/ 148557 w 474348"/>
                    <a:gd name="connsiteY0" fmla="*/ 20950 h 663840"/>
                    <a:gd name="connsiteX1" fmla="*/ 214238 w 474348"/>
                    <a:gd name="connsiteY1" fmla="*/ 0 h 663840"/>
                    <a:gd name="connsiteX2" fmla="*/ 314250 w 474348"/>
                    <a:gd name="connsiteY2" fmla="*/ 18756 h 663840"/>
                    <a:gd name="connsiteX3" fmla="*/ 474348 w 474348"/>
                    <a:gd name="connsiteY3" fmla="*/ 211225 h 663840"/>
                    <a:gd name="connsiteX4" fmla="*/ 474348 w 474348"/>
                    <a:gd name="connsiteY4" fmla="*/ 663840 h 663840"/>
                    <a:gd name="connsiteX5" fmla="*/ 474348 w 474348"/>
                    <a:gd name="connsiteY5" fmla="*/ 663840 h 663840"/>
                    <a:gd name="connsiteX6" fmla="*/ 248129 w 474348"/>
                    <a:gd name="connsiteY6" fmla="*/ 663840 h 663840"/>
                    <a:gd name="connsiteX7" fmla="*/ 0 w 474348"/>
                    <a:gd name="connsiteY7" fmla="*/ 663840 h 663840"/>
                    <a:gd name="connsiteX8" fmla="*/ 0 w 474348"/>
                    <a:gd name="connsiteY8" fmla="*/ 663840 h 663840"/>
                    <a:gd name="connsiteX9" fmla="*/ 0 w 474348"/>
                    <a:gd name="connsiteY9" fmla="*/ 211225 h 663840"/>
                    <a:gd name="connsiteX10" fmla="*/ 148557 w 474348"/>
                    <a:gd name="connsiteY10" fmla="*/ 20950 h 663840"/>
                    <a:gd name="connsiteX0" fmla="*/ 148557 w 474348"/>
                    <a:gd name="connsiteY0" fmla="*/ 20950 h 663840"/>
                    <a:gd name="connsiteX1" fmla="*/ 214238 w 474348"/>
                    <a:gd name="connsiteY1" fmla="*/ 0 h 663840"/>
                    <a:gd name="connsiteX2" fmla="*/ 314250 w 474348"/>
                    <a:gd name="connsiteY2" fmla="*/ 18756 h 663840"/>
                    <a:gd name="connsiteX3" fmla="*/ 474348 w 474348"/>
                    <a:gd name="connsiteY3" fmla="*/ 211225 h 663840"/>
                    <a:gd name="connsiteX4" fmla="*/ 474348 w 474348"/>
                    <a:gd name="connsiteY4" fmla="*/ 663840 h 663840"/>
                    <a:gd name="connsiteX5" fmla="*/ 474348 w 474348"/>
                    <a:gd name="connsiteY5" fmla="*/ 663840 h 663840"/>
                    <a:gd name="connsiteX6" fmla="*/ 248129 w 474348"/>
                    <a:gd name="connsiteY6" fmla="*/ 663840 h 663840"/>
                    <a:gd name="connsiteX7" fmla="*/ 0 w 474348"/>
                    <a:gd name="connsiteY7" fmla="*/ 663840 h 663840"/>
                    <a:gd name="connsiteX8" fmla="*/ 0 w 474348"/>
                    <a:gd name="connsiteY8" fmla="*/ 663840 h 663840"/>
                    <a:gd name="connsiteX9" fmla="*/ 0 w 474348"/>
                    <a:gd name="connsiteY9" fmla="*/ 211225 h 663840"/>
                    <a:gd name="connsiteX10" fmla="*/ 148557 w 474348"/>
                    <a:gd name="connsiteY10" fmla="*/ 20950 h 663840"/>
                    <a:gd name="connsiteX0" fmla="*/ 148557 w 474348"/>
                    <a:gd name="connsiteY0" fmla="*/ 20950 h 663840"/>
                    <a:gd name="connsiteX1" fmla="*/ 214238 w 474348"/>
                    <a:gd name="connsiteY1" fmla="*/ 0 h 663840"/>
                    <a:gd name="connsiteX2" fmla="*/ 314250 w 474348"/>
                    <a:gd name="connsiteY2" fmla="*/ 18756 h 663840"/>
                    <a:gd name="connsiteX3" fmla="*/ 474348 w 474348"/>
                    <a:gd name="connsiteY3" fmla="*/ 211225 h 663840"/>
                    <a:gd name="connsiteX4" fmla="*/ 474348 w 474348"/>
                    <a:gd name="connsiteY4" fmla="*/ 663840 h 663840"/>
                    <a:gd name="connsiteX5" fmla="*/ 474348 w 474348"/>
                    <a:gd name="connsiteY5" fmla="*/ 663840 h 663840"/>
                    <a:gd name="connsiteX6" fmla="*/ 248129 w 474348"/>
                    <a:gd name="connsiteY6" fmla="*/ 663840 h 663840"/>
                    <a:gd name="connsiteX7" fmla="*/ 0 w 474348"/>
                    <a:gd name="connsiteY7" fmla="*/ 663840 h 663840"/>
                    <a:gd name="connsiteX8" fmla="*/ 0 w 474348"/>
                    <a:gd name="connsiteY8" fmla="*/ 663840 h 663840"/>
                    <a:gd name="connsiteX9" fmla="*/ 0 w 474348"/>
                    <a:gd name="connsiteY9" fmla="*/ 211225 h 663840"/>
                    <a:gd name="connsiteX10" fmla="*/ 148557 w 474348"/>
                    <a:gd name="connsiteY10" fmla="*/ 20950 h 663840"/>
                    <a:gd name="connsiteX0" fmla="*/ 144178 w 474348"/>
                    <a:gd name="connsiteY0" fmla="*/ 22667 h 663840"/>
                    <a:gd name="connsiteX1" fmla="*/ 214238 w 474348"/>
                    <a:gd name="connsiteY1" fmla="*/ 0 h 663840"/>
                    <a:gd name="connsiteX2" fmla="*/ 314250 w 474348"/>
                    <a:gd name="connsiteY2" fmla="*/ 18756 h 663840"/>
                    <a:gd name="connsiteX3" fmla="*/ 474348 w 474348"/>
                    <a:gd name="connsiteY3" fmla="*/ 211225 h 663840"/>
                    <a:gd name="connsiteX4" fmla="*/ 474348 w 474348"/>
                    <a:gd name="connsiteY4" fmla="*/ 663840 h 663840"/>
                    <a:gd name="connsiteX5" fmla="*/ 474348 w 474348"/>
                    <a:gd name="connsiteY5" fmla="*/ 663840 h 663840"/>
                    <a:gd name="connsiteX6" fmla="*/ 248129 w 474348"/>
                    <a:gd name="connsiteY6" fmla="*/ 663840 h 663840"/>
                    <a:gd name="connsiteX7" fmla="*/ 0 w 474348"/>
                    <a:gd name="connsiteY7" fmla="*/ 663840 h 663840"/>
                    <a:gd name="connsiteX8" fmla="*/ 0 w 474348"/>
                    <a:gd name="connsiteY8" fmla="*/ 663840 h 663840"/>
                    <a:gd name="connsiteX9" fmla="*/ 0 w 474348"/>
                    <a:gd name="connsiteY9" fmla="*/ 211225 h 663840"/>
                    <a:gd name="connsiteX10" fmla="*/ 144178 w 474348"/>
                    <a:gd name="connsiteY10" fmla="*/ 22667 h 663840"/>
                    <a:gd name="connsiteX0" fmla="*/ 144178 w 474348"/>
                    <a:gd name="connsiteY0" fmla="*/ 22667 h 663840"/>
                    <a:gd name="connsiteX1" fmla="*/ 214238 w 474348"/>
                    <a:gd name="connsiteY1" fmla="*/ 0 h 663840"/>
                    <a:gd name="connsiteX2" fmla="*/ 314250 w 474348"/>
                    <a:gd name="connsiteY2" fmla="*/ 18756 h 663840"/>
                    <a:gd name="connsiteX3" fmla="*/ 474348 w 474348"/>
                    <a:gd name="connsiteY3" fmla="*/ 211225 h 663840"/>
                    <a:gd name="connsiteX4" fmla="*/ 474348 w 474348"/>
                    <a:gd name="connsiteY4" fmla="*/ 663840 h 663840"/>
                    <a:gd name="connsiteX5" fmla="*/ 474348 w 474348"/>
                    <a:gd name="connsiteY5" fmla="*/ 663840 h 663840"/>
                    <a:gd name="connsiteX6" fmla="*/ 248129 w 474348"/>
                    <a:gd name="connsiteY6" fmla="*/ 663840 h 663840"/>
                    <a:gd name="connsiteX7" fmla="*/ 0 w 474348"/>
                    <a:gd name="connsiteY7" fmla="*/ 663840 h 663840"/>
                    <a:gd name="connsiteX8" fmla="*/ 0 w 474348"/>
                    <a:gd name="connsiteY8" fmla="*/ 663840 h 663840"/>
                    <a:gd name="connsiteX9" fmla="*/ 0 w 474348"/>
                    <a:gd name="connsiteY9" fmla="*/ 211225 h 663840"/>
                    <a:gd name="connsiteX10" fmla="*/ 144178 w 474348"/>
                    <a:gd name="connsiteY10" fmla="*/ 22667 h 663840"/>
                    <a:gd name="connsiteX0" fmla="*/ 144178 w 474348"/>
                    <a:gd name="connsiteY0" fmla="*/ 22667 h 663840"/>
                    <a:gd name="connsiteX1" fmla="*/ 214238 w 474348"/>
                    <a:gd name="connsiteY1" fmla="*/ 0 h 663840"/>
                    <a:gd name="connsiteX2" fmla="*/ 314250 w 474348"/>
                    <a:gd name="connsiteY2" fmla="*/ 18756 h 663840"/>
                    <a:gd name="connsiteX3" fmla="*/ 474348 w 474348"/>
                    <a:gd name="connsiteY3" fmla="*/ 211225 h 663840"/>
                    <a:gd name="connsiteX4" fmla="*/ 474348 w 474348"/>
                    <a:gd name="connsiteY4" fmla="*/ 663840 h 663840"/>
                    <a:gd name="connsiteX5" fmla="*/ 474348 w 474348"/>
                    <a:gd name="connsiteY5" fmla="*/ 663840 h 663840"/>
                    <a:gd name="connsiteX6" fmla="*/ 248129 w 474348"/>
                    <a:gd name="connsiteY6" fmla="*/ 663840 h 663840"/>
                    <a:gd name="connsiteX7" fmla="*/ 0 w 474348"/>
                    <a:gd name="connsiteY7" fmla="*/ 663840 h 663840"/>
                    <a:gd name="connsiteX8" fmla="*/ 0 w 474348"/>
                    <a:gd name="connsiteY8" fmla="*/ 663840 h 663840"/>
                    <a:gd name="connsiteX9" fmla="*/ 0 w 474348"/>
                    <a:gd name="connsiteY9" fmla="*/ 211225 h 663840"/>
                    <a:gd name="connsiteX10" fmla="*/ 144178 w 474348"/>
                    <a:gd name="connsiteY10" fmla="*/ 22667 h 663840"/>
                    <a:gd name="connsiteX0" fmla="*/ 144178 w 474348"/>
                    <a:gd name="connsiteY0" fmla="*/ 22667 h 663840"/>
                    <a:gd name="connsiteX1" fmla="*/ 214238 w 474348"/>
                    <a:gd name="connsiteY1" fmla="*/ 0 h 663840"/>
                    <a:gd name="connsiteX2" fmla="*/ 314250 w 474348"/>
                    <a:gd name="connsiteY2" fmla="*/ 18756 h 663840"/>
                    <a:gd name="connsiteX3" fmla="*/ 474348 w 474348"/>
                    <a:gd name="connsiteY3" fmla="*/ 211225 h 663840"/>
                    <a:gd name="connsiteX4" fmla="*/ 474348 w 474348"/>
                    <a:gd name="connsiteY4" fmla="*/ 663840 h 663840"/>
                    <a:gd name="connsiteX5" fmla="*/ 474348 w 474348"/>
                    <a:gd name="connsiteY5" fmla="*/ 663840 h 663840"/>
                    <a:gd name="connsiteX6" fmla="*/ 248129 w 474348"/>
                    <a:gd name="connsiteY6" fmla="*/ 663840 h 663840"/>
                    <a:gd name="connsiteX7" fmla="*/ 0 w 474348"/>
                    <a:gd name="connsiteY7" fmla="*/ 663840 h 663840"/>
                    <a:gd name="connsiteX8" fmla="*/ 0 w 474348"/>
                    <a:gd name="connsiteY8" fmla="*/ 663840 h 663840"/>
                    <a:gd name="connsiteX9" fmla="*/ 0 w 474348"/>
                    <a:gd name="connsiteY9" fmla="*/ 211225 h 663840"/>
                    <a:gd name="connsiteX10" fmla="*/ 144178 w 474348"/>
                    <a:gd name="connsiteY10" fmla="*/ 22667 h 6638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74348" h="663840">
                      <a:moveTo>
                        <a:pt x="144178" y="22667"/>
                      </a:moveTo>
                      <a:cubicBezTo>
                        <a:pt x="211732" y="-970"/>
                        <a:pt x="181869" y="7990"/>
                        <a:pt x="214238" y="0"/>
                      </a:cubicBezTo>
                      <a:cubicBezTo>
                        <a:pt x="259321" y="7224"/>
                        <a:pt x="221757" y="369"/>
                        <a:pt x="314250" y="18756"/>
                      </a:cubicBezTo>
                      <a:cubicBezTo>
                        <a:pt x="399877" y="51074"/>
                        <a:pt x="474348" y="104798"/>
                        <a:pt x="474348" y="211225"/>
                      </a:cubicBezTo>
                      <a:lnTo>
                        <a:pt x="474348" y="663840"/>
                      </a:lnTo>
                      <a:lnTo>
                        <a:pt x="474348" y="663840"/>
                      </a:lnTo>
                      <a:lnTo>
                        <a:pt x="248129" y="663840"/>
                      </a:lnTo>
                      <a:lnTo>
                        <a:pt x="0" y="663840"/>
                      </a:lnTo>
                      <a:lnTo>
                        <a:pt x="0" y="663840"/>
                      </a:lnTo>
                      <a:lnTo>
                        <a:pt x="0" y="211225"/>
                      </a:lnTo>
                      <a:cubicBezTo>
                        <a:pt x="0" y="104798"/>
                        <a:pt x="80700" y="56026"/>
                        <a:pt x="144178" y="22667"/>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214" name="Round Same Side Corner Rectangle 11"/>
                <p:cNvSpPr/>
                <p:nvPr/>
              </p:nvSpPr>
              <p:spPr>
                <a:xfrm rot="7140000">
                  <a:off x="4278989" y="1266737"/>
                  <a:ext cx="251846" cy="2632764"/>
                </a:xfrm>
                <a:custGeom>
                  <a:avLst/>
                  <a:gdLst>
                    <a:gd name="connsiteX0" fmla="*/ 192704 w 474348"/>
                    <a:gd name="connsiteY0" fmla="*/ 0 h 645319"/>
                    <a:gd name="connsiteX1" fmla="*/ 281644 w 474348"/>
                    <a:gd name="connsiteY1" fmla="*/ 0 h 645319"/>
                    <a:gd name="connsiteX2" fmla="*/ 474348 w 474348"/>
                    <a:gd name="connsiteY2" fmla="*/ 192704 h 645319"/>
                    <a:gd name="connsiteX3" fmla="*/ 474348 w 474348"/>
                    <a:gd name="connsiteY3" fmla="*/ 645319 h 645319"/>
                    <a:gd name="connsiteX4" fmla="*/ 474348 w 474348"/>
                    <a:gd name="connsiteY4" fmla="*/ 645319 h 645319"/>
                    <a:gd name="connsiteX5" fmla="*/ 0 w 474348"/>
                    <a:gd name="connsiteY5" fmla="*/ 645319 h 645319"/>
                    <a:gd name="connsiteX6" fmla="*/ 0 w 474348"/>
                    <a:gd name="connsiteY6" fmla="*/ 645319 h 645319"/>
                    <a:gd name="connsiteX7" fmla="*/ 0 w 474348"/>
                    <a:gd name="connsiteY7" fmla="*/ 192704 h 645319"/>
                    <a:gd name="connsiteX8" fmla="*/ 192704 w 474348"/>
                    <a:gd name="connsiteY8" fmla="*/ 0 h 645319"/>
                    <a:gd name="connsiteX0" fmla="*/ 192704 w 474348"/>
                    <a:gd name="connsiteY0" fmla="*/ 0 h 645319"/>
                    <a:gd name="connsiteX1" fmla="*/ 281644 w 474348"/>
                    <a:gd name="connsiteY1" fmla="*/ 0 h 645319"/>
                    <a:gd name="connsiteX2" fmla="*/ 474348 w 474348"/>
                    <a:gd name="connsiteY2" fmla="*/ 192704 h 645319"/>
                    <a:gd name="connsiteX3" fmla="*/ 474348 w 474348"/>
                    <a:gd name="connsiteY3" fmla="*/ 645319 h 645319"/>
                    <a:gd name="connsiteX4" fmla="*/ 474348 w 474348"/>
                    <a:gd name="connsiteY4" fmla="*/ 645319 h 645319"/>
                    <a:gd name="connsiteX5" fmla="*/ 248129 w 474348"/>
                    <a:gd name="connsiteY5" fmla="*/ 645319 h 645319"/>
                    <a:gd name="connsiteX6" fmla="*/ 0 w 474348"/>
                    <a:gd name="connsiteY6" fmla="*/ 645319 h 645319"/>
                    <a:gd name="connsiteX7" fmla="*/ 0 w 474348"/>
                    <a:gd name="connsiteY7" fmla="*/ 645319 h 645319"/>
                    <a:gd name="connsiteX8" fmla="*/ 0 w 474348"/>
                    <a:gd name="connsiteY8" fmla="*/ 192704 h 645319"/>
                    <a:gd name="connsiteX9" fmla="*/ 192704 w 474348"/>
                    <a:gd name="connsiteY9" fmla="*/ 0 h 645319"/>
                    <a:gd name="connsiteX0" fmla="*/ 192704 w 474348"/>
                    <a:gd name="connsiteY0" fmla="*/ 2381 h 647700"/>
                    <a:gd name="connsiteX1" fmla="*/ 240986 w 474348"/>
                    <a:gd name="connsiteY1" fmla="*/ 0 h 647700"/>
                    <a:gd name="connsiteX2" fmla="*/ 281644 w 474348"/>
                    <a:gd name="connsiteY2" fmla="*/ 2381 h 647700"/>
                    <a:gd name="connsiteX3" fmla="*/ 474348 w 474348"/>
                    <a:gd name="connsiteY3" fmla="*/ 195085 h 647700"/>
                    <a:gd name="connsiteX4" fmla="*/ 474348 w 474348"/>
                    <a:gd name="connsiteY4" fmla="*/ 647700 h 647700"/>
                    <a:gd name="connsiteX5" fmla="*/ 474348 w 474348"/>
                    <a:gd name="connsiteY5" fmla="*/ 647700 h 647700"/>
                    <a:gd name="connsiteX6" fmla="*/ 248129 w 474348"/>
                    <a:gd name="connsiteY6" fmla="*/ 647700 h 647700"/>
                    <a:gd name="connsiteX7" fmla="*/ 0 w 474348"/>
                    <a:gd name="connsiteY7" fmla="*/ 647700 h 647700"/>
                    <a:gd name="connsiteX8" fmla="*/ 0 w 474348"/>
                    <a:gd name="connsiteY8" fmla="*/ 647700 h 647700"/>
                    <a:gd name="connsiteX9" fmla="*/ 0 w 474348"/>
                    <a:gd name="connsiteY9" fmla="*/ 195085 h 647700"/>
                    <a:gd name="connsiteX10" fmla="*/ 192704 w 474348"/>
                    <a:gd name="connsiteY10" fmla="*/ 2381 h 647700"/>
                    <a:gd name="connsiteX0" fmla="*/ 192704 w 474348"/>
                    <a:gd name="connsiteY0" fmla="*/ 42862 h 688181"/>
                    <a:gd name="connsiteX1" fmla="*/ 240986 w 474348"/>
                    <a:gd name="connsiteY1" fmla="*/ 0 h 688181"/>
                    <a:gd name="connsiteX2" fmla="*/ 281644 w 474348"/>
                    <a:gd name="connsiteY2" fmla="*/ 42862 h 688181"/>
                    <a:gd name="connsiteX3" fmla="*/ 474348 w 474348"/>
                    <a:gd name="connsiteY3" fmla="*/ 235566 h 688181"/>
                    <a:gd name="connsiteX4" fmla="*/ 474348 w 474348"/>
                    <a:gd name="connsiteY4" fmla="*/ 688181 h 688181"/>
                    <a:gd name="connsiteX5" fmla="*/ 474348 w 474348"/>
                    <a:gd name="connsiteY5" fmla="*/ 688181 h 688181"/>
                    <a:gd name="connsiteX6" fmla="*/ 248129 w 474348"/>
                    <a:gd name="connsiteY6" fmla="*/ 688181 h 688181"/>
                    <a:gd name="connsiteX7" fmla="*/ 0 w 474348"/>
                    <a:gd name="connsiteY7" fmla="*/ 688181 h 688181"/>
                    <a:gd name="connsiteX8" fmla="*/ 0 w 474348"/>
                    <a:gd name="connsiteY8" fmla="*/ 688181 h 688181"/>
                    <a:gd name="connsiteX9" fmla="*/ 0 w 474348"/>
                    <a:gd name="connsiteY9" fmla="*/ 235566 h 688181"/>
                    <a:gd name="connsiteX10" fmla="*/ 192704 w 474348"/>
                    <a:gd name="connsiteY10" fmla="*/ 42862 h 688181"/>
                    <a:gd name="connsiteX0" fmla="*/ 192704 w 474348"/>
                    <a:gd name="connsiteY0" fmla="*/ 23812 h 669131"/>
                    <a:gd name="connsiteX1" fmla="*/ 265690 w 474348"/>
                    <a:gd name="connsiteY1" fmla="*/ 0 h 669131"/>
                    <a:gd name="connsiteX2" fmla="*/ 281644 w 474348"/>
                    <a:gd name="connsiteY2" fmla="*/ 23812 h 669131"/>
                    <a:gd name="connsiteX3" fmla="*/ 474348 w 474348"/>
                    <a:gd name="connsiteY3" fmla="*/ 216516 h 669131"/>
                    <a:gd name="connsiteX4" fmla="*/ 474348 w 474348"/>
                    <a:gd name="connsiteY4" fmla="*/ 669131 h 669131"/>
                    <a:gd name="connsiteX5" fmla="*/ 474348 w 474348"/>
                    <a:gd name="connsiteY5" fmla="*/ 669131 h 669131"/>
                    <a:gd name="connsiteX6" fmla="*/ 248129 w 474348"/>
                    <a:gd name="connsiteY6" fmla="*/ 669131 h 669131"/>
                    <a:gd name="connsiteX7" fmla="*/ 0 w 474348"/>
                    <a:gd name="connsiteY7" fmla="*/ 669131 h 669131"/>
                    <a:gd name="connsiteX8" fmla="*/ 0 w 474348"/>
                    <a:gd name="connsiteY8" fmla="*/ 669131 h 669131"/>
                    <a:gd name="connsiteX9" fmla="*/ 0 w 474348"/>
                    <a:gd name="connsiteY9" fmla="*/ 216516 h 669131"/>
                    <a:gd name="connsiteX10" fmla="*/ 192704 w 474348"/>
                    <a:gd name="connsiteY10" fmla="*/ 23812 h 669131"/>
                    <a:gd name="connsiteX0" fmla="*/ 192704 w 474348"/>
                    <a:gd name="connsiteY0" fmla="*/ 23812 h 669131"/>
                    <a:gd name="connsiteX1" fmla="*/ 265690 w 474348"/>
                    <a:gd name="connsiteY1" fmla="*/ 0 h 669131"/>
                    <a:gd name="connsiteX2" fmla="*/ 309530 w 474348"/>
                    <a:gd name="connsiteY2" fmla="*/ 23110 h 669131"/>
                    <a:gd name="connsiteX3" fmla="*/ 474348 w 474348"/>
                    <a:gd name="connsiteY3" fmla="*/ 216516 h 669131"/>
                    <a:gd name="connsiteX4" fmla="*/ 474348 w 474348"/>
                    <a:gd name="connsiteY4" fmla="*/ 669131 h 669131"/>
                    <a:gd name="connsiteX5" fmla="*/ 474348 w 474348"/>
                    <a:gd name="connsiteY5" fmla="*/ 669131 h 669131"/>
                    <a:gd name="connsiteX6" fmla="*/ 248129 w 474348"/>
                    <a:gd name="connsiteY6" fmla="*/ 669131 h 669131"/>
                    <a:gd name="connsiteX7" fmla="*/ 0 w 474348"/>
                    <a:gd name="connsiteY7" fmla="*/ 669131 h 669131"/>
                    <a:gd name="connsiteX8" fmla="*/ 0 w 474348"/>
                    <a:gd name="connsiteY8" fmla="*/ 669131 h 669131"/>
                    <a:gd name="connsiteX9" fmla="*/ 0 w 474348"/>
                    <a:gd name="connsiteY9" fmla="*/ 216516 h 669131"/>
                    <a:gd name="connsiteX10" fmla="*/ 192704 w 474348"/>
                    <a:gd name="connsiteY10" fmla="*/ 23812 h 669131"/>
                    <a:gd name="connsiteX0" fmla="*/ 192704 w 474348"/>
                    <a:gd name="connsiteY0" fmla="*/ 23812 h 669131"/>
                    <a:gd name="connsiteX1" fmla="*/ 265690 w 474348"/>
                    <a:gd name="connsiteY1" fmla="*/ 0 h 669131"/>
                    <a:gd name="connsiteX2" fmla="*/ 309530 w 474348"/>
                    <a:gd name="connsiteY2" fmla="*/ 23110 h 669131"/>
                    <a:gd name="connsiteX3" fmla="*/ 474348 w 474348"/>
                    <a:gd name="connsiteY3" fmla="*/ 216516 h 669131"/>
                    <a:gd name="connsiteX4" fmla="*/ 474348 w 474348"/>
                    <a:gd name="connsiteY4" fmla="*/ 669131 h 669131"/>
                    <a:gd name="connsiteX5" fmla="*/ 474348 w 474348"/>
                    <a:gd name="connsiteY5" fmla="*/ 669131 h 669131"/>
                    <a:gd name="connsiteX6" fmla="*/ 248129 w 474348"/>
                    <a:gd name="connsiteY6" fmla="*/ 669131 h 669131"/>
                    <a:gd name="connsiteX7" fmla="*/ 0 w 474348"/>
                    <a:gd name="connsiteY7" fmla="*/ 669131 h 669131"/>
                    <a:gd name="connsiteX8" fmla="*/ 0 w 474348"/>
                    <a:gd name="connsiteY8" fmla="*/ 669131 h 669131"/>
                    <a:gd name="connsiteX9" fmla="*/ 0 w 474348"/>
                    <a:gd name="connsiteY9" fmla="*/ 216516 h 669131"/>
                    <a:gd name="connsiteX10" fmla="*/ 192704 w 474348"/>
                    <a:gd name="connsiteY10" fmla="*/ 23812 h 669131"/>
                    <a:gd name="connsiteX0" fmla="*/ 192704 w 474348"/>
                    <a:gd name="connsiteY0" fmla="*/ 23812 h 669131"/>
                    <a:gd name="connsiteX1" fmla="*/ 265690 w 474348"/>
                    <a:gd name="connsiteY1" fmla="*/ 0 h 669131"/>
                    <a:gd name="connsiteX2" fmla="*/ 309530 w 474348"/>
                    <a:gd name="connsiteY2" fmla="*/ 23110 h 669131"/>
                    <a:gd name="connsiteX3" fmla="*/ 474348 w 474348"/>
                    <a:gd name="connsiteY3" fmla="*/ 216516 h 669131"/>
                    <a:gd name="connsiteX4" fmla="*/ 474348 w 474348"/>
                    <a:gd name="connsiteY4" fmla="*/ 669131 h 669131"/>
                    <a:gd name="connsiteX5" fmla="*/ 474348 w 474348"/>
                    <a:gd name="connsiteY5" fmla="*/ 669131 h 669131"/>
                    <a:gd name="connsiteX6" fmla="*/ 248129 w 474348"/>
                    <a:gd name="connsiteY6" fmla="*/ 669131 h 669131"/>
                    <a:gd name="connsiteX7" fmla="*/ 0 w 474348"/>
                    <a:gd name="connsiteY7" fmla="*/ 669131 h 669131"/>
                    <a:gd name="connsiteX8" fmla="*/ 0 w 474348"/>
                    <a:gd name="connsiteY8" fmla="*/ 669131 h 669131"/>
                    <a:gd name="connsiteX9" fmla="*/ 0 w 474348"/>
                    <a:gd name="connsiteY9" fmla="*/ 216516 h 669131"/>
                    <a:gd name="connsiteX10" fmla="*/ 192704 w 474348"/>
                    <a:gd name="connsiteY10" fmla="*/ 23812 h 669131"/>
                    <a:gd name="connsiteX0" fmla="*/ 192704 w 474348"/>
                    <a:gd name="connsiteY0" fmla="*/ 23812 h 669131"/>
                    <a:gd name="connsiteX1" fmla="*/ 265690 w 474348"/>
                    <a:gd name="connsiteY1" fmla="*/ 0 h 669131"/>
                    <a:gd name="connsiteX2" fmla="*/ 309530 w 474348"/>
                    <a:gd name="connsiteY2" fmla="*/ 23110 h 669131"/>
                    <a:gd name="connsiteX3" fmla="*/ 474348 w 474348"/>
                    <a:gd name="connsiteY3" fmla="*/ 216516 h 669131"/>
                    <a:gd name="connsiteX4" fmla="*/ 474348 w 474348"/>
                    <a:gd name="connsiteY4" fmla="*/ 669131 h 669131"/>
                    <a:gd name="connsiteX5" fmla="*/ 474348 w 474348"/>
                    <a:gd name="connsiteY5" fmla="*/ 669131 h 669131"/>
                    <a:gd name="connsiteX6" fmla="*/ 248129 w 474348"/>
                    <a:gd name="connsiteY6" fmla="*/ 669131 h 669131"/>
                    <a:gd name="connsiteX7" fmla="*/ 0 w 474348"/>
                    <a:gd name="connsiteY7" fmla="*/ 669131 h 669131"/>
                    <a:gd name="connsiteX8" fmla="*/ 0 w 474348"/>
                    <a:gd name="connsiteY8" fmla="*/ 669131 h 669131"/>
                    <a:gd name="connsiteX9" fmla="*/ 0 w 474348"/>
                    <a:gd name="connsiteY9" fmla="*/ 216516 h 669131"/>
                    <a:gd name="connsiteX10" fmla="*/ 192704 w 474348"/>
                    <a:gd name="connsiteY10" fmla="*/ 23812 h 6691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74348" h="669131">
                      <a:moveTo>
                        <a:pt x="192704" y="23812"/>
                      </a:moveTo>
                      <a:lnTo>
                        <a:pt x="265690" y="0"/>
                      </a:lnTo>
                      <a:cubicBezTo>
                        <a:pt x="271008" y="7937"/>
                        <a:pt x="275989" y="2061"/>
                        <a:pt x="309530" y="23110"/>
                      </a:cubicBezTo>
                      <a:cubicBezTo>
                        <a:pt x="387382" y="59846"/>
                        <a:pt x="474348" y="110089"/>
                        <a:pt x="474348" y="216516"/>
                      </a:cubicBezTo>
                      <a:lnTo>
                        <a:pt x="474348" y="669131"/>
                      </a:lnTo>
                      <a:lnTo>
                        <a:pt x="474348" y="669131"/>
                      </a:lnTo>
                      <a:lnTo>
                        <a:pt x="248129" y="669131"/>
                      </a:lnTo>
                      <a:lnTo>
                        <a:pt x="0" y="669131"/>
                      </a:lnTo>
                      <a:lnTo>
                        <a:pt x="0" y="669131"/>
                      </a:lnTo>
                      <a:lnTo>
                        <a:pt x="0" y="216516"/>
                      </a:lnTo>
                      <a:cubicBezTo>
                        <a:pt x="0" y="110089"/>
                        <a:pt x="135350" y="45744"/>
                        <a:pt x="192704" y="23812"/>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215" name="Oval 214"/>
                <p:cNvSpPr/>
                <p:nvPr/>
              </p:nvSpPr>
              <p:spPr>
                <a:xfrm>
                  <a:off x="2740926" y="1513161"/>
                  <a:ext cx="629631" cy="629631"/>
                </a:xfrm>
                <a:prstGeom prst="ellipse">
                  <a:avLst/>
                </a:prstGeom>
                <a:solidFill>
                  <a:schemeClr val="bg1"/>
                </a:solidFill>
                <a:ln w="508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grpSp>
      <p:sp>
        <p:nvSpPr>
          <p:cNvPr id="96" name="Freeform 95"/>
          <p:cNvSpPr/>
          <p:nvPr/>
        </p:nvSpPr>
        <p:spPr>
          <a:xfrm>
            <a:off x="6858000" y="1663700"/>
            <a:ext cx="990600" cy="2336800"/>
          </a:xfrm>
          <a:custGeom>
            <a:avLst/>
            <a:gdLst>
              <a:gd name="connsiteX0" fmla="*/ 0 w 990600"/>
              <a:gd name="connsiteY0" fmla="*/ 2336800 h 2336800"/>
              <a:gd name="connsiteX1" fmla="*/ 177800 w 990600"/>
              <a:gd name="connsiteY1" fmla="*/ 2057400 h 2336800"/>
              <a:gd name="connsiteX2" fmla="*/ 254000 w 990600"/>
              <a:gd name="connsiteY2" fmla="*/ 1663700 h 2336800"/>
              <a:gd name="connsiteX3" fmla="*/ 381000 w 990600"/>
              <a:gd name="connsiteY3" fmla="*/ 1143000 h 2336800"/>
              <a:gd name="connsiteX4" fmla="*/ 279400 w 990600"/>
              <a:gd name="connsiteY4" fmla="*/ 685800 h 2336800"/>
              <a:gd name="connsiteX5" fmla="*/ 114300 w 990600"/>
              <a:gd name="connsiteY5" fmla="*/ 520700 h 2336800"/>
              <a:gd name="connsiteX6" fmla="*/ 228600 w 990600"/>
              <a:gd name="connsiteY6" fmla="*/ 508000 h 2336800"/>
              <a:gd name="connsiteX7" fmla="*/ 431800 w 990600"/>
              <a:gd name="connsiteY7" fmla="*/ 774700 h 2336800"/>
              <a:gd name="connsiteX8" fmla="*/ 508000 w 990600"/>
              <a:gd name="connsiteY8" fmla="*/ 698500 h 2336800"/>
              <a:gd name="connsiteX9" fmla="*/ 457200 w 990600"/>
              <a:gd name="connsiteY9" fmla="*/ 342900 h 2336800"/>
              <a:gd name="connsiteX10" fmla="*/ 317500 w 990600"/>
              <a:gd name="connsiteY10" fmla="*/ 0 h 2336800"/>
              <a:gd name="connsiteX11" fmla="*/ 469900 w 990600"/>
              <a:gd name="connsiteY11" fmla="*/ 127000 h 2336800"/>
              <a:gd name="connsiteX12" fmla="*/ 622300 w 990600"/>
              <a:gd name="connsiteY12" fmla="*/ 711200 h 2336800"/>
              <a:gd name="connsiteX13" fmla="*/ 647700 w 990600"/>
              <a:gd name="connsiteY13" fmla="*/ 914400 h 2336800"/>
              <a:gd name="connsiteX14" fmla="*/ 787400 w 990600"/>
              <a:gd name="connsiteY14" fmla="*/ 774700 h 2336800"/>
              <a:gd name="connsiteX15" fmla="*/ 889000 w 990600"/>
              <a:gd name="connsiteY15" fmla="*/ 406400 h 2336800"/>
              <a:gd name="connsiteX16" fmla="*/ 965200 w 990600"/>
              <a:gd name="connsiteY16" fmla="*/ 558800 h 2336800"/>
              <a:gd name="connsiteX17" fmla="*/ 901700 w 990600"/>
              <a:gd name="connsiteY17" fmla="*/ 787400 h 2336800"/>
              <a:gd name="connsiteX18" fmla="*/ 825500 w 990600"/>
              <a:gd name="connsiteY18" fmla="*/ 1066800 h 2336800"/>
              <a:gd name="connsiteX19" fmla="*/ 838200 w 990600"/>
              <a:gd name="connsiteY19" fmla="*/ 1536700 h 2336800"/>
              <a:gd name="connsiteX20" fmla="*/ 990600 w 990600"/>
              <a:gd name="connsiteY20" fmla="*/ 2159000 h 2336800"/>
              <a:gd name="connsiteX21" fmla="*/ 0 w 990600"/>
              <a:gd name="connsiteY21" fmla="*/ 2336800 h 2336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990600" h="2336800">
                <a:moveTo>
                  <a:pt x="0" y="2336800"/>
                </a:moveTo>
                <a:lnTo>
                  <a:pt x="177800" y="2057400"/>
                </a:lnTo>
                <a:lnTo>
                  <a:pt x="254000" y="1663700"/>
                </a:lnTo>
                <a:lnTo>
                  <a:pt x="381000" y="1143000"/>
                </a:lnTo>
                <a:lnTo>
                  <a:pt x="279400" y="685800"/>
                </a:lnTo>
                <a:lnTo>
                  <a:pt x="114300" y="520700"/>
                </a:lnTo>
                <a:lnTo>
                  <a:pt x="228600" y="508000"/>
                </a:lnTo>
                <a:lnTo>
                  <a:pt x="431800" y="774700"/>
                </a:lnTo>
                <a:lnTo>
                  <a:pt x="508000" y="698500"/>
                </a:lnTo>
                <a:lnTo>
                  <a:pt x="457200" y="342900"/>
                </a:lnTo>
                <a:lnTo>
                  <a:pt x="317500" y="0"/>
                </a:lnTo>
                <a:lnTo>
                  <a:pt x="469900" y="127000"/>
                </a:lnTo>
                <a:lnTo>
                  <a:pt x="622300" y="711200"/>
                </a:lnTo>
                <a:lnTo>
                  <a:pt x="647700" y="914400"/>
                </a:lnTo>
                <a:lnTo>
                  <a:pt x="787400" y="774700"/>
                </a:lnTo>
                <a:lnTo>
                  <a:pt x="889000" y="406400"/>
                </a:lnTo>
                <a:lnTo>
                  <a:pt x="965200" y="558800"/>
                </a:lnTo>
                <a:lnTo>
                  <a:pt x="901700" y="787400"/>
                </a:lnTo>
                <a:lnTo>
                  <a:pt x="825500" y="1066800"/>
                </a:lnTo>
                <a:lnTo>
                  <a:pt x="838200" y="1536700"/>
                </a:lnTo>
                <a:lnTo>
                  <a:pt x="990600" y="2159000"/>
                </a:lnTo>
                <a:lnTo>
                  <a:pt x="0" y="2336800"/>
                </a:lnTo>
                <a:close/>
              </a:path>
            </a:pathLst>
          </a:custGeom>
          <a:solidFill>
            <a:schemeClr val="bg2">
              <a:lumMod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grpSp>
        <p:nvGrpSpPr>
          <p:cNvPr id="97" name="Group 4"/>
          <p:cNvGrpSpPr>
            <a:grpSpLocks noChangeAspect="1"/>
          </p:cNvGrpSpPr>
          <p:nvPr/>
        </p:nvGrpSpPr>
        <p:grpSpPr bwMode="auto">
          <a:xfrm rot="3119182">
            <a:off x="7437831" y="1460085"/>
            <a:ext cx="1372063" cy="1367164"/>
            <a:chOff x="1238" y="585"/>
            <a:chExt cx="280" cy="279"/>
          </a:xfrm>
          <a:solidFill>
            <a:srgbClr val="00B050"/>
          </a:solidFill>
          <a:effectLst>
            <a:outerShdw blurRad="50800" dist="38100" dir="2700000" algn="tl" rotWithShape="0">
              <a:prstClr val="black">
                <a:alpha val="40000"/>
              </a:prstClr>
            </a:outerShdw>
          </a:effectLst>
        </p:grpSpPr>
        <p:sp>
          <p:nvSpPr>
            <p:cNvPr id="98" name="Freeform 5"/>
            <p:cNvSpPr>
              <a:spLocks noEditPoints="1"/>
            </p:cNvSpPr>
            <p:nvPr/>
          </p:nvSpPr>
          <p:spPr bwMode="auto">
            <a:xfrm>
              <a:off x="1238" y="585"/>
              <a:ext cx="280" cy="279"/>
            </a:xfrm>
            <a:custGeom>
              <a:avLst/>
              <a:gdLst>
                <a:gd name="T0" fmla="*/ 342 w 1202"/>
                <a:gd name="T1" fmla="*/ 311 h 1235"/>
                <a:gd name="T2" fmla="*/ 524 w 1202"/>
                <a:gd name="T3" fmla="*/ 951 h 1235"/>
                <a:gd name="T4" fmla="*/ 527 w 1202"/>
                <a:gd name="T5" fmla="*/ 903 h 1235"/>
                <a:gd name="T6" fmla="*/ 572 w 1202"/>
                <a:gd name="T7" fmla="*/ 750 h 1235"/>
                <a:gd name="T8" fmla="*/ 766 w 1202"/>
                <a:gd name="T9" fmla="*/ 600 h 1235"/>
                <a:gd name="T10" fmla="*/ 780 w 1202"/>
                <a:gd name="T11" fmla="*/ 574 h 1235"/>
                <a:gd name="T12" fmla="*/ 705 w 1202"/>
                <a:gd name="T13" fmla="*/ 391 h 1235"/>
                <a:gd name="T14" fmla="*/ 296 w 1202"/>
                <a:gd name="T15" fmla="*/ 0 h 1235"/>
                <a:gd name="T16" fmla="*/ 286 w 1202"/>
                <a:gd name="T17" fmla="*/ 11 h 1235"/>
                <a:gd name="T18" fmla="*/ 135 w 1202"/>
                <a:gd name="T19" fmla="*/ 239 h 1235"/>
                <a:gd name="T20" fmla="*/ 9 w 1202"/>
                <a:gd name="T21" fmla="*/ 603 h 1235"/>
                <a:gd name="T22" fmla="*/ 119 w 1202"/>
                <a:gd name="T23" fmla="*/ 923 h 1235"/>
                <a:gd name="T24" fmla="*/ 379 w 1202"/>
                <a:gd name="T25" fmla="*/ 1084 h 1235"/>
                <a:gd name="T26" fmla="*/ 411 w 1202"/>
                <a:gd name="T27" fmla="*/ 1093 h 1235"/>
                <a:gd name="T28" fmla="*/ 342 w 1202"/>
                <a:gd name="T29" fmla="*/ 311 h 1235"/>
                <a:gd name="T30" fmla="*/ 717 w 1202"/>
                <a:gd name="T31" fmla="*/ 1209 h 1235"/>
                <a:gd name="T32" fmla="*/ 778 w 1202"/>
                <a:gd name="T33" fmla="*/ 1222 h 1235"/>
                <a:gd name="T34" fmla="*/ 1012 w 1202"/>
                <a:gd name="T35" fmla="*/ 1186 h 1235"/>
                <a:gd name="T36" fmla="*/ 1155 w 1202"/>
                <a:gd name="T37" fmla="*/ 1000 h 1235"/>
                <a:gd name="T38" fmla="*/ 1201 w 1202"/>
                <a:gd name="T39" fmla="*/ 727 h 1235"/>
                <a:gd name="T40" fmla="*/ 1201 w 1202"/>
                <a:gd name="T41" fmla="*/ 622 h 1235"/>
                <a:gd name="T42" fmla="*/ 1097 w 1202"/>
                <a:gd name="T43" fmla="*/ 622 h 1235"/>
                <a:gd name="T44" fmla="*/ 845 w 1202"/>
                <a:gd name="T45" fmla="*/ 660 h 1235"/>
                <a:gd name="T46" fmla="*/ 597 w 1202"/>
                <a:gd name="T47" fmla="*/ 935 h 1235"/>
                <a:gd name="T48" fmla="*/ 626 w 1202"/>
                <a:gd name="T49" fmla="*/ 1142 h 1235"/>
                <a:gd name="T50" fmla="*/ 728 w 1202"/>
                <a:gd name="T51" fmla="*/ 1044 h 1235"/>
                <a:gd name="T52" fmla="*/ 837 w 1202"/>
                <a:gd name="T53" fmla="*/ 957 h 1235"/>
                <a:gd name="T54" fmla="*/ 951 w 1202"/>
                <a:gd name="T55" fmla="*/ 881 h 1235"/>
                <a:gd name="T56" fmla="*/ 955 w 1202"/>
                <a:gd name="T57" fmla="*/ 887 h 1235"/>
                <a:gd name="T58" fmla="*/ 717 w 1202"/>
                <a:gd name="T59" fmla="*/ 1209 h 1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202" h="1235">
                  <a:moveTo>
                    <a:pt x="342" y="311"/>
                  </a:moveTo>
                  <a:cubicBezTo>
                    <a:pt x="385" y="530"/>
                    <a:pt x="438" y="745"/>
                    <a:pt x="524" y="951"/>
                  </a:cubicBezTo>
                  <a:cubicBezTo>
                    <a:pt x="527" y="935"/>
                    <a:pt x="526" y="919"/>
                    <a:pt x="527" y="903"/>
                  </a:cubicBezTo>
                  <a:cubicBezTo>
                    <a:pt x="529" y="848"/>
                    <a:pt x="544" y="797"/>
                    <a:pt x="572" y="750"/>
                  </a:cubicBezTo>
                  <a:cubicBezTo>
                    <a:pt x="618" y="676"/>
                    <a:pt x="687" y="631"/>
                    <a:pt x="766" y="600"/>
                  </a:cubicBezTo>
                  <a:cubicBezTo>
                    <a:pt x="780" y="595"/>
                    <a:pt x="784" y="590"/>
                    <a:pt x="780" y="574"/>
                  </a:cubicBezTo>
                  <a:cubicBezTo>
                    <a:pt x="767" y="508"/>
                    <a:pt x="741" y="447"/>
                    <a:pt x="705" y="391"/>
                  </a:cubicBezTo>
                  <a:cubicBezTo>
                    <a:pt x="602" y="227"/>
                    <a:pt x="453" y="110"/>
                    <a:pt x="296" y="0"/>
                  </a:cubicBezTo>
                  <a:cubicBezTo>
                    <a:pt x="292" y="4"/>
                    <a:pt x="289" y="7"/>
                    <a:pt x="286" y="11"/>
                  </a:cubicBezTo>
                  <a:cubicBezTo>
                    <a:pt x="236" y="87"/>
                    <a:pt x="181" y="160"/>
                    <a:pt x="135" y="239"/>
                  </a:cubicBezTo>
                  <a:cubicBezTo>
                    <a:pt x="68" y="351"/>
                    <a:pt x="19" y="470"/>
                    <a:pt x="9" y="603"/>
                  </a:cubicBezTo>
                  <a:cubicBezTo>
                    <a:pt x="0" y="725"/>
                    <a:pt x="35" y="833"/>
                    <a:pt x="119" y="923"/>
                  </a:cubicBezTo>
                  <a:cubicBezTo>
                    <a:pt x="191" y="1001"/>
                    <a:pt x="281" y="1049"/>
                    <a:pt x="379" y="1084"/>
                  </a:cubicBezTo>
                  <a:cubicBezTo>
                    <a:pt x="389" y="1087"/>
                    <a:pt x="399" y="1090"/>
                    <a:pt x="411" y="1093"/>
                  </a:cubicBezTo>
                  <a:cubicBezTo>
                    <a:pt x="356" y="833"/>
                    <a:pt x="333" y="574"/>
                    <a:pt x="342" y="311"/>
                  </a:cubicBezTo>
                  <a:close/>
                  <a:moveTo>
                    <a:pt x="717" y="1209"/>
                  </a:moveTo>
                  <a:cubicBezTo>
                    <a:pt x="740" y="1214"/>
                    <a:pt x="759" y="1219"/>
                    <a:pt x="778" y="1222"/>
                  </a:cubicBezTo>
                  <a:cubicBezTo>
                    <a:pt x="860" y="1235"/>
                    <a:pt x="939" y="1229"/>
                    <a:pt x="1012" y="1186"/>
                  </a:cubicBezTo>
                  <a:cubicBezTo>
                    <a:pt x="1084" y="1143"/>
                    <a:pt x="1127" y="1076"/>
                    <a:pt x="1155" y="1000"/>
                  </a:cubicBezTo>
                  <a:cubicBezTo>
                    <a:pt x="1187" y="912"/>
                    <a:pt x="1198" y="820"/>
                    <a:pt x="1201" y="727"/>
                  </a:cubicBezTo>
                  <a:cubicBezTo>
                    <a:pt x="1202" y="693"/>
                    <a:pt x="1201" y="659"/>
                    <a:pt x="1201" y="622"/>
                  </a:cubicBezTo>
                  <a:cubicBezTo>
                    <a:pt x="1164" y="622"/>
                    <a:pt x="1131" y="621"/>
                    <a:pt x="1097" y="622"/>
                  </a:cubicBezTo>
                  <a:cubicBezTo>
                    <a:pt x="1012" y="624"/>
                    <a:pt x="927" y="633"/>
                    <a:pt x="845" y="660"/>
                  </a:cubicBezTo>
                  <a:cubicBezTo>
                    <a:pt x="710" y="704"/>
                    <a:pt x="613" y="784"/>
                    <a:pt x="597" y="935"/>
                  </a:cubicBezTo>
                  <a:cubicBezTo>
                    <a:pt x="589" y="1006"/>
                    <a:pt x="602" y="1074"/>
                    <a:pt x="626" y="1142"/>
                  </a:cubicBezTo>
                  <a:cubicBezTo>
                    <a:pt x="661" y="1108"/>
                    <a:pt x="693" y="1075"/>
                    <a:pt x="728" y="1044"/>
                  </a:cubicBezTo>
                  <a:cubicBezTo>
                    <a:pt x="763" y="1014"/>
                    <a:pt x="799" y="984"/>
                    <a:pt x="837" y="957"/>
                  </a:cubicBezTo>
                  <a:cubicBezTo>
                    <a:pt x="874" y="930"/>
                    <a:pt x="913" y="906"/>
                    <a:pt x="951" y="881"/>
                  </a:cubicBezTo>
                  <a:cubicBezTo>
                    <a:pt x="952" y="883"/>
                    <a:pt x="953" y="885"/>
                    <a:pt x="955" y="887"/>
                  </a:cubicBezTo>
                  <a:cubicBezTo>
                    <a:pt x="858" y="980"/>
                    <a:pt x="780" y="1087"/>
                    <a:pt x="717" y="120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9" name="Freeform 6"/>
            <p:cNvSpPr>
              <a:spLocks/>
            </p:cNvSpPr>
            <p:nvPr/>
          </p:nvSpPr>
          <p:spPr bwMode="auto">
            <a:xfrm>
              <a:off x="1238" y="585"/>
              <a:ext cx="183" cy="247"/>
            </a:xfrm>
            <a:custGeom>
              <a:avLst/>
              <a:gdLst>
                <a:gd name="T0" fmla="*/ 342 w 784"/>
                <a:gd name="T1" fmla="*/ 311 h 1093"/>
                <a:gd name="T2" fmla="*/ 411 w 784"/>
                <a:gd name="T3" fmla="*/ 1093 h 1093"/>
                <a:gd name="T4" fmla="*/ 379 w 784"/>
                <a:gd name="T5" fmla="*/ 1084 h 1093"/>
                <a:gd name="T6" fmla="*/ 119 w 784"/>
                <a:gd name="T7" fmla="*/ 923 h 1093"/>
                <a:gd name="T8" fmla="*/ 9 w 784"/>
                <a:gd name="T9" fmla="*/ 603 h 1093"/>
                <a:gd name="T10" fmla="*/ 135 w 784"/>
                <a:gd name="T11" fmla="*/ 239 h 1093"/>
                <a:gd name="T12" fmla="*/ 286 w 784"/>
                <a:gd name="T13" fmla="*/ 11 h 1093"/>
                <a:gd name="T14" fmla="*/ 296 w 784"/>
                <a:gd name="T15" fmla="*/ 0 h 1093"/>
                <a:gd name="T16" fmla="*/ 705 w 784"/>
                <a:gd name="T17" fmla="*/ 391 h 1093"/>
                <a:gd name="T18" fmla="*/ 780 w 784"/>
                <a:gd name="T19" fmla="*/ 574 h 1093"/>
                <a:gd name="T20" fmla="*/ 766 w 784"/>
                <a:gd name="T21" fmla="*/ 600 h 1093"/>
                <a:gd name="T22" fmla="*/ 572 w 784"/>
                <a:gd name="T23" fmla="*/ 750 h 1093"/>
                <a:gd name="T24" fmla="*/ 527 w 784"/>
                <a:gd name="T25" fmla="*/ 903 h 1093"/>
                <a:gd name="T26" fmla="*/ 524 w 784"/>
                <a:gd name="T27" fmla="*/ 951 h 1093"/>
                <a:gd name="T28" fmla="*/ 342 w 784"/>
                <a:gd name="T29" fmla="*/ 311 h 10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84" h="1093">
                  <a:moveTo>
                    <a:pt x="342" y="311"/>
                  </a:moveTo>
                  <a:cubicBezTo>
                    <a:pt x="333" y="574"/>
                    <a:pt x="356" y="833"/>
                    <a:pt x="411" y="1093"/>
                  </a:cubicBezTo>
                  <a:cubicBezTo>
                    <a:pt x="399" y="1090"/>
                    <a:pt x="389" y="1087"/>
                    <a:pt x="379" y="1084"/>
                  </a:cubicBezTo>
                  <a:cubicBezTo>
                    <a:pt x="281" y="1049"/>
                    <a:pt x="191" y="1001"/>
                    <a:pt x="119" y="923"/>
                  </a:cubicBezTo>
                  <a:cubicBezTo>
                    <a:pt x="35" y="833"/>
                    <a:pt x="0" y="725"/>
                    <a:pt x="9" y="603"/>
                  </a:cubicBezTo>
                  <a:cubicBezTo>
                    <a:pt x="19" y="470"/>
                    <a:pt x="68" y="351"/>
                    <a:pt x="135" y="239"/>
                  </a:cubicBezTo>
                  <a:cubicBezTo>
                    <a:pt x="181" y="160"/>
                    <a:pt x="236" y="87"/>
                    <a:pt x="286" y="11"/>
                  </a:cubicBezTo>
                  <a:cubicBezTo>
                    <a:pt x="289" y="7"/>
                    <a:pt x="292" y="4"/>
                    <a:pt x="296" y="0"/>
                  </a:cubicBezTo>
                  <a:cubicBezTo>
                    <a:pt x="453" y="110"/>
                    <a:pt x="602" y="227"/>
                    <a:pt x="705" y="391"/>
                  </a:cubicBezTo>
                  <a:cubicBezTo>
                    <a:pt x="741" y="447"/>
                    <a:pt x="767" y="508"/>
                    <a:pt x="780" y="574"/>
                  </a:cubicBezTo>
                  <a:cubicBezTo>
                    <a:pt x="784" y="590"/>
                    <a:pt x="780" y="595"/>
                    <a:pt x="766" y="600"/>
                  </a:cubicBezTo>
                  <a:cubicBezTo>
                    <a:pt x="687" y="631"/>
                    <a:pt x="618" y="676"/>
                    <a:pt x="572" y="750"/>
                  </a:cubicBezTo>
                  <a:cubicBezTo>
                    <a:pt x="544" y="797"/>
                    <a:pt x="529" y="848"/>
                    <a:pt x="527" y="903"/>
                  </a:cubicBezTo>
                  <a:cubicBezTo>
                    <a:pt x="526" y="919"/>
                    <a:pt x="527" y="935"/>
                    <a:pt x="524" y="951"/>
                  </a:cubicBezTo>
                  <a:cubicBezTo>
                    <a:pt x="438" y="745"/>
                    <a:pt x="385" y="530"/>
                    <a:pt x="342" y="3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0" name="Freeform 7"/>
            <p:cNvSpPr>
              <a:spLocks/>
            </p:cNvSpPr>
            <p:nvPr/>
          </p:nvSpPr>
          <p:spPr bwMode="auto">
            <a:xfrm>
              <a:off x="1375" y="726"/>
              <a:ext cx="143" cy="138"/>
            </a:xfrm>
            <a:custGeom>
              <a:avLst/>
              <a:gdLst>
                <a:gd name="T0" fmla="*/ 128 w 613"/>
                <a:gd name="T1" fmla="*/ 588 h 614"/>
                <a:gd name="T2" fmla="*/ 366 w 613"/>
                <a:gd name="T3" fmla="*/ 266 h 614"/>
                <a:gd name="T4" fmla="*/ 362 w 613"/>
                <a:gd name="T5" fmla="*/ 260 h 614"/>
                <a:gd name="T6" fmla="*/ 248 w 613"/>
                <a:gd name="T7" fmla="*/ 336 h 614"/>
                <a:gd name="T8" fmla="*/ 139 w 613"/>
                <a:gd name="T9" fmla="*/ 423 h 614"/>
                <a:gd name="T10" fmla="*/ 37 w 613"/>
                <a:gd name="T11" fmla="*/ 521 h 614"/>
                <a:gd name="T12" fmla="*/ 8 w 613"/>
                <a:gd name="T13" fmla="*/ 314 h 614"/>
                <a:gd name="T14" fmla="*/ 256 w 613"/>
                <a:gd name="T15" fmla="*/ 39 h 614"/>
                <a:gd name="T16" fmla="*/ 508 w 613"/>
                <a:gd name="T17" fmla="*/ 1 h 614"/>
                <a:gd name="T18" fmla="*/ 612 w 613"/>
                <a:gd name="T19" fmla="*/ 1 h 614"/>
                <a:gd name="T20" fmla="*/ 612 w 613"/>
                <a:gd name="T21" fmla="*/ 106 h 614"/>
                <a:gd name="T22" fmla="*/ 566 w 613"/>
                <a:gd name="T23" fmla="*/ 379 h 614"/>
                <a:gd name="T24" fmla="*/ 423 w 613"/>
                <a:gd name="T25" fmla="*/ 565 h 614"/>
                <a:gd name="T26" fmla="*/ 189 w 613"/>
                <a:gd name="T27" fmla="*/ 601 h 614"/>
                <a:gd name="T28" fmla="*/ 128 w 613"/>
                <a:gd name="T29" fmla="*/ 588 h 6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13" h="614">
                  <a:moveTo>
                    <a:pt x="128" y="588"/>
                  </a:moveTo>
                  <a:cubicBezTo>
                    <a:pt x="191" y="466"/>
                    <a:pt x="269" y="359"/>
                    <a:pt x="366" y="266"/>
                  </a:cubicBezTo>
                  <a:cubicBezTo>
                    <a:pt x="364" y="264"/>
                    <a:pt x="363" y="262"/>
                    <a:pt x="362" y="260"/>
                  </a:cubicBezTo>
                  <a:cubicBezTo>
                    <a:pt x="324" y="285"/>
                    <a:pt x="285" y="309"/>
                    <a:pt x="248" y="336"/>
                  </a:cubicBezTo>
                  <a:cubicBezTo>
                    <a:pt x="210" y="363"/>
                    <a:pt x="174" y="393"/>
                    <a:pt x="139" y="423"/>
                  </a:cubicBezTo>
                  <a:cubicBezTo>
                    <a:pt x="104" y="454"/>
                    <a:pt x="72" y="487"/>
                    <a:pt x="37" y="521"/>
                  </a:cubicBezTo>
                  <a:cubicBezTo>
                    <a:pt x="13" y="453"/>
                    <a:pt x="0" y="385"/>
                    <a:pt x="8" y="314"/>
                  </a:cubicBezTo>
                  <a:cubicBezTo>
                    <a:pt x="24" y="163"/>
                    <a:pt x="121" y="83"/>
                    <a:pt x="256" y="39"/>
                  </a:cubicBezTo>
                  <a:cubicBezTo>
                    <a:pt x="338" y="12"/>
                    <a:pt x="423" y="3"/>
                    <a:pt x="508" y="1"/>
                  </a:cubicBezTo>
                  <a:cubicBezTo>
                    <a:pt x="542" y="0"/>
                    <a:pt x="575" y="1"/>
                    <a:pt x="612" y="1"/>
                  </a:cubicBezTo>
                  <a:cubicBezTo>
                    <a:pt x="612" y="38"/>
                    <a:pt x="613" y="72"/>
                    <a:pt x="612" y="106"/>
                  </a:cubicBezTo>
                  <a:cubicBezTo>
                    <a:pt x="609" y="199"/>
                    <a:pt x="598" y="291"/>
                    <a:pt x="566" y="379"/>
                  </a:cubicBezTo>
                  <a:cubicBezTo>
                    <a:pt x="538" y="455"/>
                    <a:pt x="495" y="522"/>
                    <a:pt x="423" y="565"/>
                  </a:cubicBezTo>
                  <a:cubicBezTo>
                    <a:pt x="350" y="608"/>
                    <a:pt x="271" y="614"/>
                    <a:pt x="189" y="601"/>
                  </a:cubicBezTo>
                  <a:cubicBezTo>
                    <a:pt x="170" y="598"/>
                    <a:pt x="151" y="593"/>
                    <a:pt x="128" y="5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7" name="Freeform 6"/>
          <p:cNvSpPr/>
          <p:nvPr/>
        </p:nvSpPr>
        <p:spPr>
          <a:xfrm>
            <a:off x="-12700" y="3505200"/>
            <a:ext cx="9169400" cy="1651000"/>
          </a:xfrm>
          <a:custGeom>
            <a:avLst/>
            <a:gdLst>
              <a:gd name="connsiteX0" fmla="*/ 12700 w 9169400"/>
              <a:gd name="connsiteY0" fmla="*/ 571500 h 1651000"/>
              <a:gd name="connsiteX1" fmla="*/ 622300 w 9169400"/>
              <a:gd name="connsiteY1" fmla="*/ 431800 h 1651000"/>
              <a:gd name="connsiteX2" fmla="*/ 1143000 w 9169400"/>
              <a:gd name="connsiteY2" fmla="*/ 279400 h 1651000"/>
              <a:gd name="connsiteX3" fmla="*/ 1701800 w 9169400"/>
              <a:gd name="connsiteY3" fmla="*/ 228600 h 1651000"/>
              <a:gd name="connsiteX4" fmla="*/ 2794000 w 9169400"/>
              <a:gd name="connsiteY4" fmla="*/ 355600 h 1651000"/>
              <a:gd name="connsiteX5" fmla="*/ 3873500 w 9169400"/>
              <a:gd name="connsiteY5" fmla="*/ 469900 h 1651000"/>
              <a:gd name="connsiteX6" fmla="*/ 5067300 w 9169400"/>
              <a:gd name="connsiteY6" fmla="*/ 622300 h 1651000"/>
              <a:gd name="connsiteX7" fmla="*/ 6261100 w 9169400"/>
              <a:gd name="connsiteY7" fmla="*/ 558800 h 1651000"/>
              <a:gd name="connsiteX8" fmla="*/ 7086600 w 9169400"/>
              <a:gd name="connsiteY8" fmla="*/ 177800 h 1651000"/>
              <a:gd name="connsiteX9" fmla="*/ 9156700 w 9169400"/>
              <a:gd name="connsiteY9" fmla="*/ 0 h 1651000"/>
              <a:gd name="connsiteX10" fmla="*/ 9169400 w 9169400"/>
              <a:gd name="connsiteY10" fmla="*/ 1651000 h 1651000"/>
              <a:gd name="connsiteX11" fmla="*/ 0 w 9169400"/>
              <a:gd name="connsiteY11" fmla="*/ 1651000 h 1651000"/>
              <a:gd name="connsiteX12" fmla="*/ 12700 w 9169400"/>
              <a:gd name="connsiteY12" fmla="*/ 571500 h 1651000"/>
              <a:gd name="connsiteX0" fmla="*/ 12700 w 9169400"/>
              <a:gd name="connsiteY0" fmla="*/ 571500 h 1651000"/>
              <a:gd name="connsiteX1" fmla="*/ 622300 w 9169400"/>
              <a:gd name="connsiteY1" fmla="*/ 431800 h 1651000"/>
              <a:gd name="connsiteX2" fmla="*/ 1143000 w 9169400"/>
              <a:gd name="connsiteY2" fmla="*/ 279400 h 1651000"/>
              <a:gd name="connsiteX3" fmla="*/ 1701800 w 9169400"/>
              <a:gd name="connsiteY3" fmla="*/ 228600 h 1651000"/>
              <a:gd name="connsiteX4" fmla="*/ 2794000 w 9169400"/>
              <a:gd name="connsiteY4" fmla="*/ 355600 h 1651000"/>
              <a:gd name="connsiteX5" fmla="*/ 3873500 w 9169400"/>
              <a:gd name="connsiteY5" fmla="*/ 469900 h 1651000"/>
              <a:gd name="connsiteX6" fmla="*/ 5067300 w 9169400"/>
              <a:gd name="connsiteY6" fmla="*/ 622300 h 1651000"/>
              <a:gd name="connsiteX7" fmla="*/ 6261100 w 9169400"/>
              <a:gd name="connsiteY7" fmla="*/ 558800 h 1651000"/>
              <a:gd name="connsiteX8" fmla="*/ 7086600 w 9169400"/>
              <a:gd name="connsiteY8" fmla="*/ 177800 h 1651000"/>
              <a:gd name="connsiteX9" fmla="*/ 9156700 w 9169400"/>
              <a:gd name="connsiteY9" fmla="*/ 0 h 1651000"/>
              <a:gd name="connsiteX10" fmla="*/ 9169400 w 9169400"/>
              <a:gd name="connsiteY10" fmla="*/ 1651000 h 1651000"/>
              <a:gd name="connsiteX11" fmla="*/ 0 w 9169400"/>
              <a:gd name="connsiteY11" fmla="*/ 1651000 h 1651000"/>
              <a:gd name="connsiteX12" fmla="*/ 12700 w 9169400"/>
              <a:gd name="connsiteY12" fmla="*/ 571500 h 1651000"/>
              <a:gd name="connsiteX0" fmla="*/ 12700 w 9169400"/>
              <a:gd name="connsiteY0" fmla="*/ 571500 h 1651000"/>
              <a:gd name="connsiteX1" fmla="*/ 622300 w 9169400"/>
              <a:gd name="connsiteY1" fmla="*/ 431800 h 1651000"/>
              <a:gd name="connsiteX2" fmla="*/ 1143000 w 9169400"/>
              <a:gd name="connsiteY2" fmla="*/ 279400 h 1651000"/>
              <a:gd name="connsiteX3" fmla="*/ 1701800 w 9169400"/>
              <a:gd name="connsiteY3" fmla="*/ 228600 h 1651000"/>
              <a:gd name="connsiteX4" fmla="*/ 2794000 w 9169400"/>
              <a:gd name="connsiteY4" fmla="*/ 355600 h 1651000"/>
              <a:gd name="connsiteX5" fmla="*/ 3873500 w 9169400"/>
              <a:gd name="connsiteY5" fmla="*/ 469900 h 1651000"/>
              <a:gd name="connsiteX6" fmla="*/ 5067300 w 9169400"/>
              <a:gd name="connsiteY6" fmla="*/ 622300 h 1651000"/>
              <a:gd name="connsiteX7" fmla="*/ 6261100 w 9169400"/>
              <a:gd name="connsiteY7" fmla="*/ 558800 h 1651000"/>
              <a:gd name="connsiteX8" fmla="*/ 7086600 w 9169400"/>
              <a:gd name="connsiteY8" fmla="*/ 177800 h 1651000"/>
              <a:gd name="connsiteX9" fmla="*/ 9156700 w 9169400"/>
              <a:gd name="connsiteY9" fmla="*/ 0 h 1651000"/>
              <a:gd name="connsiteX10" fmla="*/ 9169400 w 9169400"/>
              <a:gd name="connsiteY10" fmla="*/ 1651000 h 1651000"/>
              <a:gd name="connsiteX11" fmla="*/ 0 w 9169400"/>
              <a:gd name="connsiteY11" fmla="*/ 1651000 h 1651000"/>
              <a:gd name="connsiteX12" fmla="*/ 12700 w 9169400"/>
              <a:gd name="connsiteY12" fmla="*/ 571500 h 1651000"/>
              <a:gd name="connsiteX0" fmla="*/ 12700 w 9169400"/>
              <a:gd name="connsiteY0" fmla="*/ 571500 h 1651000"/>
              <a:gd name="connsiteX1" fmla="*/ 622300 w 9169400"/>
              <a:gd name="connsiteY1" fmla="*/ 431800 h 1651000"/>
              <a:gd name="connsiteX2" fmla="*/ 1143000 w 9169400"/>
              <a:gd name="connsiteY2" fmla="*/ 279400 h 1651000"/>
              <a:gd name="connsiteX3" fmla="*/ 1701800 w 9169400"/>
              <a:gd name="connsiteY3" fmla="*/ 228600 h 1651000"/>
              <a:gd name="connsiteX4" fmla="*/ 2794000 w 9169400"/>
              <a:gd name="connsiteY4" fmla="*/ 355600 h 1651000"/>
              <a:gd name="connsiteX5" fmla="*/ 3873500 w 9169400"/>
              <a:gd name="connsiteY5" fmla="*/ 469900 h 1651000"/>
              <a:gd name="connsiteX6" fmla="*/ 5067300 w 9169400"/>
              <a:gd name="connsiteY6" fmla="*/ 622300 h 1651000"/>
              <a:gd name="connsiteX7" fmla="*/ 6261100 w 9169400"/>
              <a:gd name="connsiteY7" fmla="*/ 558800 h 1651000"/>
              <a:gd name="connsiteX8" fmla="*/ 7086600 w 9169400"/>
              <a:gd name="connsiteY8" fmla="*/ 177800 h 1651000"/>
              <a:gd name="connsiteX9" fmla="*/ 9156700 w 9169400"/>
              <a:gd name="connsiteY9" fmla="*/ 0 h 1651000"/>
              <a:gd name="connsiteX10" fmla="*/ 9169400 w 9169400"/>
              <a:gd name="connsiteY10" fmla="*/ 1651000 h 1651000"/>
              <a:gd name="connsiteX11" fmla="*/ 0 w 9169400"/>
              <a:gd name="connsiteY11" fmla="*/ 1651000 h 1651000"/>
              <a:gd name="connsiteX12" fmla="*/ 12700 w 9169400"/>
              <a:gd name="connsiteY12" fmla="*/ 571500 h 1651000"/>
              <a:gd name="connsiteX0" fmla="*/ 12700 w 9169400"/>
              <a:gd name="connsiteY0" fmla="*/ 571500 h 1651000"/>
              <a:gd name="connsiteX1" fmla="*/ 622300 w 9169400"/>
              <a:gd name="connsiteY1" fmla="*/ 431800 h 1651000"/>
              <a:gd name="connsiteX2" fmla="*/ 1143000 w 9169400"/>
              <a:gd name="connsiteY2" fmla="*/ 279400 h 1651000"/>
              <a:gd name="connsiteX3" fmla="*/ 1701800 w 9169400"/>
              <a:gd name="connsiteY3" fmla="*/ 228600 h 1651000"/>
              <a:gd name="connsiteX4" fmla="*/ 2794000 w 9169400"/>
              <a:gd name="connsiteY4" fmla="*/ 355600 h 1651000"/>
              <a:gd name="connsiteX5" fmla="*/ 3873500 w 9169400"/>
              <a:gd name="connsiteY5" fmla="*/ 469900 h 1651000"/>
              <a:gd name="connsiteX6" fmla="*/ 5067300 w 9169400"/>
              <a:gd name="connsiteY6" fmla="*/ 622300 h 1651000"/>
              <a:gd name="connsiteX7" fmla="*/ 6261100 w 9169400"/>
              <a:gd name="connsiteY7" fmla="*/ 558800 h 1651000"/>
              <a:gd name="connsiteX8" fmla="*/ 7086600 w 9169400"/>
              <a:gd name="connsiteY8" fmla="*/ 177800 h 1651000"/>
              <a:gd name="connsiteX9" fmla="*/ 9156700 w 9169400"/>
              <a:gd name="connsiteY9" fmla="*/ 0 h 1651000"/>
              <a:gd name="connsiteX10" fmla="*/ 9169400 w 9169400"/>
              <a:gd name="connsiteY10" fmla="*/ 1651000 h 1651000"/>
              <a:gd name="connsiteX11" fmla="*/ 0 w 9169400"/>
              <a:gd name="connsiteY11" fmla="*/ 1651000 h 1651000"/>
              <a:gd name="connsiteX12" fmla="*/ 12700 w 9169400"/>
              <a:gd name="connsiteY12" fmla="*/ 571500 h 1651000"/>
              <a:gd name="connsiteX0" fmla="*/ 12700 w 9169400"/>
              <a:gd name="connsiteY0" fmla="*/ 571500 h 1651000"/>
              <a:gd name="connsiteX1" fmla="*/ 622300 w 9169400"/>
              <a:gd name="connsiteY1" fmla="*/ 431800 h 1651000"/>
              <a:gd name="connsiteX2" fmla="*/ 1143000 w 9169400"/>
              <a:gd name="connsiteY2" fmla="*/ 279400 h 1651000"/>
              <a:gd name="connsiteX3" fmla="*/ 1701800 w 9169400"/>
              <a:gd name="connsiteY3" fmla="*/ 228600 h 1651000"/>
              <a:gd name="connsiteX4" fmla="*/ 2794000 w 9169400"/>
              <a:gd name="connsiteY4" fmla="*/ 355600 h 1651000"/>
              <a:gd name="connsiteX5" fmla="*/ 3873500 w 9169400"/>
              <a:gd name="connsiteY5" fmla="*/ 469900 h 1651000"/>
              <a:gd name="connsiteX6" fmla="*/ 5067300 w 9169400"/>
              <a:gd name="connsiteY6" fmla="*/ 622300 h 1651000"/>
              <a:gd name="connsiteX7" fmla="*/ 6261100 w 9169400"/>
              <a:gd name="connsiteY7" fmla="*/ 558800 h 1651000"/>
              <a:gd name="connsiteX8" fmla="*/ 7086600 w 9169400"/>
              <a:gd name="connsiteY8" fmla="*/ 177800 h 1651000"/>
              <a:gd name="connsiteX9" fmla="*/ 9156700 w 9169400"/>
              <a:gd name="connsiteY9" fmla="*/ 0 h 1651000"/>
              <a:gd name="connsiteX10" fmla="*/ 9169400 w 9169400"/>
              <a:gd name="connsiteY10" fmla="*/ 1651000 h 1651000"/>
              <a:gd name="connsiteX11" fmla="*/ 0 w 9169400"/>
              <a:gd name="connsiteY11" fmla="*/ 1651000 h 1651000"/>
              <a:gd name="connsiteX12" fmla="*/ 12700 w 9169400"/>
              <a:gd name="connsiteY12" fmla="*/ 571500 h 1651000"/>
              <a:gd name="connsiteX0" fmla="*/ 12700 w 9169400"/>
              <a:gd name="connsiteY0" fmla="*/ 571500 h 1651000"/>
              <a:gd name="connsiteX1" fmla="*/ 622300 w 9169400"/>
              <a:gd name="connsiteY1" fmla="*/ 431800 h 1651000"/>
              <a:gd name="connsiteX2" fmla="*/ 1143000 w 9169400"/>
              <a:gd name="connsiteY2" fmla="*/ 279400 h 1651000"/>
              <a:gd name="connsiteX3" fmla="*/ 1701800 w 9169400"/>
              <a:gd name="connsiteY3" fmla="*/ 228600 h 1651000"/>
              <a:gd name="connsiteX4" fmla="*/ 2794000 w 9169400"/>
              <a:gd name="connsiteY4" fmla="*/ 355600 h 1651000"/>
              <a:gd name="connsiteX5" fmla="*/ 3873500 w 9169400"/>
              <a:gd name="connsiteY5" fmla="*/ 469900 h 1651000"/>
              <a:gd name="connsiteX6" fmla="*/ 5067300 w 9169400"/>
              <a:gd name="connsiteY6" fmla="*/ 622300 h 1651000"/>
              <a:gd name="connsiteX7" fmla="*/ 6261100 w 9169400"/>
              <a:gd name="connsiteY7" fmla="*/ 558800 h 1651000"/>
              <a:gd name="connsiteX8" fmla="*/ 7086600 w 9169400"/>
              <a:gd name="connsiteY8" fmla="*/ 177800 h 1651000"/>
              <a:gd name="connsiteX9" fmla="*/ 9156700 w 9169400"/>
              <a:gd name="connsiteY9" fmla="*/ 0 h 1651000"/>
              <a:gd name="connsiteX10" fmla="*/ 9169400 w 9169400"/>
              <a:gd name="connsiteY10" fmla="*/ 1651000 h 1651000"/>
              <a:gd name="connsiteX11" fmla="*/ 0 w 9169400"/>
              <a:gd name="connsiteY11" fmla="*/ 1651000 h 1651000"/>
              <a:gd name="connsiteX12" fmla="*/ 12700 w 9169400"/>
              <a:gd name="connsiteY12" fmla="*/ 571500 h 1651000"/>
              <a:gd name="connsiteX0" fmla="*/ 12700 w 9169400"/>
              <a:gd name="connsiteY0" fmla="*/ 571500 h 1651000"/>
              <a:gd name="connsiteX1" fmla="*/ 622300 w 9169400"/>
              <a:gd name="connsiteY1" fmla="*/ 431800 h 1651000"/>
              <a:gd name="connsiteX2" fmla="*/ 1143000 w 9169400"/>
              <a:gd name="connsiteY2" fmla="*/ 279400 h 1651000"/>
              <a:gd name="connsiteX3" fmla="*/ 1701800 w 9169400"/>
              <a:gd name="connsiteY3" fmla="*/ 228600 h 1651000"/>
              <a:gd name="connsiteX4" fmla="*/ 2794000 w 9169400"/>
              <a:gd name="connsiteY4" fmla="*/ 355600 h 1651000"/>
              <a:gd name="connsiteX5" fmla="*/ 3873500 w 9169400"/>
              <a:gd name="connsiteY5" fmla="*/ 469900 h 1651000"/>
              <a:gd name="connsiteX6" fmla="*/ 5067300 w 9169400"/>
              <a:gd name="connsiteY6" fmla="*/ 622300 h 1651000"/>
              <a:gd name="connsiteX7" fmla="*/ 6261100 w 9169400"/>
              <a:gd name="connsiteY7" fmla="*/ 558800 h 1651000"/>
              <a:gd name="connsiteX8" fmla="*/ 7086600 w 9169400"/>
              <a:gd name="connsiteY8" fmla="*/ 177800 h 1651000"/>
              <a:gd name="connsiteX9" fmla="*/ 9156700 w 9169400"/>
              <a:gd name="connsiteY9" fmla="*/ 0 h 1651000"/>
              <a:gd name="connsiteX10" fmla="*/ 9169400 w 9169400"/>
              <a:gd name="connsiteY10" fmla="*/ 1651000 h 1651000"/>
              <a:gd name="connsiteX11" fmla="*/ 0 w 9169400"/>
              <a:gd name="connsiteY11" fmla="*/ 1651000 h 1651000"/>
              <a:gd name="connsiteX12" fmla="*/ 12700 w 9169400"/>
              <a:gd name="connsiteY12" fmla="*/ 571500 h 1651000"/>
              <a:gd name="connsiteX0" fmla="*/ 12700 w 9169400"/>
              <a:gd name="connsiteY0" fmla="*/ 571500 h 1651000"/>
              <a:gd name="connsiteX1" fmla="*/ 622300 w 9169400"/>
              <a:gd name="connsiteY1" fmla="*/ 431800 h 1651000"/>
              <a:gd name="connsiteX2" fmla="*/ 1143000 w 9169400"/>
              <a:gd name="connsiteY2" fmla="*/ 279400 h 1651000"/>
              <a:gd name="connsiteX3" fmla="*/ 1701800 w 9169400"/>
              <a:gd name="connsiteY3" fmla="*/ 228600 h 1651000"/>
              <a:gd name="connsiteX4" fmla="*/ 2794000 w 9169400"/>
              <a:gd name="connsiteY4" fmla="*/ 355600 h 1651000"/>
              <a:gd name="connsiteX5" fmla="*/ 3873500 w 9169400"/>
              <a:gd name="connsiteY5" fmla="*/ 469900 h 1651000"/>
              <a:gd name="connsiteX6" fmla="*/ 5067300 w 9169400"/>
              <a:gd name="connsiteY6" fmla="*/ 622300 h 1651000"/>
              <a:gd name="connsiteX7" fmla="*/ 6261100 w 9169400"/>
              <a:gd name="connsiteY7" fmla="*/ 558800 h 1651000"/>
              <a:gd name="connsiteX8" fmla="*/ 7086600 w 9169400"/>
              <a:gd name="connsiteY8" fmla="*/ 177800 h 1651000"/>
              <a:gd name="connsiteX9" fmla="*/ 9156700 w 9169400"/>
              <a:gd name="connsiteY9" fmla="*/ 0 h 1651000"/>
              <a:gd name="connsiteX10" fmla="*/ 9169400 w 9169400"/>
              <a:gd name="connsiteY10" fmla="*/ 1651000 h 1651000"/>
              <a:gd name="connsiteX11" fmla="*/ 0 w 9169400"/>
              <a:gd name="connsiteY11" fmla="*/ 1651000 h 1651000"/>
              <a:gd name="connsiteX12" fmla="*/ 12700 w 9169400"/>
              <a:gd name="connsiteY12" fmla="*/ 571500 h 1651000"/>
              <a:gd name="connsiteX0" fmla="*/ 12700 w 9169400"/>
              <a:gd name="connsiteY0" fmla="*/ 571500 h 1651000"/>
              <a:gd name="connsiteX1" fmla="*/ 622300 w 9169400"/>
              <a:gd name="connsiteY1" fmla="*/ 431800 h 1651000"/>
              <a:gd name="connsiteX2" fmla="*/ 1701800 w 9169400"/>
              <a:gd name="connsiteY2" fmla="*/ 228600 h 1651000"/>
              <a:gd name="connsiteX3" fmla="*/ 2794000 w 9169400"/>
              <a:gd name="connsiteY3" fmla="*/ 355600 h 1651000"/>
              <a:gd name="connsiteX4" fmla="*/ 3873500 w 9169400"/>
              <a:gd name="connsiteY4" fmla="*/ 469900 h 1651000"/>
              <a:gd name="connsiteX5" fmla="*/ 5067300 w 9169400"/>
              <a:gd name="connsiteY5" fmla="*/ 622300 h 1651000"/>
              <a:gd name="connsiteX6" fmla="*/ 6261100 w 9169400"/>
              <a:gd name="connsiteY6" fmla="*/ 558800 h 1651000"/>
              <a:gd name="connsiteX7" fmla="*/ 7086600 w 9169400"/>
              <a:gd name="connsiteY7" fmla="*/ 177800 h 1651000"/>
              <a:gd name="connsiteX8" fmla="*/ 9156700 w 9169400"/>
              <a:gd name="connsiteY8" fmla="*/ 0 h 1651000"/>
              <a:gd name="connsiteX9" fmla="*/ 9169400 w 9169400"/>
              <a:gd name="connsiteY9" fmla="*/ 1651000 h 1651000"/>
              <a:gd name="connsiteX10" fmla="*/ 0 w 9169400"/>
              <a:gd name="connsiteY10" fmla="*/ 1651000 h 1651000"/>
              <a:gd name="connsiteX11" fmla="*/ 12700 w 9169400"/>
              <a:gd name="connsiteY11" fmla="*/ 571500 h 1651000"/>
              <a:gd name="connsiteX0" fmla="*/ 12700 w 9169400"/>
              <a:gd name="connsiteY0" fmla="*/ 571500 h 1651000"/>
              <a:gd name="connsiteX1" fmla="*/ 863600 w 9169400"/>
              <a:gd name="connsiteY1" fmla="*/ 342900 h 1651000"/>
              <a:gd name="connsiteX2" fmla="*/ 1701800 w 9169400"/>
              <a:gd name="connsiteY2" fmla="*/ 228600 h 1651000"/>
              <a:gd name="connsiteX3" fmla="*/ 2794000 w 9169400"/>
              <a:gd name="connsiteY3" fmla="*/ 355600 h 1651000"/>
              <a:gd name="connsiteX4" fmla="*/ 3873500 w 9169400"/>
              <a:gd name="connsiteY4" fmla="*/ 469900 h 1651000"/>
              <a:gd name="connsiteX5" fmla="*/ 5067300 w 9169400"/>
              <a:gd name="connsiteY5" fmla="*/ 622300 h 1651000"/>
              <a:gd name="connsiteX6" fmla="*/ 6261100 w 9169400"/>
              <a:gd name="connsiteY6" fmla="*/ 558800 h 1651000"/>
              <a:gd name="connsiteX7" fmla="*/ 7086600 w 9169400"/>
              <a:gd name="connsiteY7" fmla="*/ 177800 h 1651000"/>
              <a:gd name="connsiteX8" fmla="*/ 9156700 w 9169400"/>
              <a:gd name="connsiteY8" fmla="*/ 0 h 1651000"/>
              <a:gd name="connsiteX9" fmla="*/ 9169400 w 9169400"/>
              <a:gd name="connsiteY9" fmla="*/ 1651000 h 1651000"/>
              <a:gd name="connsiteX10" fmla="*/ 0 w 9169400"/>
              <a:gd name="connsiteY10" fmla="*/ 1651000 h 1651000"/>
              <a:gd name="connsiteX11" fmla="*/ 12700 w 9169400"/>
              <a:gd name="connsiteY11" fmla="*/ 571500 h 1651000"/>
              <a:gd name="connsiteX0" fmla="*/ 12700 w 9169400"/>
              <a:gd name="connsiteY0" fmla="*/ 571500 h 1651000"/>
              <a:gd name="connsiteX1" fmla="*/ 863600 w 9169400"/>
              <a:gd name="connsiteY1" fmla="*/ 342900 h 1651000"/>
              <a:gd name="connsiteX2" fmla="*/ 1701800 w 9169400"/>
              <a:gd name="connsiteY2" fmla="*/ 228600 h 1651000"/>
              <a:gd name="connsiteX3" fmla="*/ 2794000 w 9169400"/>
              <a:gd name="connsiteY3" fmla="*/ 355600 h 1651000"/>
              <a:gd name="connsiteX4" fmla="*/ 3873500 w 9169400"/>
              <a:gd name="connsiteY4" fmla="*/ 469900 h 1651000"/>
              <a:gd name="connsiteX5" fmla="*/ 5067300 w 9169400"/>
              <a:gd name="connsiteY5" fmla="*/ 622300 h 1651000"/>
              <a:gd name="connsiteX6" fmla="*/ 6261100 w 9169400"/>
              <a:gd name="connsiteY6" fmla="*/ 558800 h 1651000"/>
              <a:gd name="connsiteX7" fmla="*/ 7086600 w 9169400"/>
              <a:gd name="connsiteY7" fmla="*/ 177800 h 1651000"/>
              <a:gd name="connsiteX8" fmla="*/ 9156700 w 9169400"/>
              <a:gd name="connsiteY8" fmla="*/ 0 h 1651000"/>
              <a:gd name="connsiteX9" fmla="*/ 9169400 w 9169400"/>
              <a:gd name="connsiteY9" fmla="*/ 1651000 h 1651000"/>
              <a:gd name="connsiteX10" fmla="*/ 0 w 9169400"/>
              <a:gd name="connsiteY10" fmla="*/ 1651000 h 1651000"/>
              <a:gd name="connsiteX11" fmla="*/ 12700 w 9169400"/>
              <a:gd name="connsiteY11" fmla="*/ 571500 h 1651000"/>
              <a:gd name="connsiteX0" fmla="*/ 12700 w 9169400"/>
              <a:gd name="connsiteY0" fmla="*/ 571500 h 1651000"/>
              <a:gd name="connsiteX1" fmla="*/ 863600 w 9169400"/>
              <a:gd name="connsiteY1" fmla="*/ 342900 h 1651000"/>
              <a:gd name="connsiteX2" fmla="*/ 1701800 w 9169400"/>
              <a:gd name="connsiteY2" fmla="*/ 228600 h 1651000"/>
              <a:gd name="connsiteX3" fmla="*/ 2794000 w 9169400"/>
              <a:gd name="connsiteY3" fmla="*/ 355600 h 1651000"/>
              <a:gd name="connsiteX4" fmla="*/ 3873500 w 9169400"/>
              <a:gd name="connsiteY4" fmla="*/ 469900 h 1651000"/>
              <a:gd name="connsiteX5" fmla="*/ 5067300 w 9169400"/>
              <a:gd name="connsiteY5" fmla="*/ 622300 h 1651000"/>
              <a:gd name="connsiteX6" fmla="*/ 6197600 w 9169400"/>
              <a:gd name="connsiteY6" fmla="*/ 482600 h 1651000"/>
              <a:gd name="connsiteX7" fmla="*/ 7086600 w 9169400"/>
              <a:gd name="connsiteY7" fmla="*/ 177800 h 1651000"/>
              <a:gd name="connsiteX8" fmla="*/ 9156700 w 9169400"/>
              <a:gd name="connsiteY8" fmla="*/ 0 h 1651000"/>
              <a:gd name="connsiteX9" fmla="*/ 9169400 w 9169400"/>
              <a:gd name="connsiteY9" fmla="*/ 1651000 h 1651000"/>
              <a:gd name="connsiteX10" fmla="*/ 0 w 9169400"/>
              <a:gd name="connsiteY10" fmla="*/ 1651000 h 1651000"/>
              <a:gd name="connsiteX11" fmla="*/ 12700 w 9169400"/>
              <a:gd name="connsiteY11" fmla="*/ 571500 h 1651000"/>
              <a:gd name="connsiteX0" fmla="*/ 12700 w 9169400"/>
              <a:gd name="connsiteY0" fmla="*/ 571500 h 1651000"/>
              <a:gd name="connsiteX1" fmla="*/ 863600 w 9169400"/>
              <a:gd name="connsiteY1" fmla="*/ 342900 h 1651000"/>
              <a:gd name="connsiteX2" fmla="*/ 1701800 w 9169400"/>
              <a:gd name="connsiteY2" fmla="*/ 228600 h 1651000"/>
              <a:gd name="connsiteX3" fmla="*/ 2794000 w 9169400"/>
              <a:gd name="connsiteY3" fmla="*/ 355600 h 1651000"/>
              <a:gd name="connsiteX4" fmla="*/ 3873500 w 9169400"/>
              <a:gd name="connsiteY4" fmla="*/ 469900 h 1651000"/>
              <a:gd name="connsiteX5" fmla="*/ 5067300 w 9169400"/>
              <a:gd name="connsiteY5" fmla="*/ 622300 h 1651000"/>
              <a:gd name="connsiteX6" fmla="*/ 6197600 w 9169400"/>
              <a:gd name="connsiteY6" fmla="*/ 482600 h 1651000"/>
              <a:gd name="connsiteX7" fmla="*/ 7785100 w 9169400"/>
              <a:gd name="connsiteY7" fmla="*/ 63500 h 1651000"/>
              <a:gd name="connsiteX8" fmla="*/ 9156700 w 9169400"/>
              <a:gd name="connsiteY8" fmla="*/ 0 h 1651000"/>
              <a:gd name="connsiteX9" fmla="*/ 9169400 w 9169400"/>
              <a:gd name="connsiteY9" fmla="*/ 1651000 h 1651000"/>
              <a:gd name="connsiteX10" fmla="*/ 0 w 9169400"/>
              <a:gd name="connsiteY10" fmla="*/ 1651000 h 1651000"/>
              <a:gd name="connsiteX11" fmla="*/ 12700 w 9169400"/>
              <a:gd name="connsiteY11" fmla="*/ 571500 h 1651000"/>
              <a:gd name="connsiteX0" fmla="*/ 12700 w 9169400"/>
              <a:gd name="connsiteY0" fmla="*/ 571500 h 1651000"/>
              <a:gd name="connsiteX1" fmla="*/ 863600 w 9169400"/>
              <a:gd name="connsiteY1" fmla="*/ 342900 h 1651000"/>
              <a:gd name="connsiteX2" fmla="*/ 1701800 w 9169400"/>
              <a:gd name="connsiteY2" fmla="*/ 228600 h 1651000"/>
              <a:gd name="connsiteX3" fmla="*/ 2794000 w 9169400"/>
              <a:gd name="connsiteY3" fmla="*/ 355600 h 1651000"/>
              <a:gd name="connsiteX4" fmla="*/ 3873500 w 9169400"/>
              <a:gd name="connsiteY4" fmla="*/ 469900 h 1651000"/>
              <a:gd name="connsiteX5" fmla="*/ 5067300 w 9169400"/>
              <a:gd name="connsiteY5" fmla="*/ 622300 h 1651000"/>
              <a:gd name="connsiteX6" fmla="*/ 6197600 w 9169400"/>
              <a:gd name="connsiteY6" fmla="*/ 482600 h 1651000"/>
              <a:gd name="connsiteX7" fmla="*/ 7785100 w 9169400"/>
              <a:gd name="connsiteY7" fmla="*/ 63500 h 1651000"/>
              <a:gd name="connsiteX8" fmla="*/ 9156700 w 9169400"/>
              <a:gd name="connsiteY8" fmla="*/ 0 h 1651000"/>
              <a:gd name="connsiteX9" fmla="*/ 9169400 w 9169400"/>
              <a:gd name="connsiteY9" fmla="*/ 1651000 h 1651000"/>
              <a:gd name="connsiteX10" fmla="*/ 0 w 9169400"/>
              <a:gd name="connsiteY10" fmla="*/ 1651000 h 1651000"/>
              <a:gd name="connsiteX11" fmla="*/ 12700 w 9169400"/>
              <a:gd name="connsiteY11" fmla="*/ 571500 h 1651000"/>
              <a:gd name="connsiteX0" fmla="*/ 12700 w 9169400"/>
              <a:gd name="connsiteY0" fmla="*/ 571500 h 1651000"/>
              <a:gd name="connsiteX1" fmla="*/ 863600 w 9169400"/>
              <a:gd name="connsiteY1" fmla="*/ 342900 h 1651000"/>
              <a:gd name="connsiteX2" fmla="*/ 1701800 w 9169400"/>
              <a:gd name="connsiteY2" fmla="*/ 228600 h 1651000"/>
              <a:gd name="connsiteX3" fmla="*/ 2794000 w 9169400"/>
              <a:gd name="connsiteY3" fmla="*/ 355600 h 1651000"/>
              <a:gd name="connsiteX4" fmla="*/ 3873500 w 9169400"/>
              <a:gd name="connsiteY4" fmla="*/ 469900 h 1651000"/>
              <a:gd name="connsiteX5" fmla="*/ 5067300 w 9169400"/>
              <a:gd name="connsiteY5" fmla="*/ 622300 h 1651000"/>
              <a:gd name="connsiteX6" fmla="*/ 6197600 w 9169400"/>
              <a:gd name="connsiteY6" fmla="*/ 482600 h 1651000"/>
              <a:gd name="connsiteX7" fmla="*/ 7785100 w 9169400"/>
              <a:gd name="connsiteY7" fmla="*/ 63500 h 1651000"/>
              <a:gd name="connsiteX8" fmla="*/ 9156700 w 9169400"/>
              <a:gd name="connsiteY8" fmla="*/ 0 h 1651000"/>
              <a:gd name="connsiteX9" fmla="*/ 9169400 w 9169400"/>
              <a:gd name="connsiteY9" fmla="*/ 1651000 h 1651000"/>
              <a:gd name="connsiteX10" fmla="*/ 0 w 9169400"/>
              <a:gd name="connsiteY10" fmla="*/ 1651000 h 1651000"/>
              <a:gd name="connsiteX11" fmla="*/ 12700 w 9169400"/>
              <a:gd name="connsiteY11" fmla="*/ 571500 h 1651000"/>
              <a:gd name="connsiteX0" fmla="*/ 12700 w 9169400"/>
              <a:gd name="connsiteY0" fmla="*/ 571500 h 1651000"/>
              <a:gd name="connsiteX1" fmla="*/ 863600 w 9169400"/>
              <a:gd name="connsiteY1" fmla="*/ 342900 h 1651000"/>
              <a:gd name="connsiteX2" fmla="*/ 1879600 w 9169400"/>
              <a:gd name="connsiteY2" fmla="*/ 215900 h 1651000"/>
              <a:gd name="connsiteX3" fmla="*/ 2794000 w 9169400"/>
              <a:gd name="connsiteY3" fmla="*/ 355600 h 1651000"/>
              <a:gd name="connsiteX4" fmla="*/ 3873500 w 9169400"/>
              <a:gd name="connsiteY4" fmla="*/ 469900 h 1651000"/>
              <a:gd name="connsiteX5" fmla="*/ 5067300 w 9169400"/>
              <a:gd name="connsiteY5" fmla="*/ 622300 h 1651000"/>
              <a:gd name="connsiteX6" fmla="*/ 6197600 w 9169400"/>
              <a:gd name="connsiteY6" fmla="*/ 482600 h 1651000"/>
              <a:gd name="connsiteX7" fmla="*/ 7785100 w 9169400"/>
              <a:gd name="connsiteY7" fmla="*/ 63500 h 1651000"/>
              <a:gd name="connsiteX8" fmla="*/ 9156700 w 9169400"/>
              <a:gd name="connsiteY8" fmla="*/ 0 h 1651000"/>
              <a:gd name="connsiteX9" fmla="*/ 9169400 w 9169400"/>
              <a:gd name="connsiteY9" fmla="*/ 1651000 h 1651000"/>
              <a:gd name="connsiteX10" fmla="*/ 0 w 9169400"/>
              <a:gd name="connsiteY10" fmla="*/ 1651000 h 1651000"/>
              <a:gd name="connsiteX11" fmla="*/ 12700 w 9169400"/>
              <a:gd name="connsiteY11" fmla="*/ 571500 h 1651000"/>
              <a:gd name="connsiteX0" fmla="*/ 12700 w 9169400"/>
              <a:gd name="connsiteY0" fmla="*/ 571500 h 1651000"/>
              <a:gd name="connsiteX1" fmla="*/ 863600 w 9169400"/>
              <a:gd name="connsiteY1" fmla="*/ 342900 h 1651000"/>
              <a:gd name="connsiteX2" fmla="*/ 2794000 w 9169400"/>
              <a:gd name="connsiteY2" fmla="*/ 355600 h 1651000"/>
              <a:gd name="connsiteX3" fmla="*/ 3873500 w 9169400"/>
              <a:gd name="connsiteY3" fmla="*/ 469900 h 1651000"/>
              <a:gd name="connsiteX4" fmla="*/ 5067300 w 9169400"/>
              <a:gd name="connsiteY4" fmla="*/ 622300 h 1651000"/>
              <a:gd name="connsiteX5" fmla="*/ 6197600 w 9169400"/>
              <a:gd name="connsiteY5" fmla="*/ 482600 h 1651000"/>
              <a:gd name="connsiteX6" fmla="*/ 7785100 w 9169400"/>
              <a:gd name="connsiteY6" fmla="*/ 63500 h 1651000"/>
              <a:gd name="connsiteX7" fmla="*/ 9156700 w 9169400"/>
              <a:gd name="connsiteY7" fmla="*/ 0 h 1651000"/>
              <a:gd name="connsiteX8" fmla="*/ 9169400 w 9169400"/>
              <a:gd name="connsiteY8" fmla="*/ 1651000 h 1651000"/>
              <a:gd name="connsiteX9" fmla="*/ 0 w 9169400"/>
              <a:gd name="connsiteY9" fmla="*/ 1651000 h 1651000"/>
              <a:gd name="connsiteX10" fmla="*/ 12700 w 9169400"/>
              <a:gd name="connsiteY10" fmla="*/ 571500 h 1651000"/>
              <a:gd name="connsiteX0" fmla="*/ 12700 w 9169400"/>
              <a:gd name="connsiteY0" fmla="*/ 571500 h 1651000"/>
              <a:gd name="connsiteX1" fmla="*/ 863600 w 9169400"/>
              <a:gd name="connsiteY1" fmla="*/ 342900 h 1651000"/>
              <a:gd name="connsiteX2" fmla="*/ 2565400 w 9169400"/>
              <a:gd name="connsiteY2" fmla="*/ 317500 h 1651000"/>
              <a:gd name="connsiteX3" fmla="*/ 3873500 w 9169400"/>
              <a:gd name="connsiteY3" fmla="*/ 469900 h 1651000"/>
              <a:gd name="connsiteX4" fmla="*/ 5067300 w 9169400"/>
              <a:gd name="connsiteY4" fmla="*/ 622300 h 1651000"/>
              <a:gd name="connsiteX5" fmla="*/ 6197600 w 9169400"/>
              <a:gd name="connsiteY5" fmla="*/ 482600 h 1651000"/>
              <a:gd name="connsiteX6" fmla="*/ 7785100 w 9169400"/>
              <a:gd name="connsiteY6" fmla="*/ 63500 h 1651000"/>
              <a:gd name="connsiteX7" fmla="*/ 9156700 w 9169400"/>
              <a:gd name="connsiteY7" fmla="*/ 0 h 1651000"/>
              <a:gd name="connsiteX8" fmla="*/ 9169400 w 9169400"/>
              <a:gd name="connsiteY8" fmla="*/ 1651000 h 1651000"/>
              <a:gd name="connsiteX9" fmla="*/ 0 w 9169400"/>
              <a:gd name="connsiteY9" fmla="*/ 1651000 h 1651000"/>
              <a:gd name="connsiteX10" fmla="*/ 12700 w 9169400"/>
              <a:gd name="connsiteY10" fmla="*/ 571500 h 1651000"/>
              <a:gd name="connsiteX0" fmla="*/ 12700 w 9169400"/>
              <a:gd name="connsiteY0" fmla="*/ 571500 h 1651000"/>
              <a:gd name="connsiteX1" fmla="*/ 863600 w 9169400"/>
              <a:gd name="connsiteY1" fmla="*/ 342900 h 1651000"/>
              <a:gd name="connsiteX2" fmla="*/ 2565400 w 9169400"/>
              <a:gd name="connsiteY2" fmla="*/ 317500 h 1651000"/>
              <a:gd name="connsiteX3" fmla="*/ 3873500 w 9169400"/>
              <a:gd name="connsiteY3" fmla="*/ 469900 h 1651000"/>
              <a:gd name="connsiteX4" fmla="*/ 5067300 w 9169400"/>
              <a:gd name="connsiteY4" fmla="*/ 622300 h 1651000"/>
              <a:gd name="connsiteX5" fmla="*/ 6197600 w 9169400"/>
              <a:gd name="connsiteY5" fmla="*/ 482600 h 1651000"/>
              <a:gd name="connsiteX6" fmla="*/ 7785100 w 9169400"/>
              <a:gd name="connsiteY6" fmla="*/ 63500 h 1651000"/>
              <a:gd name="connsiteX7" fmla="*/ 9156700 w 9169400"/>
              <a:gd name="connsiteY7" fmla="*/ 0 h 1651000"/>
              <a:gd name="connsiteX8" fmla="*/ 9169400 w 9169400"/>
              <a:gd name="connsiteY8" fmla="*/ 1651000 h 1651000"/>
              <a:gd name="connsiteX9" fmla="*/ 0 w 9169400"/>
              <a:gd name="connsiteY9" fmla="*/ 1651000 h 1651000"/>
              <a:gd name="connsiteX10" fmla="*/ 12700 w 9169400"/>
              <a:gd name="connsiteY10" fmla="*/ 571500 h 1651000"/>
              <a:gd name="connsiteX0" fmla="*/ 12700 w 9169400"/>
              <a:gd name="connsiteY0" fmla="*/ 571500 h 1651000"/>
              <a:gd name="connsiteX1" fmla="*/ 1143000 w 9169400"/>
              <a:gd name="connsiteY1" fmla="*/ 431800 h 1651000"/>
              <a:gd name="connsiteX2" fmla="*/ 2565400 w 9169400"/>
              <a:gd name="connsiteY2" fmla="*/ 317500 h 1651000"/>
              <a:gd name="connsiteX3" fmla="*/ 3873500 w 9169400"/>
              <a:gd name="connsiteY3" fmla="*/ 469900 h 1651000"/>
              <a:gd name="connsiteX4" fmla="*/ 5067300 w 9169400"/>
              <a:gd name="connsiteY4" fmla="*/ 622300 h 1651000"/>
              <a:gd name="connsiteX5" fmla="*/ 6197600 w 9169400"/>
              <a:gd name="connsiteY5" fmla="*/ 482600 h 1651000"/>
              <a:gd name="connsiteX6" fmla="*/ 7785100 w 9169400"/>
              <a:gd name="connsiteY6" fmla="*/ 63500 h 1651000"/>
              <a:gd name="connsiteX7" fmla="*/ 9156700 w 9169400"/>
              <a:gd name="connsiteY7" fmla="*/ 0 h 1651000"/>
              <a:gd name="connsiteX8" fmla="*/ 9169400 w 9169400"/>
              <a:gd name="connsiteY8" fmla="*/ 1651000 h 1651000"/>
              <a:gd name="connsiteX9" fmla="*/ 0 w 9169400"/>
              <a:gd name="connsiteY9" fmla="*/ 1651000 h 1651000"/>
              <a:gd name="connsiteX10" fmla="*/ 12700 w 9169400"/>
              <a:gd name="connsiteY10" fmla="*/ 571500 h 1651000"/>
              <a:gd name="connsiteX0" fmla="*/ 12700 w 9169400"/>
              <a:gd name="connsiteY0" fmla="*/ 571500 h 1651000"/>
              <a:gd name="connsiteX1" fmla="*/ 1143000 w 9169400"/>
              <a:gd name="connsiteY1" fmla="*/ 431800 h 1651000"/>
              <a:gd name="connsiteX2" fmla="*/ 2565400 w 9169400"/>
              <a:gd name="connsiteY2" fmla="*/ 317500 h 1651000"/>
              <a:gd name="connsiteX3" fmla="*/ 3873500 w 9169400"/>
              <a:gd name="connsiteY3" fmla="*/ 469900 h 1651000"/>
              <a:gd name="connsiteX4" fmla="*/ 5067300 w 9169400"/>
              <a:gd name="connsiteY4" fmla="*/ 622300 h 1651000"/>
              <a:gd name="connsiteX5" fmla="*/ 6197600 w 9169400"/>
              <a:gd name="connsiteY5" fmla="*/ 482600 h 1651000"/>
              <a:gd name="connsiteX6" fmla="*/ 7785100 w 9169400"/>
              <a:gd name="connsiteY6" fmla="*/ 63500 h 1651000"/>
              <a:gd name="connsiteX7" fmla="*/ 9156700 w 9169400"/>
              <a:gd name="connsiteY7" fmla="*/ 0 h 1651000"/>
              <a:gd name="connsiteX8" fmla="*/ 9169400 w 9169400"/>
              <a:gd name="connsiteY8" fmla="*/ 1651000 h 1651000"/>
              <a:gd name="connsiteX9" fmla="*/ 0 w 9169400"/>
              <a:gd name="connsiteY9" fmla="*/ 1651000 h 1651000"/>
              <a:gd name="connsiteX10" fmla="*/ 12700 w 9169400"/>
              <a:gd name="connsiteY10" fmla="*/ 571500 h 1651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169400" h="1651000">
                <a:moveTo>
                  <a:pt x="12700" y="571500"/>
                </a:moveTo>
                <a:cubicBezTo>
                  <a:pt x="662517" y="469900"/>
                  <a:pt x="717550" y="474133"/>
                  <a:pt x="1143000" y="431800"/>
                </a:cubicBezTo>
                <a:cubicBezTo>
                  <a:pt x="1568450" y="389467"/>
                  <a:pt x="2110317" y="311150"/>
                  <a:pt x="2565400" y="317500"/>
                </a:cubicBezTo>
                <a:cubicBezTo>
                  <a:pt x="3020483" y="323850"/>
                  <a:pt x="3456517" y="419100"/>
                  <a:pt x="3873500" y="469900"/>
                </a:cubicBezTo>
                <a:cubicBezTo>
                  <a:pt x="4290483" y="520700"/>
                  <a:pt x="4679950" y="620183"/>
                  <a:pt x="5067300" y="622300"/>
                </a:cubicBezTo>
                <a:cubicBezTo>
                  <a:pt x="5454650" y="624417"/>
                  <a:pt x="5744633" y="575733"/>
                  <a:pt x="6197600" y="482600"/>
                </a:cubicBezTo>
                <a:cubicBezTo>
                  <a:pt x="6650567" y="389467"/>
                  <a:pt x="7253817" y="131233"/>
                  <a:pt x="7785100" y="63500"/>
                </a:cubicBezTo>
                <a:cubicBezTo>
                  <a:pt x="8316383" y="-4233"/>
                  <a:pt x="8453967" y="21167"/>
                  <a:pt x="9156700" y="0"/>
                </a:cubicBezTo>
                <a:cubicBezTo>
                  <a:pt x="9160933" y="550333"/>
                  <a:pt x="9165167" y="1100667"/>
                  <a:pt x="9169400" y="1651000"/>
                </a:cubicBezTo>
                <a:lnTo>
                  <a:pt x="0" y="1651000"/>
                </a:lnTo>
                <a:lnTo>
                  <a:pt x="12700" y="571500"/>
                </a:lnTo>
                <a:close/>
              </a:path>
            </a:pathLst>
          </a:cu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8" name="Group 4"/>
          <p:cNvGrpSpPr>
            <a:grpSpLocks noChangeAspect="1"/>
          </p:cNvGrpSpPr>
          <p:nvPr/>
        </p:nvGrpSpPr>
        <p:grpSpPr bwMode="auto">
          <a:xfrm rot="20918934">
            <a:off x="6607227" y="645147"/>
            <a:ext cx="1475177" cy="1469910"/>
            <a:chOff x="1238" y="585"/>
            <a:chExt cx="280" cy="279"/>
          </a:xfrm>
          <a:solidFill>
            <a:srgbClr val="00B050"/>
          </a:solidFill>
          <a:effectLst>
            <a:outerShdw blurRad="50800" dist="38100" dir="2700000" algn="tl" rotWithShape="0">
              <a:prstClr val="black">
                <a:alpha val="40000"/>
              </a:prstClr>
            </a:outerShdw>
          </a:effectLst>
        </p:grpSpPr>
        <p:sp>
          <p:nvSpPr>
            <p:cNvPr id="9" name="Freeform 5"/>
            <p:cNvSpPr>
              <a:spLocks noEditPoints="1"/>
            </p:cNvSpPr>
            <p:nvPr/>
          </p:nvSpPr>
          <p:spPr bwMode="auto">
            <a:xfrm>
              <a:off x="1238" y="585"/>
              <a:ext cx="280" cy="279"/>
            </a:xfrm>
            <a:custGeom>
              <a:avLst/>
              <a:gdLst>
                <a:gd name="T0" fmla="*/ 342 w 1202"/>
                <a:gd name="T1" fmla="*/ 311 h 1235"/>
                <a:gd name="T2" fmla="*/ 524 w 1202"/>
                <a:gd name="T3" fmla="*/ 951 h 1235"/>
                <a:gd name="T4" fmla="*/ 527 w 1202"/>
                <a:gd name="T5" fmla="*/ 903 h 1235"/>
                <a:gd name="T6" fmla="*/ 572 w 1202"/>
                <a:gd name="T7" fmla="*/ 750 h 1235"/>
                <a:gd name="T8" fmla="*/ 766 w 1202"/>
                <a:gd name="T9" fmla="*/ 600 h 1235"/>
                <a:gd name="T10" fmla="*/ 780 w 1202"/>
                <a:gd name="T11" fmla="*/ 574 h 1235"/>
                <a:gd name="T12" fmla="*/ 705 w 1202"/>
                <a:gd name="T13" fmla="*/ 391 h 1235"/>
                <a:gd name="T14" fmla="*/ 296 w 1202"/>
                <a:gd name="T15" fmla="*/ 0 h 1235"/>
                <a:gd name="T16" fmla="*/ 286 w 1202"/>
                <a:gd name="T17" fmla="*/ 11 h 1235"/>
                <a:gd name="T18" fmla="*/ 135 w 1202"/>
                <a:gd name="T19" fmla="*/ 239 h 1235"/>
                <a:gd name="T20" fmla="*/ 9 w 1202"/>
                <a:gd name="T21" fmla="*/ 603 h 1235"/>
                <a:gd name="T22" fmla="*/ 119 w 1202"/>
                <a:gd name="T23" fmla="*/ 923 h 1235"/>
                <a:gd name="T24" fmla="*/ 379 w 1202"/>
                <a:gd name="T25" fmla="*/ 1084 h 1235"/>
                <a:gd name="T26" fmla="*/ 411 w 1202"/>
                <a:gd name="T27" fmla="*/ 1093 h 1235"/>
                <a:gd name="T28" fmla="*/ 342 w 1202"/>
                <a:gd name="T29" fmla="*/ 311 h 1235"/>
                <a:gd name="T30" fmla="*/ 717 w 1202"/>
                <a:gd name="T31" fmla="*/ 1209 h 1235"/>
                <a:gd name="T32" fmla="*/ 778 w 1202"/>
                <a:gd name="T33" fmla="*/ 1222 h 1235"/>
                <a:gd name="T34" fmla="*/ 1012 w 1202"/>
                <a:gd name="T35" fmla="*/ 1186 h 1235"/>
                <a:gd name="T36" fmla="*/ 1155 w 1202"/>
                <a:gd name="T37" fmla="*/ 1000 h 1235"/>
                <a:gd name="T38" fmla="*/ 1201 w 1202"/>
                <a:gd name="T39" fmla="*/ 727 h 1235"/>
                <a:gd name="T40" fmla="*/ 1201 w 1202"/>
                <a:gd name="T41" fmla="*/ 622 h 1235"/>
                <a:gd name="T42" fmla="*/ 1097 w 1202"/>
                <a:gd name="T43" fmla="*/ 622 h 1235"/>
                <a:gd name="T44" fmla="*/ 845 w 1202"/>
                <a:gd name="T45" fmla="*/ 660 h 1235"/>
                <a:gd name="T46" fmla="*/ 597 w 1202"/>
                <a:gd name="T47" fmla="*/ 935 h 1235"/>
                <a:gd name="T48" fmla="*/ 626 w 1202"/>
                <a:gd name="T49" fmla="*/ 1142 h 1235"/>
                <a:gd name="T50" fmla="*/ 728 w 1202"/>
                <a:gd name="T51" fmla="*/ 1044 h 1235"/>
                <a:gd name="T52" fmla="*/ 837 w 1202"/>
                <a:gd name="T53" fmla="*/ 957 h 1235"/>
                <a:gd name="T54" fmla="*/ 951 w 1202"/>
                <a:gd name="T55" fmla="*/ 881 h 1235"/>
                <a:gd name="T56" fmla="*/ 955 w 1202"/>
                <a:gd name="T57" fmla="*/ 887 h 1235"/>
                <a:gd name="T58" fmla="*/ 717 w 1202"/>
                <a:gd name="T59" fmla="*/ 1209 h 1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202" h="1235">
                  <a:moveTo>
                    <a:pt x="342" y="311"/>
                  </a:moveTo>
                  <a:cubicBezTo>
                    <a:pt x="385" y="530"/>
                    <a:pt x="438" y="745"/>
                    <a:pt x="524" y="951"/>
                  </a:cubicBezTo>
                  <a:cubicBezTo>
                    <a:pt x="527" y="935"/>
                    <a:pt x="526" y="919"/>
                    <a:pt x="527" y="903"/>
                  </a:cubicBezTo>
                  <a:cubicBezTo>
                    <a:pt x="529" y="848"/>
                    <a:pt x="544" y="797"/>
                    <a:pt x="572" y="750"/>
                  </a:cubicBezTo>
                  <a:cubicBezTo>
                    <a:pt x="618" y="676"/>
                    <a:pt x="687" y="631"/>
                    <a:pt x="766" y="600"/>
                  </a:cubicBezTo>
                  <a:cubicBezTo>
                    <a:pt x="780" y="595"/>
                    <a:pt x="784" y="590"/>
                    <a:pt x="780" y="574"/>
                  </a:cubicBezTo>
                  <a:cubicBezTo>
                    <a:pt x="767" y="508"/>
                    <a:pt x="741" y="447"/>
                    <a:pt x="705" y="391"/>
                  </a:cubicBezTo>
                  <a:cubicBezTo>
                    <a:pt x="602" y="227"/>
                    <a:pt x="453" y="110"/>
                    <a:pt x="296" y="0"/>
                  </a:cubicBezTo>
                  <a:cubicBezTo>
                    <a:pt x="292" y="4"/>
                    <a:pt x="289" y="7"/>
                    <a:pt x="286" y="11"/>
                  </a:cubicBezTo>
                  <a:cubicBezTo>
                    <a:pt x="236" y="87"/>
                    <a:pt x="181" y="160"/>
                    <a:pt x="135" y="239"/>
                  </a:cubicBezTo>
                  <a:cubicBezTo>
                    <a:pt x="68" y="351"/>
                    <a:pt x="19" y="470"/>
                    <a:pt x="9" y="603"/>
                  </a:cubicBezTo>
                  <a:cubicBezTo>
                    <a:pt x="0" y="725"/>
                    <a:pt x="35" y="833"/>
                    <a:pt x="119" y="923"/>
                  </a:cubicBezTo>
                  <a:cubicBezTo>
                    <a:pt x="191" y="1001"/>
                    <a:pt x="281" y="1049"/>
                    <a:pt x="379" y="1084"/>
                  </a:cubicBezTo>
                  <a:cubicBezTo>
                    <a:pt x="389" y="1087"/>
                    <a:pt x="399" y="1090"/>
                    <a:pt x="411" y="1093"/>
                  </a:cubicBezTo>
                  <a:cubicBezTo>
                    <a:pt x="356" y="833"/>
                    <a:pt x="333" y="574"/>
                    <a:pt x="342" y="311"/>
                  </a:cubicBezTo>
                  <a:close/>
                  <a:moveTo>
                    <a:pt x="717" y="1209"/>
                  </a:moveTo>
                  <a:cubicBezTo>
                    <a:pt x="740" y="1214"/>
                    <a:pt x="759" y="1219"/>
                    <a:pt x="778" y="1222"/>
                  </a:cubicBezTo>
                  <a:cubicBezTo>
                    <a:pt x="860" y="1235"/>
                    <a:pt x="939" y="1229"/>
                    <a:pt x="1012" y="1186"/>
                  </a:cubicBezTo>
                  <a:cubicBezTo>
                    <a:pt x="1084" y="1143"/>
                    <a:pt x="1127" y="1076"/>
                    <a:pt x="1155" y="1000"/>
                  </a:cubicBezTo>
                  <a:cubicBezTo>
                    <a:pt x="1187" y="912"/>
                    <a:pt x="1198" y="820"/>
                    <a:pt x="1201" y="727"/>
                  </a:cubicBezTo>
                  <a:cubicBezTo>
                    <a:pt x="1202" y="693"/>
                    <a:pt x="1201" y="659"/>
                    <a:pt x="1201" y="622"/>
                  </a:cubicBezTo>
                  <a:cubicBezTo>
                    <a:pt x="1164" y="622"/>
                    <a:pt x="1131" y="621"/>
                    <a:pt x="1097" y="622"/>
                  </a:cubicBezTo>
                  <a:cubicBezTo>
                    <a:pt x="1012" y="624"/>
                    <a:pt x="927" y="633"/>
                    <a:pt x="845" y="660"/>
                  </a:cubicBezTo>
                  <a:cubicBezTo>
                    <a:pt x="710" y="704"/>
                    <a:pt x="613" y="784"/>
                    <a:pt x="597" y="935"/>
                  </a:cubicBezTo>
                  <a:cubicBezTo>
                    <a:pt x="589" y="1006"/>
                    <a:pt x="602" y="1074"/>
                    <a:pt x="626" y="1142"/>
                  </a:cubicBezTo>
                  <a:cubicBezTo>
                    <a:pt x="661" y="1108"/>
                    <a:pt x="693" y="1075"/>
                    <a:pt x="728" y="1044"/>
                  </a:cubicBezTo>
                  <a:cubicBezTo>
                    <a:pt x="763" y="1014"/>
                    <a:pt x="799" y="984"/>
                    <a:pt x="837" y="957"/>
                  </a:cubicBezTo>
                  <a:cubicBezTo>
                    <a:pt x="874" y="930"/>
                    <a:pt x="913" y="906"/>
                    <a:pt x="951" y="881"/>
                  </a:cubicBezTo>
                  <a:cubicBezTo>
                    <a:pt x="952" y="883"/>
                    <a:pt x="953" y="885"/>
                    <a:pt x="955" y="887"/>
                  </a:cubicBezTo>
                  <a:cubicBezTo>
                    <a:pt x="858" y="980"/>
                    <a:pt x="780" y="1087"/>
                    <a:pt x="717" y="120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 name="Freeform 6"/>
            <p:cNvSpPr>
              <a:spLocks/>
            </p:cNvSpPr>
            <p:nvPr/>
          </p:nvSpPr>
          <p:spPr bwMode="auto">
            <a:xfrm>
              <a:off x="1238" y="585"/>
              <a:ext cx="183" cy="247"/>
            </a:xfrm>
            <a:custGeom>
              <a:avLst/>
              <a:gdLst>
                <a:gd name="T0" fmla="*/ 342 w 784"/>
                <a:gd name="T1" fmla="*/ 311 h 1093"/>
                <a:gd name="T2" fmla="*/ 411 w 784"/>
                <a:gd name="T3" fmla="*/ 1093 h 1093"/>
                <a:gd name="T4" fmla="*/ 379 w 784"/>
                <a:gd name="T5" fmla="*/ 1084 h 1093"/>
                <a:gd name="T6" fmla="*/ 119 w 784"/>
                <a:gd name="T7" fmla="*/ 923 h 1093"/>
                <a:gd name="T8" fmla="*/ 9 w 784"/>
                <a:gd name="T9" fmla="*/ 603 h 1093"/>
                <a:gd name="T10" fmla="*/ 135 w 784"/>
                <a:gd name="T11" fmla="*/ 239 h 1093"/>
                <a:gd name="T12" fmla="*/ 286 w 784"/>
                <a:gd name="T13" fmla="*/ 11 h 1093"/>
                <a:gd name="T14" fmla="*/ 296 w 784"/>
                <a:gd name="T15" fmla="*/ 0 h 1093"/>
                <a:gd name="T16" fmla="*/ 705 w 784"/>
                <a:gd name="T17" fmla="*/ 391 h 1093"/>
                <a:gd name="T18" fmla="*/ 780 w 784"/>
                <a:gd name="T19" fmla="*/ 574 h 1093"/>
                <a:gd name="T20" fmla="*/ 766 w 784"/>
                <a:gd name="T21" fmla="*/ 600 h 1093"/>
                <a:gd name="T22" fmla="*/ 572 w 784"/>
                <a:gd name="T23" fmla="*/ 750 h 1093"/>
                <a:gd name="T24" fmla="*/ 527 w 784"/>
                <a:gd name="T25" fmla="*/ 903 h 1093"/>
                <a:gd name="T26" fmla="*/ 524 w 784"/>
                <a:gd name="T27" fmla="*/ 951 h 1093"/>
                <a:gd name="T28" fmla="*/ 342 w 784"/>
                <a:gd name="T29" fmla="*/ 311 h 10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84" h="1093">
                  <a:moveTo>
                    <a:pt x="342" y="311"/>
                  </a:moveTo>
                  <a:cubicBezTo>
                    <a:pt x="333" y="574"/>
                    <a:pt x="356" y="833"/>
                    <a:pt x="411" y="1093"/>
                  </a:cubicBezTo>
                  <a:cubicBezTo>
                    <a:pt x="399" y="1090"/>
                    <a:pt x="389" y="1087"/>
                    <a:pt x="379" y="1084"/>
                  </a:cubicBezTo>
                  <a:cubicBezTo>
                    <a:pt x="281" y="1049"/>
                    <a:pt x="191" y="1001"/>
                    <a:pt x="119" y="923"/>
                  </a:cubicBezTo>
                  <a:cubicBezTo>
                    <a:pt x="35" y="833"/>
                    <a:pt x="0" y="725"/>
                    <a:pt x="9" y="603"/>
                  </a:cubicBezTo>
                  <a:cubicBezTo>
                    <a:pt x="19" y="470"/>
                    <a:pt x="68" y="351"/>
                    <a:pt x="135" y="239"/>
                  </a:cubicBezTo>
                  <a:cubicBezTo>
                    <a:pt x="181" y="160"/>
                    <a:pt x="236" y="87"/>
                    <a:pt x="286" y="11"/>
                  </a:cubicBezTo>
                  <a:cubicBezTo>
                    <a:pt x="289" y="7"/>
                    <a:pt x="292" y="4"/>
                    <a:pt x="296" y="0"/>
                  </a:cubicBezTo>
                  <a:cubicBezTo>
                    <a:pt x="453" y="110"/>
                    <a:pt x="602" y="227"/>
                    <a:pt x="705" y="391"/>
                  </a:cubicBezTo>
                  <a:cubicBezTo>
                    <a:pt x="741" y="447"/>
                    <a:pt x="767" y="508"/>
                    <a:pt x="780" y="574"/>
                  </a:cubicBezTo>
                  <a:cubicBezTo>
                    <a:pt x="784" y="590"/>
                    <a:pt x="780" y="595"/>
                    <a:pt x="766" y="600"/>
                  </a:cubicBezTo>
                  <a:cubicBezTo>
                    <a:pt x="687" y="631"/>
                    <a:pt x="618" y="676"/>
                    <a:pt x="572" y="750"/>
                  </a:cubicBezTo>
                  <a:cubicBezTo>
                    <a:pt x="544" y="797"/>
                    <a:pt x="529" y="848"/>
                    <a:pt x="527" y="903"/>
                  </a:cubicBezTo>
                  <a:cubicBezTo>
                    <a:pt x="526" y="919"/>
                    <a:pt x="527" y="935"/>
                    <a:pt x="524" y="951"/>
                  </a:cubicBezTo>
                  <a:cubicBezTo>
                    <a:pt x="438" y="745"/>
                    <a:pt x="385" y="530"/>
                    <a:pt x="342" y="3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 name="Freeform 7"/>
            <p:cNvSpPr>
              <a:spLocks/>
            </p:cNvSpPr>
            <p:nvPr/>
          </p:nvSpPr>
          <p:spPr bwMode="auto">
            <a:xfrm>
              <a:off x="1375" y="726"/>
              <a:ext cx="143" cy="138"/>
            </a:xfrm>
            <a:custGeom>
              <a:avLst/>
              <a:gdLst>
                <a:gd name="T0" fmla="*/ 128 w 613"/>
                <a:gd name="T1" fmla="*/ 588 h 614"/>
                <a:gd name="T2" fmla="*/ 366 w 613"/>
                <a:gd name="T3" fmla="*/ 266 h 614"/>
                <a:gd name="T4" fmla="*/ 362 w 613"/>
                <a:gd name="T5" fmla="*/ 260 h 614"/>
                <a:gd name="T6" fmla="*/ 248 w 613"/>
                <a:gd name="T7" fmla="*/ 336 h 614"/>
                <a:gd name="T8" fmla="*/ 139 w 613"/>
                <a:gd name="T9" fmla="*/ 423 h 614"/>
                <a:gd name="T10" fmla="*/ 37 w 613"/>
                <a:gd name="T11" fmla="*/ 521 h 614"/>
                <a:gd name="T12" fmla="*/ 8 w 613"/>
                <a:gd name="T13" fmla="*/ 314 h 614"/>
                <a:gd name="T14" fmla="*/ 256 w 613"/>
                <a:gd name="T15" fmla="*/ 39 h 614"/>
                <a:gd name="T16" fmla="*/ 508 w 613"/>
                <a:gd name="T17" fmla="*/ 1 h 614"/>
                <a:gd name="T18" fmla="*/ 612 w 613"/>
                <a:gd name="T19" fmla="*/ 1 h 614"/>
                <a:gd name="T20" fmla="*/ 612 w 613"/>
                <a:gd name="T21" fmla="*/ 106 h 614"/>
                <a:gd name="T22" fmla="*/ 566 w 613"/>
                <a:gd name="T23" fmla="*/ 379 h 614"/>
                <a:gd name="T24" fmla="*/ 423 w 613"/>
                <a:gd name="T25" fmla="*/ 565 h 614"/>
                <a:gd name="T26" fmla="*/ 189 w 613"/>
                <a:gd name="T27" fmla="*/ 601 h 614"/>
                <a:gd name="T28" fmla="*/ 128 w 613"/>
                <a:gd name="T29" fmla="*/ 588 h 6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13" h="614">
                  <a:moveTo>
                    <a:pt x="128" y="588"/>
                  </a:moveTo>
                  <a:cubicBezTo>
                    <a:pt x="191" y="466"/>
                    <a:pt x="269" y="359"/>
                    <a:pt x="366" y="266"/>
                  </a:cubicBezTo>
                  <a:cubicBezTo>
                    <a:pt x="364" y="264"/>
                    <a:pt x="363" y="262"/>
                    <a:pt x="362" y="260"/>
                  </a:cubicBezTo>
                  <a:cubicBezTo>
                    <a:pt x="324" y="285"/>
                    <a:pt x="285" y="309"/>
                    <a:pt x="248" y="336"/>
                  </a:cubicBezTo>
                  <a:cubicBezTo>
                    <a:pt x="210" y="363"/>
                    <a:pt x="174" y="393"/>
                    <a:pt x="139" y="423"/>
                  </a:cubicBezTo>
                  <a:cubicBezTo>
                    <a:pt x="104" y="454"/>
                    <a:pt x="72" y="487"/>
                    <a:pt x="37" y="521"/>
                  </a:cubicBezTo>
                  <a:cubicBezTo>
                    <a:pt x="13" y="453"/>
                    <a:pt x="0" y="385"/>
                    <a:pt x="8" y="314"/>
                  </a:cubicBezTo>
                  <a:cubicBezTo>
                    <a:pt x="24" y="163"/>
                    <a:pt x="121" y="83"/>
                    <a:pt x="256" y="39"/>
                  </a:cubicBezTo>
                  <a:cubicBezTo>
                    <a:pt x="338" y="12"/>
                    <a:pt x="423" y="3"/>
                    <a:pt x="508" y="1"/>
                  </a:cubicBezTo>
                  <a:cubicBezTo>
                    <a:pt x="542" y="0"/>
                    <a:pt x="575" y="1"/>
                    <a:pt x="612" y="1"/>
                  </a:cubicBezTo>
                  <a:cubicBezTo>
                    <a:pt x="612" y="38"/>
                    <a:pt x="613" y="72"/>
                    <a:pt x="612" y="106"/>
                  </a:cubicBezTo>
                  <a:cubicBezTo>
                    <a:pt x="609" y="199"/>
                    <a:pt x="598" y="291"/>
                    <a:pt x="566" y="379"/>
                  </a:cubicBezTo>
                  <a:cubicBezTo>
                    <a:pt x="538" y="455"/>
                    <a:pt x="495" y="522"/>
                    <a:pt x="423" y="565"/>
                  </a:cubicBezTo>
                  <a:cubicBezTo>
                    <a:pt x="350" y="608"/>
                    <a:pt x="271" y="614"/>
                    <a:pt x="189" y="601"/>
                  </a:cubicBezTo>
                  <a:cubicBezTo>
                    <a:pt x="170" y="598"/>
                    <a:pt x="151" y="593"/>
                    <a:pt x="128" y="5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01" name="Group 4"/>
          <p:cNvGrpSpPr>
            <a:grpSpLocks noChangeAspect="1"/>
          </p:cNvGrpSpPr>
          <p:nvPr/>
        </p:nvGrpSpPr>
        <p:grpSpPr bwMode="auto">
          <a:xfrm rot="17562825" flipH="1">
            <a:off x="5961632" y="1616351"/>
            <a:ext cx="1372063" cy="1367164"/>
            <a:chOff x="1238" y="585"/>
            <a:chExt cx="280" cy="279"/>
          </a:xfrm>
          <a:solidFill>
            <a:srgbClr val="00B050"/>
          </a:solidFill>
          <a:effectLst>
            <a:outerShdw blurRad="50800" dist="38100" dir="2700000" algn="tl" rotWithShape="0">
              <a:prstClr val="black">
                <a:alpha val="40000"/>
              </a:prstClr>
            </a:outerShdw>
          </a:effectLst>
        </p:grpSpPr>
        <p:sp>
          <p:nvSpPr>
            <p:cNvPr id="102" name="Freeform 5"/>
            <p:cNvSpPr>
              <a:spLocks noEditPoints="1"/>
            </p:cNvSpPr>
            <p:nvPr/>
          </p:nvSpPr>
          <p:spPr bwMode="auto">
            <a:xfrm>
              <a:off x="1238" y="585"/>
              <a:ext cx="280" cy="279"/>
            </a:xfrm>
            <a:custGeom>
              <a:avLst/>
              <a:gdLst>
                <a:gd name="T0" fmla="*/ 342 w 1202"/>
                <a:gd name="T1" fmla="*/ 311 h 1235"/>
                <a:gd name="T2" fmla="*/ 524 w 1202"/>
                <a:gd name="T3" fmla="*/ 951 h 1235"/>
                <a:gd name="T4" fmla="*/ 527 w 1202"/>
                <a:gd name="T5" fmla="*/ 903 h 1235"/>
                <a:gd name="T6" fmla="*/ 572 w 1202"/>
                <a:gd name="T7" fmla="*/ 750 h 1235"/>
                <a:gd name="T8" fmla="*/ 766 w 1202"/>
                <a:gd name="T9" fmla="*/ 600 h 1235"/>
                <a:gd name="T10" fmla="*/ 780 w 1202"/>
                <a:gd name="T11" fmla="*/ 574 h 1235"/>
                <a:gd name="T12" fmla="*/ 705 w 1202"/>
                <a:gd name="T13" fmla="*/ 391 h 1235"/>
                <a:gd name="T14" fmla="*/ 296 w 1202"/>
                <a:gd name="T15" fmla="*/ 0 h 1235"/>
                <a:gd name="T16" fmla="*/ 286 w 1202"/>
                <a:gd name="T17" fmla="*/ 11 h 1235"/>
                <a:gd name="T18" fmla="*/ 135 w 1202"/>
                <a:gd name="T19" fmla="*/ 239 h 1235"/>
                <a:gd name="T20" fmla="*/ 9 w 1202"/>
                <a:gd name="T21" fmla="*/ 603 h 1235"/>
                <a:gd name="T22" fmla="*/ 119 w 1202"/>
                <a:gd name="T23" fmla="*/ 923 h 1235"/>
                <a:gd name="T24" fmla="*/ 379 w 1202"/>
                <a:gd name="T25" fmla="*/ 1084 h 1235"/>
                <a:gd name="T26" fmla="*/ 411 w 1202"/>
                <a:gd name="T27" fmla="*/ 1093 h 1235"/>
                <a:gd name="T28" fmla="*/ 342 w 1202"/>
                <a:gd name="T29" fmla="*/ 311 h 1235"/>
                <a:gd name="T30" fmla="*/ 717 w 1202"/>
                <a:gd name="T31" fmla="*/ 1209 h 1235"/>
                <a:gd name="T32" fmla="*/ 778 w 1202"/>
                <a:gd name="T33" fmla="*/ 1222 h 1235"/>
                <a:gd name="T34" fmla="*/ 1012 w 1202"/>
                <a:gd name="T35" fmla="*/ 1186 h 1235"/>
                <a:gd name="T36" fmla="*/ 1155 w 1202"/>
                <a:gd name="T37" fmla="*/ 1000 h 1235"/>
                <a:gd name="T38" fmla="*/ 1201 w 1202"/>
                <a:gd name="T39" fmla="*/ 727 h 1235"/>
                <a:gd name="T40" fmla="*/ 1201 w 1202"/>
                <a:gd name="T41" fmla="*/ 622 h 1235"/>
                <a:gd name="T42" fmla="*/ 1097 w 1202"/>
                <a:gd name="T43" fmla="*/ 622 h 1235"/>
                <a:gd name="T44" fmla="*/ 845 w 1202"/>
                <a:gd name="T45" fmla="*/ 660 h 1235"/>
                <a:gd name="T46" fmla="*/ 597 w 1202"/>
                <a:gd name="T47" fmla="*/ 935 h 1235"/>
                <a:gd name="T48" fmla="*/ 626 w 1202"/>
                <a:gd name="T49" fmla="*/ 1142 h 1235"/>
                <a:gd name="T50" fmla="*/ 728 w 1202"/>
                <a:gd name="T51" fmla="*/ 1044 h 1235"/>
                <a:gd name="T52" fmla="*/ 837 w 1202"/>
                <a:gd name="T53" fmla="*/ 957 h 1235"/>
                <a:gd name="T54" fmla="*/ 951 w 1202"/>
                <a:gd name="T55" fmla="*/ 881 h 1235"/>
                <a:gd name="T56" fmla="*/ 955 w 1202"/>
                <a:gd name="T57" fmla="*/ 887 h 1235"/>
                <a:gd name="T58" fmla="*/ 717 w 1202"/>
                <a:gd name="T59" fmla="*/ 1209 h 1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202" h="1235">
                  <a:moveTo>
                    <a:pt x="342" y="311"/>
                  </a:moveTo>
                  <a:cubicBezTo>
                    <a:pt x="385" y="530"/>
                    <a:pt x="438" y="745"/>
                    <a:pt x="524" y="951"/>
                  </a:cubicBezTo>
                  <a:cubicBezTo>
                    <a:pt x="527" y="935"/>
                    <a:pt x="526" y="919"/>
                    <a:pt x="527" y="903"/>
                  </a:cubicBezTo>
                  <a:cubicBezTo>
                    <a:pt x="529" y="848"/>
                    <a:pt x="544" y="797"/>
                    <a:pt x="572" y="750"/>
                  </a:cubicBezTo>
                  <a:cubicBezTo>
                    <a:pt x="618" y="676"/>
                    <a:pt x="687" y="631"/>
                    <a:pt x="766" y="600"/>
                  </a:cubicBezTo>
                  <a:cubicBezTo>
                    <a:pt x="780" y="595"/>
                    <a:pt x="784" y="590"/>
                    <a:pt x="780" y="574"/>
                  </a:cubicBezTo>
                  <a:cubicBezTo>
                    <a:pt x="767" y="508"/>
                    <a:pt x="741" y="447"/>
                    <a:pt x="705" y="391"/>
                  </a:cubicBezTo>
                  <a:cubicBezTo>
                    <a:pt x="602" y="227"/>
                    <a:pt x="453" y="110"/>
                    <a:pt x="296" y="0"/>
                  </a:cubicBezTo>
                  <a:cubicBezTo>
                    <a:pt x="292" y="4"/>
                    <a:pt x="289" y="7"/>
                    <a:pt x="286" y="11"/>
                  </a:cubicBezTo>
                  <a:cubicBezTo>
                    <a:pt x="236" y="87"/>
                    <a:pt x="181" y="160"/>
                    <a:pt x="135" y="239"/>
                  </a:cubicBezTo>
                  <a:cubicBezTo>
                    <a:pt x="68" y="351"/>
                    <a:pt x="19" y="470"/>
                    <a:pt x="9" y="603"/>
                  </a:cubicBezTo>
                  <a:cubicBezTo>
                    <a:pt x="0" y="725"/>
                    <a:pt x="35" y="833"/>
                    <a:pt x="119" y="923"/>
                  </a:cubicBezTo>
                  <a:cubicBezTo>
                    <a:pt x="191" y="1001"/>
                    <a:pt x="281" y="1049"/>
                    <a:pt x="379" y="1084"/>
                  </a:cubicBezTo>
                  <a:cubicBezTo>
                    <a:pt x="389" y="1087"/>
                    <a:pt x="399" y="1090"/>
                    <a:pt x="411" y="1093"/>
                  </a:cubicBezTo>
                  <a:cubicBezTo>
                    <a:pt x="356" y="833"/>
                    <a:pt x="333" y="574"/>
                    <a:pt x="342" y="311"/>
                  </a:cubicBezTo>
                  <a:close/>
                  <a:moveTo>
                    <a:pt x="717" y="1209"/>
                  </a:moveTo>
                  <a:cubicBezTo>
                    <a:pt x="740" y="1214"/>
                    <a:pt x="759" y="1219"/>
                    <a:pt x="778" y="1222"/>
                  </a:cubicBezTo>
                  <a:cubicBezTo>
                    <a:pt x="860" y="1235"/>
                    <a:pt x="939" y="1229"/>
                    <a:pt x="1012" y="1186"/>
                  </a:cubicBezTo>
                  <a:cubicBezTo>
                    <a:pt x="1084" y="1143"/>
                    <a:pt x="1127" y="1076"/>
                    <a:pt x="1155" y="1000"/>
                  </a:cubicBezTo>
                  <a:cubicBezTo>
                    <a:pt x="1187" y="912"/>
                    <a:pt x="1198" y="820"/>
                    <a:pt x="1201" y="727"/>
                  </a:cubicBezTo>
                  <a:cubicBezTo>
                    <a:pt x="1202" y="693"/>
                    <a:pt x="1201" y="659"/>
                    <a:pt x="1201" y="622"/>
                  </a:cubicBezTo>
                  <a:cubicBezTo>
                    <a:pt x="1164" y="622"/>
                    <a:pt x="1131" y="621"/>
                    <a:pt x="1097" y="622"/>
                  </a:cubicBezTo>
                  <a:cubicBezTo>
                    <a:pt x="1012" y="624"/>
                    <a:pt x="927" y="633"/>
                    <a:pt x="845" y="660"/>
                  </a:cubicBezTo>
                  <a:cubicBezTo>
                    <a:pt x="710" y="704"/>
                    <a:pt x="613" y="784"/>
                    <a:pt x="597" y="935"/>
                  </a:cubicBezTo>
                  <a:cubicBezTo>
                    <a:pt x="589" y="1006"/>
                    <a:pt x="602" y="1074"/>
                    <a:pt x="626" y="1142"/>
                  </a:cubicBezTo>
                  <a:cubicBezTo>
                    <a:pt x="661" y="1108"/>
                    <a:pt x="693" y="1075"/>
                    <a:pt x="728" y="1044"/>
                  </a:cubicBezTo>
                  <a:cubicBezTo>
                    <a:pt x="763" y="1014"/>
                    <a:pt x="799" y="984"/>
                    <a:pt x="837" y="957"/>
                  </a:cubicBezTo>
                  <a:cubicBezTo>
                    <a:pt x="874" y="930"/>
                    <a:pt x="913" y="906"/>
                    <a:pt x="951" y="881"/>
                  </a:cubicBezTo>
                  <a:cubicBezTo>
                    <a:pt x="952" y="883"/>
                    <a:pt x="953" y="885"/>
                    <a:pt x="955" y="887"/>
                  </a:cubicBezTo>
                  <a:cubicBezTo>
                    <a:pt x="858" y="980"/>
                    <a:pt x="780" y="1087"/>
                    <a:pt x="717" y="120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3" name="Freeform 6"/>
            <p:cNvSpPr>
              <a:spLocks/>
            </p:cNvSpPr>
            <p:nvPr/>
          </p:nvSpPr>
          <p:spPr bwMode="auto">
            <a:xfrm>
              <a:off x="1238" y="585"/>
              <a:ext cx="183" cy="247"/>
            </a:xfrm>
            <a:custGeom>
              <a:avLst/>
              <a:gdLst>
                <a:gd name="T0" fmla="*/ 342 w 784"/>
                <a:gd name="T1" fmla="*/ 311 h 1093"/>
                <a:gd name="T2" fmla="*/ 411 w 784"/>
                <a:gd name="T3" fmla="*/ 1093 h 1093"/>
                <a:gd name="T4" fmla="*/ 379 w 784"/>
                <a:gd name="T5" fmla="*/ 1084 h 1093"/>
                <a:gd name="T6" fmla="*/ 119 w 784"/>
                <a:gd name="T7" fmla="*/ 923 h 1093"/>
                <a:gd name="T8" fmla="*/ 9 w 784"/>
                <a:gd name="T9" fmla="*/ 603 h 1093"/>
                <a:gd name="T10" fmla="*/ 135 w 784"/>
                <a:gd name="T11" fmla="*/ 239 h 1093"/>
                <a:gd name="T12" fmla="*/ 286 w 784"/>
                <a:gd name="T13" fmla="*/ 11 h 1093"/>
                <a:gd name="T14" fmla="*/ 296 w 784"/>
                <a:gd name="T15" fmla="*/ 0 h 1093"/>
                <a:gd name="T16" fmla="*/ 705 w 784"/>
                <a:gd name="T17" fmla="*/ 391 h 1093"/>
                <a:gd name="T18" fmla="*/ 780 w 784"/>
                <a:gd name="T19" fmla="*/ 574 h 1093"/>
                <a:gd name="T20" fmla="*/ 766 w 784"/>
                <a:gd name="T21" fmla="*/ 600 h 1093"/>
                <a:gd name="T22" fmla="*/ 572 w 784"/>
                <a:gd name="T23" fmla="*/ 750 h 1093"/>
                <a:gd name="T24" fmla="*/ 527 w 784"/>
                <a:gd name="T25" fmla="*/ 903 h 1093"/>
                <a:gd name="T26" fmla="*/ 524 w 784"/>
                <a:gd name="T27" fmla="*/ 951 h 1093"/>
                <a:gd name="T28" fmla="*/ 342 w 784"/>
                <a:gd name="T29" fmla="*/ 311 h 10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84" h="1093">
                  <a:moveTo>
                    <a:pt x="342" y="311"/>
                  </a:moveTo>
                  <a:cubicBezTo>
                    <a:pt x="333" y="574"/>
                    <a:pt x="356" y="833"/>
                    <a:pt x="411" y="1093"/>
                  </a:cubicBezTo>
                  <a:cubicBezTo>
                    <a:pt x="399" y="1090"/>
                    <a:pt x="389" y="1087"/>
                    <a:pt x="379" y="1084"/>
                  </a:cubicBezTo>
                  <a:cubicBezTo>
                    <a:pt x="281" y="1049"/>
                    <a:pt x="191" y="1001"/>
                    <a:pt x="119" y="923"/>
                  </a:cubicBezTo>
                  <a:cubicBezTo>
                    <a:pt x="35" y="833"/>
                    <a:pt x="0" y="725"/>
                    <a:pt x="9" y="603"/>
                  </a:cubicBezTo>
                  <a:cubicBezTo>
                    <a:pt x="19" y="470"/>
                    <a:pt x="68" y="351"/>
                    <a:pt x="135" y="239"/>
                  </a:cubicBezTo>
                  <a:cubicBezTo>
                    <a:pt x="181" y="160"/>
                    <a:pt x="236" y="87"/>
                    <a:pt x="286" y="11"/>
                  </a:cubicBezTo>
                  <a:cubicBezTo>
                    <a:pt x="289" y="7"/>
                    <a:pt x="292" y="4"/>
                    <a:pt x="296" y="0"/>
                  </a:cubicBezTo>
                  <a:cubicBezTo>
                    <a:pt x="453" y="110"/>
                    <a:pt x="602" y="227"/>
                    <a:pt x="705" y="391"/>
                  </a:cubicBezTo>
                  <a:cubicBezTo>
                    <a:pt x="741" y="447"/>
                    <a:pt x="767" y="508"/>
                    <a:pt x="780" y="574"/>
                  </a:cubicBezTo>
                  <a:cubicBezTo>
                    <a:pt x="784" y="590"/>
                    <a:pt x="780" y="595"/>
                    <a:pt x="766" y="600"/>
                  </a:cubicBezTo>
                  <a:cubicBezTo>
                    <a:pt x="687" y="631"/>
                    <a:pt x="618" y="676"/>
                    <a:pt x="572" y="750"/>
                  </a:cubicBezTo>
                  <a:cubicBezTo>
                    <a:pt x="544" y="797"/>
                    <a:pt x="529" y="848"/>
                    <a:pt x="527" y="903"/>
                  </a:cubicBezTo>
                  <a:cubicBezTo>
                    <a:pt x="526" y="919"/>
                    <a:pt x="527" y="935"/>
                    <a:pt x="524" y="951"/>
                  </a:cubicBezTo>
                  <a:cubicBezTo>
                    <a:pt x="438" y="745"/>
                    <a:pt x="385" y="530"/>
                    <a:pt x="342" y="3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4" name="Freeform 7"/>
            <p:cNvSpPr>
              <a:spLocks/>
            </p:cNvSpPr>
            <p:nvPr/>
          </p:nvSpPr>
          <p:spPr bwMode="auto">
            <a:xfrm>
              <a:off x="1375" y="726"/>
              <a:ext cx="143" cy="138"/>
            </a:xfrm>
            <a:custGeom>
              <a:avLst/>
              <a:gdLst>
                <a:gd name="T0" fmla="*/ 128 w 613"/>
                <a:gd name="T1" fmla="*/ 588 h 614"/>
                <a:gd name="T2" fmla="*/ 366 w 613"/>
                <a:gd name="T3" fmla="*/ 266 h 614"/>
                <a:gd name="T4" fmla="*/ 362 w 613"/>
                <a:gd name="T5" fmla="*/ 260 h 614"/>
                <a:gd name="T6" fmla="*/ 248 w 613"/>
                <a:gd name="T7" fmla="*/ 336 h 614"/>
                <a:gd name="T8" fmla="*/ 139 w 613"/>
                <a:gd name="T9" fmla="*/ 423 h 614"/>
                <a:gd name="T10" fmla="*/ 37 w 613"/>
                <a:gd name="T11" fmla="*/ 521 h 614"/>
                <a:gd name="T12" fmla="*/ 8 w 613"/>
                <a:gd name="T13" fmla="*/ 314 h 614"/>
                <a:gd name="T14" fmla="*/ 256 w 613"/>
                <a:gd name="T15" fmla="*/ 39 h 614"/>
                <a:gd name="T16" fmla="*/ 508 w 613"/>
                <a:gd name="T17" fmla="*/ 1 h 614"/>
                <a:gd name="T18" fmla="*/ 612 w 613"/>
                <a:gd name="T19" fmla="*/ 1 h 614"/>
                <a:gd name="T20" fmla="*/ 612 w 613"/>
                <a:gd name="T21" fmla="*/ 106 h 614"/>
                <a:gd name="T22" fmla="*/ 566 w 613"/>
                <a:gd name="T23" fmla="*/ 379 h 614"/>
                <a:gd name="T24" fmla="*/ 423 w 613"/>
                <a:gd name="T25" fmla="*/ 565 h 614"/>
                <a:gd name="T26" fmla="*/ 189 w 613"/>
                <a:gd name="T27" fmla="*/ 601 h 614"/>
                <a:gd name="T28" fmla="*/ 128 w 613"/>
                <a:gd name="T29" fmla="*/ 588 h 6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13" h="614">
                  <a:moveTo>
                    <a:pt x="128" y="588"/>
                  </a:moveTo>
                  <a:cubicBezTo>
                    <a:pt x="191" y="466"/>
                    <a:pt x="269" y="359"/>
                    <a:pt x="366" y="266"/>
                  </a:cubicBezTo>
                  <a:cubicBezTo>
                    <a:pt x="364" y="264"/>
                    <a:pt x="363" y="262"/>
                    <a:pt x="362" y="260"/>
                  </a:cubicBezTo>
                  <a:cubicBezTo>
                    <a:pt x="324" y="285"/>
                    <a:pt x="285" y="309"/>
                    <a:pt x="248" y="336"/>
                  </a:cubicBezTo>
                  <a:cubicBezTo>
                    <a:pt x="210" y="363"/>
                    <a:pt x="174" y="393"/>
                    <a:pt x="139" y="423"/>
                  </a:cubicBezTo>
                  <a:cubicBezTo>
                    <a:pt x="104" y="454"/>
                    <a:pt x="72" y="487"/>
                    <a:pt x="37" y="521"/>
                  </a:cubicBezTo>
                  <a:cubicBezTo>
                    <a:pt x="13" y="453"/>
                    <a:pt x="0" y="385"/>
                    <a:pt x="8" y="314"/>
                  </a:cubicBezTo>
                  <a:cubicBezTo>
                    <a:pt x="24" y="163"/>
                    <a:pt x="121" y="83"/>
                    <a:pt x="256" y="39"/>
                  </a:cubicBezTo>
                  <a:cubicBezTo>
                    <a:pt x="338" y="12"/>
                    <a:pt x="423" y="3"/>
                    <a:pt x="508" y="1"/>
                  </a:cubicBezTo>
                  <a:cubicBezTo>
                    <a:pt x="542" y="0"/>
                    <a:pt x="575" y="1"/>
                    <a:pt x="612" y="1"/>
                  </a:cubicBezTo>
                  <a:cubicBezTo>
                    <a:pt x="612" y="38"/>
                    <a:pt x="613" y="72"/>
                    <a:pt x="612" y="106"/>
                  </a:cubicBezTo>
                  <a:cubicBezTo>
                    <a:pt x="609" y="199"/>
                    <a:pt x="598" y="291"/>
                    <a:pt x="566" y="379"/>
                  </a:cubicBezTo>
                  <a:cubicBezTo>
                    <a:pt x="538" y="455"/>
                    <a:pt x="495" y="522"/>
                    <a:pt x="423" y="565"/>
                  </a:cubicBezTo>
                  <a:cubicBezTo>
                    <a:pt x="350" y="608"/>
                    <a:pt x="271" y="614"/>
                    <a:pt x="189" y="601"/>
                  </a:cubicBezTo>
                  <a:cubicBezTo>
                    <a:pt x="170" y="598"/>
                    <a:pt x="151" y="593"/>
                    <a:pt x="128" y="5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34" name="Freeform 133"/>
          <p:cNvSpPr/>
          <p:nvPr/>
        </p:nvSpPr>
        <p:spPr>
          <a:xfrm>
            <a:off x="5321300" y="4061863"/>
            <a:ext cx="5080000" cy="754073"/>
          </a:xfrm>
          <a:custGeom>
            <a:avLst/>
            <a:gdLst>
              <a:gd name="connsiteX0" fmla="*/ 0 w 4457700"/>
              <a:gd name="connsiteY0" fmla="*/ 377709 h 759380"/>
              <a:gd name="connsiteX1" fmla="*/ 457200 w 4457700"/>
              <a:gd name="connsiteY1" fmla="*/ 85609 h 759380"/>
              <a:gd name="connsiteX2" fmla="*/ 1041400 w 4457700"/>
              <a:gd name="connsiteY2" fmla="*/ 9409 h 759380"/>
              <a:gd name="connsiteX3" fmla="*/ 1574800 w 4457700"/>
              <a:gd name="connsiteY3" fmla="*/ 263409 h 759380"/>
              <a:gd name="connsiteX4" fmla="*/ 2057400 w 4457700"/>
              <a:gd name="connsiteY4" fmla="*/ 580909 h 759380"/>
              <a:gd name="connsiteX5" fmla="*/ 2806700 w 4457700"/>
              <a:gd name="connsiteY5" fmla="*/ 758709 h 759380"/>
              <a:gd name="connsiteX6" fmla="*/ 3683000 w 4457700"/>
              <a:gd name="connsiteY6" fmla="*/ 619009 h 759380"/>
              <a:gd name="connsiteX7" fmla="*/ 4457700 w 4457700"/>
              <a:gd name="connsiteY7" fmla="*/ 111009 h 759380"/>
              <a:gd name="connsiteX0" fmla="*/ 0 w 4607442"/>
              <a:gd name="connsiteY0" fmla="*/ 210198 h 756969"/>
              <a:gd name="connsiteX1" fmla="*/ 606942 w 4607442"/>
              <a:gd name="connsiteY1" fmla="*/ 83198 h 756969"/>
              <a:gd name="connsiteX2" fmla="*/ 1191142 w 4607442"/>
              <a:gd name="connsiteY2" fmla="*/ 6998 h 756969"/>
              <a:gd name="connsiteX3" fmla="*/ 1724542 w 4607442"/>
              <a:gd name="connsiteY3" fmla="*/ 260998 h 756969"/>
              <a:gd name="connsiteX4" fmla="*/ 2207142 w 4607442"/>
              <a:gd name="connsiteY4" fmla="*/ 578498 h 756969"/>
              <a:gd name="connsiteX5" fmla="*/ 2956442 w 4607442"/>
              <a:gd name="connsiteY5" fmla="*/ 756298 h 756969"/>
              <a:gd name="connsiteX6" fmla="*/ 3832742 w 4607442"/>
              <a:gd name="connsiteY6" fmla="*/ 616598 h 756969"/>
              <a:gd name="connsiteX7" fmla="*/ 4607442 w 4607442"/>
              <a:gd name="connsiteY7" fmla="*/ 108598 h 756969"/>
              <a:gd name="connsiteX0" fmla="*/ 0 w 4607442"/>
              <a:gd name="connsiteY0" fmla="*/ 210198 h 756969"/>
              <a:gd name="connsiteX1" fmla="*/ 606942 w 4607442"/>
              <a:gd name="connsiteY1" fmla="*/ 83198 h 756969"/>
              <a:gd name="connsiteX2" fmla="*/ 1191142 w 4607442"/>
              <a:gd name="connsiteY2" fmla="*/ 6998 h 756969"/>
              <a:gd name="connsiteX3" fmla="*/ 1724542 w 4607442"/>
              <a:gd name="connsiteY3" fmla="*/ 260998 h 756969"/>
              <a:gd name="connsiteX4" fmla="*/ 2207142 w 4607442"/>
              <a:gd name="connsiteY4" fmla="*/ 578498 h 756969"/>
              <a:gd name="connsiteX5" fmla="*/ 2956442 w 4607442"/>
              <a:gd name="connsiteY5" fmla="*/ 756298 h 756969"/>
              <a:gd name="connsiteX6" fmla="*/ 3832742 w 4607442"/>
              <a:gd name="connsiteY6" fmla="*/ 616598 h 756969"/>
              <a:gd name="connsiteX7" fmla="*/ 4607442 w 4607442"/>
              <a:gd name="connsiteY7" fmla="*/ 108598 h 756969"/>
              <a:gd name="connsiteX0" fmla="*/ 0 w 4607442"/>
              <a:gd name="connsiteY0" fmla="*/ 205795 h 752566"/>
              <a:gd name="connsiteX1" fmla="*/ 658775 w 4607442"/>
              <a:gd name="connsiteY1" fmla="*/ 129595 h 752566"/>
              <a:gd name="connsiteX2" fmla="*/ 1191142 w 4607442"/>
              <a:gd name="connsiteY2" fmla="*/ 2595 h 752566"/>
              <a:gd name="connsiteX3" fmla="*/ 1724542 w 4607442"/>
              <a:gd name="connsiteY3" fmla="*/ 256595 h 752566"/>
              <a:gd name="connsiteX4" fmla="*/ 2207142 w 4607442"/>
              <a:gd name="connsiteY4" fmla="*/ 574095 h 752566"/>
              <a:gd name="connsiteX5" fmla="*/ 2956442 w 4607442"/>
              <a:gd name="connsiteY5" fmla="*/ 751895 h 752566"/>
              <a:gd name="connsiteX6" fmla="*/ 3832742 w 4607442"/>
              <a:gd name="connsiteY6" fmla="*/ 612195 h 752566"/>
              <a:gd name="connsiteX7" fmla="*/ 4607442 w 4607442"/>
              <a:gd name="connsiteY7" fmla="*/ 104195 h 752566"/>
              <a:gd name="connsiteX0" fmla="*/ 0 w 4607442"/>
              <a:gd name="connsiteY0" fmla="*/ 207302 h 754073"/>
              <a:gd name="connsiteX1" fmla="*/ 658775 w 4607442"/>
              <a:gd name="connsiteY1" fmla="*/ 131102 h 754073"/>
              <a:gd name="connsiteX2" fmla="*/ 1191142 w 4607442"/>
              <a:gd name="connsiteY2" fmla="*/ 4102 h 754073"/>
              <a:gd name="connsiteX3" fmla="*/ 1724542 w 4607442"/>
              <a:gd name="connsiteY3" fmla="*/ 258102 h 754073"/>
              <a:gd name="connsiteX4" fmla="*/ 2207142 w 4607442"/>
              <a:gd name="connsiteY4" fmla="*/ 575602 h 754073"/>
              <a:gd name="connsiteX5" fmla="*/ 2956442 w 4607442"/>
              <a:gd name="connsiteY5" fmla="*/ 753402 h 754073"/>
              <a:gd name="connsiteX6" fmla="*/ 3832742 w 4607442"/>
              <a:gd name="connsiteY6" fmla="*/ 613702 h 754073"/>
              <a:gd name="connsiteX7" fmla="*/ 4607442 w 4607442"/>
              <a:gd name="connsiteY7" fmla="*/ 105702 h 754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607442" h="754073">
                <a:moveTo>
                  <a:pt x="0" y="207302"/>
                </a:moveTo>
                <a:cubicBezTo>
                  <a:pt x="176372" y="263393"/>
                  <a:pt x="471770" y="215769"/>
                  <a:pt x="658775" y="131102"/>
                </a:cubicBezTo>
                <a:cubicBezTo>
                  <a:pt x="845780" y="46435"/>
                  <a:pt x="1013514" y="-17065"/>
                  <a:pt x="1191142" y="4102"/>
                </a:cubicBezTo>
                <a:cubicBezTo>
                  <a:pt x="1368770" y="25269"/>
                  <a:pt x="1555209" y="162852"/>
                  <a:pt x="1724542" y="258102"/>
                </a:cubicBezTo>
                <a:cubicBezTo>
                  <a:pt x="1893875" y="353352"/>
                  <a:pt x="2001825" y="493052"/>
                  <a:pt x="2207142" y="575602"/>
                </a:cubicBezTo>
                <a:cubicBezTo>
                  <a:pt x="2412459" y="658152"/>
                  <a:pt x="2685509" y="747052"/>
                  <a:pt x="2956442" y="753402"/>
                </a:cubicBezTo>
                <a:cubicBezTo>
                  <a:pt x="3227375" y="759752"/>
                  <a:pt x="3557575" y="721652"/>
                  <a:pt x="3832742" y="613702"/>
                </a:cubicBezTo>
                <a:cubicBezTo>
                  <a:pt x="4107909" y="505752"/>
                  <a:pt x="4357675" y="305727"/>
                  <a:pt x="4607442" y="105702"/>
                </a:cubicBezTo>
              </a:path>
            </a:pathLst>
          </a:custGeom>
          <a:noFill/>
          <a:ln w="152400" cap="rnd" cmpd="sng">
            <a:solidFill>
              <a:srgbClr val="FFC000"/>
            </a:solidFill>
            <a:prstDash val="sysDot"/>
            <a:headEnd type="none" w="med" len="med"/>
            <a:tailEnd type="none" w="lg" len="lg"/>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16" name="Group 215"/>
          <p:cNvGrpSpPr/>
          <p:nvPr/>
        </p:nvGrpSpPr>
        <p:grpSpPr>
          <a:xfrm>
            <a:off x="135781" y="2736798"/>
            <a:ext cx="1715097" cy="1917504"/>
            <a:chOff x="176541" y="2266950"/>
            <a:chExt cx="1957351" cy="2188347"/>
          </a:xfrm>
        </p:grpSpPr>
        <p:sp>
          <p:nvSpPr>
            <p:cNvPr id="12" name="Flowchart: Manual Input 11"/>
            <p:cNvSpPr/>
            <p:nvPr/>
          </p:nvSpPr>
          <p:spPr>
            <a:xfrm flipH="1">
              <a:off x="176541" y="2266950"/>
              <a:ext cx="1088378" cy="1981200"/>
            </a:xfrm>
            <a:prstGeom prst="flowChartManualInput">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3" name="Flowchart: Manual Input 12"/>
            <p:cNvSpPr/>
            <p:nvPr/>
          </p:nvSpPr>
          <p:spPr>
            <a:xfrm flipH="1">
              <a:off x="788343" y="2647950"/>
              <a:ext cx="301480" cy="1524000"/>
            </a:xfrm>
            <a:prstGeom prst="flowChartManualInput">
              <a:avLst/>
            </a:prstGeom>
            <a:solidFill>
              <a:schemeClr val="bg1"/>
            </a:solidFill>
            <a:ln>
              <a:noFill/>
            </a:ln>
            <a:effectLst>
              <a:outerShdw blurRad="50800" dist="38100" algn="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4" name="Flowchart: Manual Input 13"/>
            <p:cNvSpPr/>
            <p:nvPr/>
          </p:nvSpPr>
          <p:spPr>
            <a:xfrm flipH="1">
              <a:off x="598402" y="2647950"/>
              <a:ext cx="301480" cy="1524000"/>
            </a:xfrm>
            <a:prstGeom prst="flowChartManualInput">
              <a:avLst/>
            </a:prstGeom>
            <a:solidFill>
              <a:schemeClr val="bg1"/>
            </a:solidFill>
            <a:ln>
              <a:noFill/>
            </a:ln>
            <a:effectLst>
              <a:outerShdw blurRad="50800" dist="38100" algn="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5" name="Double Wave 14"/>
            <p:cNvSpPr/>
            <p:nvPr/>
          </p:nvSpPr>
          <p:spPr>
            <a:xfrm rot="2700000">
              <a:off x="395600" y="3495691"/>
              <a:ext cx="1350146" cy="569065"/>
            </a:xfrm>
            <a:prstGeom prst="doubleWave">
              <a:avLst>
                <a:gd name="adj1" fmla="val 12500"/>
                <a:gd name="adj2" fmla="val 0"/>
              </a:avLst>
            </a:prstGeom>
            <a:solidFill>
              <a:srgbClr val="0070C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6" name="Double Wave 15"/>
            <p:cNvSpPr/>
            <p:nvPr/>
          </p:nvSpPr>
          <p:spPr>
            <a:xfrm rot="2700000">
              <a:off x="654532" y="3495691"/>
              <a:ext cx="1350146" cy="569065"/>
            </a:xfrm>
            <a:prstGeom prst="doubleWave">
              <a:avLst>
                <a:gd name="adj1" fmla="val 12500"/>
                <a:gd name="adj2" fmla="val 0"/>
              </a:avLst>
            </a:prstGeom>
            <a:solidFill>
              <a:srgbClr val="0070C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7" name="Double Wave 16"/>
            <p:cNvSpPr/>
            <p:nvPr/>
          </p:nvSpPr>
          <p:spPr>
            <a:xfrm rot="2700000">
              <a:off x="915353" y="3495691"/>
              <a:ext cx="1350146" cy="569065"/>
            </a:xfrm>
            <a:prstGeom prst="doubleWave">
              <a:avLst>
                <a:gd name="adj1" fmla="val 12500"/>
                <a:gd name="adj2" fmla="val 0"/>
              </a:avLst>
            </a:prstGeom>
            <a:solidFill>
              <a:srgbClr val="0070C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8" name="Double Wave 17"/>
            <p:cNvSpPr/>
            <p:nvPr/>
          </p:nvSpPr>
          <p:spPr>
            <a:xfrm rot="2700000">
              <a:off x="1174287" y="3495691"/>
              <a:ext cx="1350146" cy="569065"/>
            </a:xfrm>
            <a:prstGeom prst="doubleWave">
              <a:avLst>
                <a:gd name="adj1" fmla="val 12500"/>
                <a:gd name="adj2" fmla="val 0"/>
              </a:avLst>
            </a:prstGeom>
            <a:solidFill>
              <a:srgbClr val="0070C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9" name="Flowchart: Manual Input 18"/>
            <p:cNvSpPr/>
            <p:nvPr/>
          </p:nvSpPr>
          <p:spPr>
            <a:xfrm flipH="1">
              <a:off x="408461" y="2647950"/>
              <a:ext cx="301480" cy="1524000"/>
            </a:xfrm>
            <a:prstGeom prst="flowChartManualInput">
              <a:avLst/>
            </a:prstGeom>
            <a:solidFill>
              <a:schemeClr val="bg1"/>
            </a:solidFill>
            <a:ln>
              <a:noFill/>
            </a:ln>
            <a:effectLst>
              <a:outerShdw blurRad="50800" dist="38100" algn="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grpSp>
      <p:grpSp>
        <p:nvGrpSpPr>
          <p:cNvPr id="171" name="Group 170"/>
          <p:cNvGrpSpPr/>
          <p:nvPr/>
        </p:nvGrpSpPr>
        <p:grpSpPr>
          <a:xfrm>
            <a:off x="4087723" y="3465036"/>
            <a:ext cx="1017677" cy="1127495"/>
            <a:chOff x="3421617" y="3102270"/>
            <a:chExt cx="988458" cy="1095124"/>
          </a:xfrm>
          <a:effectLst>
            <a:outerShdw blurRad="76200" dir="13500000" sy="23000" kx="1200000" algn="br" rotWithShape="0">
              <a:prstClr val="black">
                <a:alpha val="20000"/>
              </a:prstClr>
            </a:outerShdw>
          </a:effectLst>
        </p:grpSpPr>
        <p:sp>
          <p:nvSpPr>
            <p:cNvPr id="172" name="Parallelogram 171"/>
            <p:cNvSpPr/>
            <p:nvPr/>
          </p:nvSpPr>
          <p:spPr>
            <a:xfrm flipH="1">
              <a:off x="3421617" y="3102270"/>
              <a:ext cx="988458" cy="1095124"/>
            </a:xfrm>
            <a:prstGeom prst="parallelogram">
              <a:avLst>
                <a:gd name="adj" fmla="val 27409"/>
              </a:avLst>
            </a:prstGeom>
            <a:solidFill>
              <a:schemeClr val="bg1"/>
            </a:solidFill>
            <a:ln>
              <a:no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grpSp>
          <p:nvGrpSpPr>
            <p:cNvPr id="173" name="Group 172"/>
            <p:cNvGrpSpPr/>
            <p:nvPr/>
          </p:nvGrpSpPr>
          <p:grpSpPr>
            <a:xfrm>
              <a:off x="3488531" y="3156897"/>
              <a:ext cx="685802" cy="307680"/>
              <a:chOff x="3505198" y="3156897"/>
              <a:chExt cx="588168" cy="307680"/>
            </a:xfrm>
          </p:grpSpPr>
          <p:sp>
            <p:nvSpPr>
              <p:cNvPr id="184" name="Parallelogram 183"/>
              <p:cNvSpPr/>
              <p:nvPr/>
            </p:nvSpPr>
            <p:spPr>
              <a:xfrm flipH="1">
                <a:off x="3505198" y="3156897"/>
                <a:ext cx="152401" cy="307680"/>
              </a:xfrm>
              <a:prstGeom prst="parallelogram">
                <a:avLst>
                  <a:gd name="adj" fmla="val 47819"/>
                </a:avLst>
              </a:prstGeom>
              <a:solidFill>
                <a:schemeClr val="bg1"/>
              </a:solidFill>
              <a:ln>
                <a:no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85" name="Parallelogram 184"/>
              <p:cNvSpPr/>
              <p:nvPr/>
            </p:nvSpPr>
            <p:spPr>
              <a:xfrm flipH="1">
                <a:off x="3650454" y="3156897"/>
                <a:ext cx="152401" cy="307680"/>
              </a:xfrm>
              <a:prstGeom prst="parallelogram">
                <a:avLst>
                  <a:gd name="adj" fmla="val 47819"/>
                </a:avLst>
              </a:prstGeom>
              <a:solidFill>
                <a:schemeClr val="bg1"/>
              </a:solidFill>
              <a:ln>
                <a:no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86" name="Parallelogram 185"/>
              <p:cNvSpPr/>
              <p:nvPr/>
            </p:nvSpPr>
            <p:spPr>
              <a:xfrm flipH="1">
                <a:off x="3795710" y="3156897"/>
                <a:ext cx="152401" cy="307680"/>
              </a:xfrm>
              <a:prstGeom prst="parallelogram">
                <a:avLst>
                  <a:gd name="adj" fmla="val 47819"/>
                </a:avLst>
              </a:prstGeom>
              <a:solidFill>
                <a:schemeClr val="bg1"/>
              </a:solidFill>
              <a:ln>
                <a:no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87" name="Parallelogram 186"/>
              <p:cNvSpPr/>
              <p:nvPr/>
            </p:nvSpPr>
            <p:spPr>
              <a:xfrm flipH="1">
                <a:off x="3940965" y="3156897"/>
                <a:ext cx="152401" cy="307680"/>
              </a:xfrm>
              <a:prstGeom prst="parallelogram">
                <a:avLst>
                  <a:gd name="adj" fmla="val 47819"/>
                </a:avLst>
              </a:prstGeom>
              <a:solidFill>
                <a:schemeClr val="bg1"/>
              </a:solidFill>
              <a:ln>
                <a:no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grpSp>
        <p:grpSp>
          <p:nvGrpSpPr>
            <p:cNvPr id="174" name="Group 173"/>
            <p:cNvGrpSpPr/>
            <p:nvPr/>
          </p:nvGrpSpPr>
          <p:grpSpPr>
            <a:xfrm>
              <a:off x="3581398" y="3508857"/>
              <a:ext cx="685802" cy="307680"/>
              <a:chOff x="3505198" y="3156897"/>
              <a:chExt cx="588168" cy="307680"/>
            </a:xfrm>
          </p:grpSpPr>
          <p:sp>
            <p:nvSpPr>
              <p:cNvPr id="180" name="Parallelogram 179"/>
              <p:cNvSpPr/>
              <p:nvPr/>
            </p:nvSpPr>
            <p:spPr>
              <a:xfrm flipH="1">
                <a:off x="3505198" y="3156897"/>
                <a:ext cx="152401" cy="307680"/>
              </a:xfrm>
              <a:prstGeom prst="parallelogram">
                <a:avLst>
                  <a:gd name="adj" fmla="val 47819"/>
                </a:avLst>
              </a:prstGeom>
              <a:solidFill>
                <a:schemeClr val="bg1"/>
              </a:solidFill>
              <a:ln>
                <a:no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81" name="Parallelogram 180"/>
              <p:cNvSpPr/>
              <p:nvPr/>
            </p:nvSpPr>
            <p:spPr>
              <a:xfrm flipH="1">
                <a:off x="3650454" y="3156897"/>
                <a:ext cx="152401" cy="307680"/>
              </a:xfrm>
              <a:prstGeom prst="parallelogram">
                <a:avLst>
                  <a:gd name="adj" fmla="val 47819"/>
                </a:avLst>
              </a:prstGeom>
              <a:solidFill>
                <a:schemeClr val="bg1"/>
              </a:solidFill>
              <a:ln>
                <a:no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82" name="Parallelogram 181"/>
              <p:cNvSpPr/>
              <p:nvPr/>
            </p:nvSpPr>
            <p:spPr>
              <a:xfrm flipH="1">
                <a:off x="3795710" y="3156897"/>
                <a:ext cx="152401" cy="307680"/>
              </a:xfrm>
              <a:prstGeom prst="parallelogram">
                <a:avLst>
                  <a:gd name="adj" fmla="val 47819"/>
                </a:avLst>
              </a:prstGeom>
              <a:solidFill>
                <a:schemeClr val="bg1"/>
              </a:solidFill>
              <a:ln>
                <a:no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83" name="Parallelogram 182"/>
              <p:cNvSpPr/>
              <p:nvPr/>
            </p:nvSpPr>
            <p:spPr>
              <a:xfrm flipH="1">
                <a:off x="3940965" y="3156897"/>
                <a:ext cx="152401" cy="307680"/>
              </a:xfrm>
              <a:prstGeom prst="parallelogram">
                <a:avLst>
                  <a:gd name="adj" fmla="val 47819"/>
                </a:avLst>
              </a:prstGeom>
              <a:solidFill>
                <a:schemeClr val="bg1"/>
              </a:solidFill>
              <a:ln>
                <a:no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grpSp>
        <p:grpSp>
          <p:nvGrpSpPr>
            <p:cNvPr id="175" name="Group 174"/>
            <p:cNvGrpSpPr/>
            <p:nvPr/>
          </p:nvGrpSpPr>
          <p:grpSpPr>
            <a:xfrm>
              <a:off x="3672838" y="3851910"/>
              <a:ext cx="685802" cy="307680"/>
              <a:chOff x="3505198" y="3156897"/>
              <a:chExt cx="588168" cy="307680"/>
            </a:xfrm>
          </p:grpSpPr>
          <p:sp>
            <p:nvSpPr>
              <p:cNvPr id="176" name="Parallelogram 175"/>
              <p:cNvSpPr/>
              <p:nvPr/>
            </p:nvSpPr>
            <p:spPr>
              <a:xfrm flipH="1">
                <a:off x="3505198" y="3156897"/>
                <a:ext cx="152401" cy="307680"/>
              </a:xfrm>
              <a:prstGeom prst="parallelogram">
                <a:avLst>
                  <a:gd name="adj" fmla="val 47819"/>
                </a:avLst>
              </a:prstGeom>
              <a:solidFill>
                <a:schemeClr val="bg1"/>
              </a:solidFill>
              <a:ln>
                <a:no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77" name="Parallelogram 176"/>
              <p:cNvSpPr/>
              <p:nvPr/>
            </p:nvSpPr>
            <p:spPr>
              <a:xfrm flipH="1">
                <a:off x="3650454" y="3156897"/>
                <a:ext cx="152401" cy="307680"/>
              </a:xfrm>
              <a:prstGeom prst="parallelogram">
                <a:avLst>
                  <a:gd name="adj" fmla="val 47819"/>
                </a:avLst>
              </a:prstGeom>
              <a:solidFill>
                <a:schemeClr val="bg1"/>
              </a:solidFill>
              <a:ln>
                <a:no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78" name="Parallelogram 177"/>
              <p:cNvSpPr/>
              <p:nvPr/>
            </p:nvSpPr>
            <p:spPr>
              <a:xfrm flipH="1">
                <a:off x="3795710" y="3156897"/>
                <a:ext cx="152401" cy="307680"/>
              </a:xfrm>
              <a:prstGeom prst="parallelogram">
                <a:avLst>
                  <a:gd name="adj" fmla="val 47819"/>
                </a:avLst>
              </a:prstGeom>
              <a:solidFill>
                <a:schemeClr val="bg1"/>
              </a:solidFill>
              <a:ln>
                <a:no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79" name="Parallelogram 178"/>
              <p:cNvSpPr/>
              <p:nvPr/>
            </p:nvSpPr>
            <p:spPr>
              <a:xfrm flipH="1">
                <a:off x="3940965" y="3156897"/>
                <a:ext cx="152401" cy="307680"/>
              </a:xfrm>
              <a:prstGeom prst="parallelogram">
                <a:avLst>
                  <a:gd name="adj" fmla="val 47819"/>
                </a:avLst>
              </a:prstGeom>
              <a:solidFill>
                <a:schemeClr val="bg1"/>
              </a:solidFill>
              <a:ln>
                <a:no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grpSp>
      </p:grpSp>
      <p:grpSp>
        <p:nvGrpSpPr>
          <p:cNvPr id="136" name="Group 135"/>
          <p:cNvGrpSpPr/>
          <p:nvPr/>
        </p:nvGrpSpPr>
        <p:grpSpPr>
          <a:xfrm>
            <a:off x="3143940" y="3693107"/>
            <a:ext cx="1017677" cy="1127495"/>
            <a:chOff x="3421617" y="3102270"/>
            <a:chExt cx="988458" cy="1095124"/>
          </a:xfrm>
          <a:effectLst>
            <a:outerShdw blurRad="76200" dir="13500000" sy="23000" kx="1200000" algn="br" rotWithShape="0">
              <a:prstClr val="black">
                <a:alpha val="20000"/>
              </a:prstClr>
            </a:outerShdw>
          </a:effectLst>
        </p:grpSpPr>
        <p:sp>
          <p:nvSpPr>
            <p:cNvPr id="137" name="Parallelogram 136"/>
            <p:cNvSpPr/>
            <p:nvPr/>
          </p:nvSpPr>
          <p:spPr>
            <a:xfrm flipH="1">
              <a:off x="3421617" y="3102270"/>
              <a:ext cx="988458" cy="1095124"/>
            </a:xfrm>
            <a:prstGeom prst="parallelogram">
              <a:avLst>
                <a:gd name="adj" fmla="val 27409"/>
              </a:avLst>
            </a:prstGeom>
            <a:solidFill>
              <a:schemeClr val="bg1"/>
            </a:solidFill>
            <a:ln>
              <a:no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grpSp>
          <p:nvGrpSpPr>
            <p:cNvPr id="138" name="Group 137"/>
            <p:cNvGrpSpPr/>
            <p:nvPr/>
          </p:nvGrpSpPr>
          <p:grpSpPr>
            <a:xfrm>
              <a:off x="3488531" y="3156897"/>
              <a:ext cx="685802" cy="307680"/>
              <a:chOff x="3505198" y="3156897"/>
              <a:chExt cx="588168" cy="307680"/>
            </a:xfrm>
          </p:grpSpPr>
          <p:sp>
            <p:nvSpPr>
              <p:cNvPr id="149" name="Parallelogram 148"/>
              <p:cNvSpPr/>
              <p:nvPr/>
            </p:nvSpPr>
            <p:spPr>
              <a:xfrm flipH="1">
                <a:off x="3505198" y="3156897"/>
                <a:ext cx="152401" cy="307680"/>
              </a:xfrm>
              <a:prstGeom prst="parallelogram">
                <a:avLst>
                  <a:gd name="adj" fmla="val 47819"/>
                </a:avLst>
              </a:prstGeom>
              <a:solidFill>
                <a:schemeClr val="bg1"/>
              </a:solidFill>
              <a:ln>
                <a:no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50" name="Parallelogram 149"/>
              <p:cNvSpPr/>
              <p:nvPr/>
            </p:nvSpPr>
            <p:spPr>
              <a:xfrm flipH="1">
                <a:off x="3650454" y="3156897"/>
                <a:ext cx="152401" cy="307680"/>
              </a:xfrm>
              <a:prstGeom prst="parallelogram">
                <a:avLst>
                  <a:gd name="adj" fmla="val 47819"/>
                </a:avLst>
              </a:prstGeom>
              <a:solidFill>
                <a:schemeClr val="bg1"/>
              </a:solidFill>
              <a:ln>
                <a:no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51" name="Parallelogram 150"/>
              <p:cNvSpPr/>
              <p:nvPr/>
            </p:nvSpPr>
            <p:spPr>
              <a:xfrm flipH="1">
                <a:off x="3795710" y="3156897"/>
                <a:ext cx="152401" cy="307680"/>
              </a:xfrm>
              <a:prstGeom prst="parallelogram">
                <a:avLst>
                  <a:gd name="adj" fmla="val 47819"/>
                </a:avLst>
              </a:prstGeom>
              <a:solidFill>
                <a:schemeClr val="bg1"/>
              </a:solidFill>
              <a:ln>
                <a:no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52" name="Parallelogram 151"/>
              <p:cNvSpPr/>
              <p:nvPr/>
            </p:nvSpPr>
            <p:spPr>
              <a:xfrm flipH="1">
                <a:off x="3940965" y="3156897"/>
                <a:ext cx="152401" cy="307680"/>
              </a:xfrm>
              <a:prstGeom prst="parallelogram">
                <a:avLst>
                  <a:gd name="adj" fmla="val 47819"/>
                </a:avLst>
              </a:prstGeom>
              <a:solidFill>
                <a:schemeClr val="bg1"/>
              </a:solidFill>
              <a:ln>
                <a:no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grpSp>
        <p:grpSp>
          <p:nvGrpSpPr>
            <p:cNvPr id="139" name="Group 138"/>
            <p:cNvGrpSpPr/>
            <p:nvPr/>
          </p:nvGrpSpPr>
          <p:grpSpPr>
            <a:xfrm>
              <a:off x="3581398" y="3508857"/>
              <a:ext cx="685802" cy="307680"/>
              <a:chOff x="3505198" y="3156897"/>
              <a:chExt cx="588168" cy="307680"/>
            </a:xfrm>
          </p:grpSpPr>
          <p:sp>
            <p:nvSpPr>
              <p:cNvPr id="145" name="Parallelogram 144"/>
              <p:cNvSpPr/>
              <p:nvPr/>
            </p:nvSpPr>
            <p:spPr>
              <a:xfrm flipH="1">
                <a:off x="3505198" y="3156897"/>
                <a:ext cx="152401" cy="307680"/>
              </a:xfrm>
              <a:prstGeom prst="parallelogram">
                <a:avLst>
                  <a:gd name="adj" fmla="val 47819"/>
                </a:avLst>
              </a:prstGeom>
              <a:solidFill>
                <a:schemeClr val="bg1"/>
              </a:solidFill>
              <a:ln>
                <a:no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46" name="Parallelogram 145"/>
              <p:cNvSpPr/>
              <p:nvPr/>
            </p:nvSpPr>
            <p:spPr>
              <a:xfrm flipH="1">
                <a:off x="3650454" y="3156897"/>
                <a:ext cx="152401" cy="307680"/>
              </a:xfrm>
              <a:prstGeom prst="parallelogram">
                <a:avLst>
                  <a:gd name="adj" fmla="val 47819"/>
                </a:avLst>
              </a:prstGeom>
              <a:solidFill>
                <a:schemeClr val="bg1"/>
              </a:solidFill>
              <a:ln>
                <a:no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47" name="Parallelogram 146"/>
              <p:cNvSpPr/>
              <p:nvPr/>
            </p:nvSpPr>
            <p:spPr>
              <a:xfrm flipH="1">
                <a:off x="3795710" y="3156897"/>
                <a:ext cx="152401" cy="307680"/>
              </a:xfrm>
              <a:prstGeom prst="parallelogram">
                <a:avLst>
                  <a:gd name="adj" fmla="val 47819"/>
                </a:avLst>
              </a:prstGeom>
              <a:solidFill>
                <a:schemeClr val="bg1"/>
              </a:solidFill>
              <a:ln>
                <a:no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48" name="Parallelogram 147"/>
              <p:cNvSpPr/>
              <p:nvPr/>
            </p:nvSpPr>
            <p:spPr>
              <a:xfrm flipH="1">
                <a:off x="3940965" y="3156897"/>
                <a:ext cx="152401" cy="307680"/>
              </a:xfrm>
              <a:prstGeom prst="parallelogram">
                <a:avLst>
                  <a:gd name="adj" fmla="val 47819"/>
                </a:avLst>
              </a:prstGeom>
              <a:solidFill>
                <a:schemeClr val="bg1"/>
              </a:solidFill>
              <a:ln>
                <a:no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grpSp>
        <p:grpSp>
          <p:nvGrpSpPr>
            <p:cNvPr id="140" name="Group 139"/>
            <p:cNvGrpSpPr/>
            <p:nvPr/>
          </p:nvGrpSpPr>
          <p:grpSpPr>
            <a:xfrm>
              <a:off x="3672838" y="3851910"/>
              <a:ext cx="685802" cy="307680"/>
              <a:chOff x="3505198" y="3156897"/>
              <a:chExt cx="588168" cy="307680"/>
            </a:xfrm>
          </p:grpSpPr>
          <p:sp>
            <p:nvSpPr>
              <p:cNvPr id="141" name="Parallelogram 140"/>
              <p:cNvSpPr/>
              <p:nvPr/>
            </p:nvSpPr>
            <p:spPr>
              <a:xfrm flipH="1">
                <a:off x="3505198" y="3156897"/>
                <a:ext cx="152401" cy="307680"/>
              </a:xfrm>
              <a:prstGeom prst="parallelogram">
                <a:avLst>
                  <a:gd name="adj" fmla="val 47819"/>
                </a:avLst>
              </a:prstGeom>
              <a:solidFill>
                <a:schemeClr val="bg1"/>
              </a:solidFill>
              <a:ln>
                <a:no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42" name="Parallelogram 141"/>
              <p:cNvSpPr/>
              <p:nvPr/>
            </p:nvSpPr>
            <p:spPr>
              <a:xfrm flipH="1">
                <a:off x="3650454" y="3156897"/>
                <a:ext cx="152401" cy="307680"/>
              </a:xfrm>
              <a:prstGeom prst="parallelogram">
                <a:avLst>
                  <a:gd name="adj" fmla="val 47819"/>
                </a:avLst>
              </a:prstGeom>
              <a:solidFill>
                <a:schemeClr val="bg1"/>
              </a:solidFill>
              <a:ln>
                <a:no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43" name="Parallelogram 142"/>
              <p:cNvSpPr/>
              <p:nvPr/>
            </p:nvSpPr>
            <p:spPr>
              <a:xfrm flipH="1">
                <a:off x="3795710" y="3156897"/>
                <a:ext cx="152401" cy="307680"/>
              </a:xfrm>
              <a:prstGeom prst="parallelogram">
                <a:avLst>
                  <a:gd name="adj" fmla="val 47819"/>
                </a:avLst>
              </a:prstGeom>
              <a:solidFill>
                <a:schemeClr val="bg1"/>
              </a:solidFill>
              <a:ln>
                <a:no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44" name="Parallelogram 143"/>
              <p:cNvSpPr/>
              <p:nvPr/>
            </p:nvSpPr>
            <p:spPr>
              <a:xfrm flipH="1">
                <a:off x="3940965" y="3156897"/>
                <a:ext cx="152401" cy="307680"/>
              </a:xfrm>
              <a:prstGeom prst="parallelogram">
                <a:avLst>
                  <a:gd name="adj" fmla="val 47819"/>
                </a:avLst>
              </a:prstGeom>
              <a:solidFill>
                <a:schemeClr val="bg1"/>
              </a:solidFill>
              <a:ln>
                <a:no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grpSp>
      </p:grpSp>
      <p:grpSp>
        <p:nvGrpSpPr>
          <p:cNvPr id="45" name="Group 44"/>
          <p:cNvGrpSpPr/>
          <p:nvPr/>
        </p:nvGrpSpPr>
        <p:grpSpPr>
          <a:xfrm>
            <a:off x="2118725" y="3511858"/>
            <a:ext cx="1017677" cy="1127495"/>
            <a:chOff x="3421617" y="3102270"/>
            <a:chExt cx="988458" cy="1095124"/>
          </a:xfrm>
          <a:effectLst>
            <a:outerShdw blurRad="76200" dir="13500000" sy="23000" kx="1200000" algn="br" rotWithShape="0">
              <a:prstClr val="black">
                <a:alpha val="20000"/>
              </a:prstClr>
            </a:outerShdw>
          </a:effectLst>
        </p:grpSpPr>
        <p:sp>
          <p:nvSpPr>
            <p:cNvPr id="46" name="Parallelogram 45"/>
            <p:cNvSpPr/>
            <p:nvPr/>
          </p:nvSpPr>
          <p:spPr>
            <a:xfrm flipH="1">
              <a:off x="3421617" y="3102270"/>
              <a:ext cx="988458" cy="1095124"/>
            </a:xfrm>
            <a:prstGeom prst="parallelogram">
              <a:avLst>
                <a:gd name="adj" fmla="val 27409"/>
              </a:avLst>
            </a:prstGeom>
            <a:solidFill>
              <a:schemeClr val="bg1"/>
            </a:solidFill>
            <a:ln>
              <a:no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grpSp>
          <p:nvGrpSpPr>
            <p:cNvPr id="47" name="Group 46"/>
            <p:cNvGrpSpPr/>
            <p:nvPr/>
          </p:nvGrpSpPr>
          <p:grpSpPr>
            <a:xfrm>
              <a:off x="3488531" y="3156897"/>
              <a:ext cx="685802" cy="307680"/>
              <a:chOff x="3505198" y="3156897"/>
              <a:chExt cx="588168" cy="307680"/>
            </a:xfrm>
          </p:grpSpPr>
          <p:sp>
            <p:nvSpPr>
              <p:cNvPr id="58" name="Parallelogram 57"/>
              <p:cNvSpPr/>
              <p:nvPr/>
            </p:nvSpPr>
            <p:spPr>
              <a:xfrm flipH="1">
                <a:off x="3505198" y="3156897"/>
                <a:ext cx="152401" cy="307680"/>
              </a:xfrm>
              <a:prstGeom prst="parallelogram">
                <a:avLst>
                  <a:gd name="adj" fmla="val 47819"/>
                </a:avLst>
              </a:prstGeom>
              <a:solidFill>
                <a:schemeClr val="bg1"/>
              </a:solidFill>
              <a:ln>
                <a:no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59" name="Parallelogram 58"/>
              <p:cNvSpPr/>
              <p:nvPr/>
            </p:nvSpPr>
            <p:spPr>
              <a:xfrm flipH="1">
                <a:off x="3650454" y="3156897"/>
                <a:ext cx="152401" cy="307680"/>
              </a:xfrm>
              <a:prstGeom prst="parallelogram">
                <a:avLst>
                  <a:gd name="adj" fmla="val 47819"/>
                </a:avLst>
              </a:prstGeom>
              <a:solidFill>
                <a:schemeClr val="bg1"/>
              </a:solidFill>
              <a:ln>
                <a:no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60" name="Parallelogram 59"/>
              <p:cNvSpPr/>
              <p:nvPr/>
            </p:nvSpPr>
            <p:spPr>
              <a:xfrm flipH="1">
                <a:off x="3795710" y="3156897"/>
                <a:ext cx="152401" cy="307680"/>
              </a:xfrm>
              <a:prstGeom prst="parallelogram">
                <a:avLst>
                  <a:gd name="adj" fmla="val 47819"/>
                </a:avLst>
              </a:prstGeom>
              <a:solidFill>
                <a:schemeClr val="bg1"/>
              </a:solidFill>
              <a:ln>
                <a:no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61" name="Parallelogram 60"/>
              <p:cNvSpPr/>
              <p:nvPr/>
            </p:nvSpPr>
            <p:spPr>
              <a:xfrm flipH="1">
                <a:off x="3940965" y="3156897"/>
                <a:ext cx="152401" cy="307680"/>
              </a:xfrm>
              <a:prstGeom prst="parallelogram">
                <a:avLst>
                  <a:gd name="adj" fmla="val 47819"/>
                </a:avLst>
              </a:prstGeom>
              <a:solidFill>
                <a:schemeClr val="bg1"/>
              </a:solidFill>
              <a:ln>
                <a:no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grpSp>
        <p:grpSp>
          <p:nvGrpSpPr>
            <p:cNvPr id="48" name="Group 47"/>
            <p:cNvGrpSpPr/>
            <p:nvPr/>
          </p:nvGrpSpPr>
          <p:grpSpPr>
            <a:xfrm>
              <a:off x="3581398" y="3508857"/>
              <a:ext cx="685802" cy="307680"/>
              <a:chOff x="3505198" y="3156897"/>
              <a:chExt cx="588168" cy="307680"/>
            </a:xfrm>
          </p:grpSpPr>
          <p:sp>
            <p:nvSpPr>
              <p:cNvPr id="54" name="Parallelogram 53"/>
              <p:cNvSpPr/>
              <p:nvPr/>
            </p:nvSpPr>
            <p:spPr>
              <a:xfrm flipH="1">
                <a:off x="3505198" y="3156897"/>
                <a:ext cx="152401" cy="307680"/>
              </a:xfrm>
              <a:prstGeom prst="parallelogram">
                <a:avLst>
                  <a:gd name="adj" fmla="val 47819"/>
                </a:avLst>
              </a:prstGeom>
              <a:solidFill>
                <a:schemeClr val="bg1"/>
              </a:solidFill>
              <a:ln>
                <a:no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55" name="Parallelogram 54"/>
              <p:cNvSpPr/>
              <p:nvPr/>
            </p:nvSpPr>
            <p:spPr>
              <a:xfrm flipH="1">
                <a:off x="3650454" y="3156897"/>
                <a:ext cx="152401" cy="307680"/>
              </a:xfrm>
              <a:prstGeom prst="parallelogram">
                <a:avLst>
                  <a:gd name="adj" fmla="val 47819"/>
                </a:avLst>
              </a:prstGeom>
              <a:solidFill>
                <a:schemeClr val="bg1"/>
              </a:solidFill>
              <a:ln>
                <a:no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56" name="Parallelogram 55"/>
              <p:cNvSpPr/>
              <p:nvPr/>
            </p:nvSpPr>
            <p:spPr>
              <a:xfrm flipH="1">
                <a:off x="3795710" y="3156897"/>
                <a:ext cx="152401" cy="307680"/>
              </a:xfrm>
              <a:prstGeom prst="parallelogram">
                <a:avLst>
                  <a:gd name="adj" fmla="val 47819"/>
                </a:avLst>
              </a:prstGeom>
              <a:solidFill>
                <a:schemeClr val="bg1"/>
              </a:solidFill>
              <a:ln>
                <a:no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57" name="Parallelogram 56"/>
              <p:cNvSpPr/>
              <p:nvPr/>
            </p:nvSpPr>
            <p:spPr>
              <a:xfrm flipH="1">
                <a:off x="3940965" y="3156897"/>
                <a:ext cx="152401" cy="307680"/>
              </a:xfrm>
              <a:prstGeom prst="parallelogram">
                <a:avLst>
                  <a:gd name="adj" fmla="val 47819"/>
                </a:avLst>
              </a:prstGeom>
              <a:solidFill>
                <a:schemeClr val="bg1"/>
              </a:solidFill>
              <a:ln>
                <a:no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grpSp>
        <p:grpSp>
          <p:nvGrpSpPr>
            <p:cNvPr id="49" name="Group 48"/>
            <p:cNvGrpSpPr/>
            <p:nvPr/>
          </p:nvGrpSpPr>
          <p:grpSpPr>
            <a:xfrm>
              <a:off x="3672838" y="3851910"/>
              <a:ext cx="685802" cy="307680"/>
              <a:chOff x="3505198" y="3156897"/>
              <a:chExt cx="588168" cy="307680"/>
            </a:xfrm>
          </p:grpSpPr>
          <p:sp>
            <p:nvSpPr>
              <p:cNvPr id="50" name="Parallelogram 49"/>
              <p:cNvSpPr/>
              <p:nvPr/>
            </p:nvSpPr>
            <p:spPr>
              <a:xfrm flipH="1">
                <a:off x="3505198" y="3156897"/>
                <a:ext cx="152401" cy="307680"/>
              </a:xfrm>
              <a:prstGeom prst="parallelogram">
                <a:avLst>
                  <a:gd name="adj" fmla="val 47819"/>
                </a:avLst>
              </a:prstGeom>
              <a:solidFill>
                <a:schemeClr val="bg1"/>
              </a:solidFill>
              <a:ln>
                <a:no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51" name="Parallelogram 50"/>
              <p:cNvSpPr/>
              <p:nvPr/>
            </p:nvSpPr>
            <p:spPr>
              <a:xfrm flipH="1">
                <a:off x="3650454" y="3156897"/>
                <a:ext cx="152401" cy="307680"/>
              </a:xfrm>
              <a:prstGeom prst="parallelogram">
                <a:avLst>
                  <a:gd name="adj" fmla="val 47819"/>
                </a:avLst>
              </a:prstGeom>
              <a:solidFill>
                <a:schemeClr val="bg1"/>
              </a:solidFill>
              <a:ln>
                <a:no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52" name="Parallelogram 51"/>
              <p:cNvSpPr/>
              <p:nvPr/>
            </p:nvSpPr>
            <p:spPr>
              <a:xfrm flipH="1">
                <a:off x="3795710" y="3156897"/>
                <a:ext cx="152401" cy="307680"/>
              </a:xfrm>
              <a:prstGeom prst="parallelogram">
                <a:avLst>
                  <a:gd name="adj" fmla="val 47819"/>
                </a:avLst>
              </a:prstGeom>
              <a:solidFill>
                <a:schemeClr val="bg1"/>
              </a:solidFill>
              <a:ln>
                <a:no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53" name="Parallelogram 52"/>
              <p:cNvSpPr/>
              <p:nvPr/>
            </p:nvSpPr>
            <p:spPr>
              <a:xfrm flipH="1">
                <a:off x="3940965" y="3156897"/>
                <a:ext cx="152401" cy="307680"/>
              </a:xfrm>
              <a:prstGeom prst="parallelogram">
                <a:avLst>
                  <a:gd name="adj" fmla="val 47819"/>
                </a:avLst>
              </a:prstGeom>
              <a:solidFill>
                <a:schemeClr val="bg1"/>
              </a:solidFill>
              <a:ln>
                <a:no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grpSp>
      </p:grpSp>
    </p:spTree>
    <p:extLst>
      <p:ext uri="{BB962C8B-B14F-4D97-AF65-F5344CB8AC3E}">
        <p14:creationId xmlns:p14="http://schemas.microsoft.com/office/powerpoint/2010/main" val="3853941202"/>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4" fill="hold" grpId="0" nodeType="clickEffect">
                                  <p:stCondLst>
                                    <p:cond delay="0"/>
                                  </p:stCondLst>
                                  <p:childTnLst>
                                    <p:set>
                                      <p:cBhvr>
                                        <p:cTn id="6" dur="1" fill="hold">
                                          <p:stCondLst>
                                            <p:cond delay="0"/>
                                          </p:stCondLst>
                                        </p:cTn>
                                        <p:tgtEl>
                                          <p:spTgt spid="96"/>
                                        </p:tgtEl>
                                        <p:attrNameLst>
                                          <p:attrName>style.visibility</p:attrName>
                                        </p:attrNameLst>
                                      </p:cBhvr>
                                      <p:to>
                                        <p:strVal val="visible"/>
                                      </p:to>
                                    </p:set>
                                    <p:animEffect transition="in" filter="wipe(down)">
                                      <p:cBhvr>
                                        <p:cTn id="7" dur="500"/>
                                        <p:tgtEl>
                                          <p:spTgt spid="96"/>
                                        </p:tgtEl>
                                      </p:cBhvr>
                                    </p:animEffect>
                                  </p:childTnLst>
                                </p:cTn>
                              </p:par>
                              <p:par>
                                <p:cTn id="8" presetID="22" presetClass="entr" presetSubtype="8" fill="hold" nodeType="withEffect">
                                  <p:stCondLst>
                                    <p:cond delay="500"/>
                                  </p:stCondLst>
                                  <p:childTnLst>
                                    <p:set>
                                      <p:cBhvr>
                                        <p:cTn id="9" dur="1" fill="hold">
                                          <p:stCondLst>
                                            <p:cond delay="0"/>
                                          </p:stCondLst>
                                        </p:cTn>
                                        <p:tgtEl>
                                          <p:spTgt spid="97"/>
                                        </p:tgtEl>
                                        <p:attrNameLst>
                                          <p:attrName>style.visibility</p:attrName>
                                        </p:attrNameLst>
                                      </p:cBhvr>
                                      <p:to>
                                        <p:strVal val="visible"/>
                                      </p:to>
                                    </p:set>
                                    <p:animEffect transition="in" filter="wipe(left)">
                                      <p:cBhvr>
                                        <p:cTn id="10" dur="500"/>
                                        <p:tgtEl>
                                          <p:spTgt spid="97"/>
                                        </p:tgtEl>
                                      </p:cBhvr>
                                    </p:animEffect>
                                  </p:childTnLst>
                                </p:cTn>
                              </p:par>
                              <p:par>
                                <p:cTn id="11" presetID="22" presetClass="entr" presetSubtype="4" fill="hold" nodeType="withEffect">
                                  <p:stCondLst>
                                    <p:cond delay="500"/>
                                  </p:stCondLst>
                                  <p:childTnLst>
                                    <p:set>
                                      <p:cBhvr>
                                        <p:cTn id="12" dur="1" fill="hold">
                                          <p:stCondLst>
                                            <p:cond delay="0"/>
                                          </p:stCondLst>
                                        </p:cTn>
                                        <p:tgtEl>
                                          <p:spTgt spid="8"/>
                                        </p:tgtEl>
                                        <p:attrNameLst>
                                          <p:attrName>style.visibility</p:attrName>
                                        </p:attrNameLst>
                                      </p:cBhvr>
                                      <p:to>
                                        <p:strVal val="visible"/>
                                      </p:to>
                                    </p:set>
                                    <p:animEffect transition="in" filter="wipe(down)">
                                      <p:cBhvr>
                                        <p:cTn id="13" dur="500"/>
                                        <p:tgtEl>
                                          <p:spTgt spid="8"/>
                                        </p:tgtEl>
                                      </p:cBhvr>
                                    </p:animEffect>
                                  </p:childTnLst>
                                </p:cTn>
                              </p:par>
                              <p:par>
                                <p:cTn id="14" presetID="22" presetClass="entr" presetSubtype="2" fill="hold" nodeType="withEffect">
                                  <p:stCondLst>
                                    <p:cond delay="500"/>
                                  </p:stCondLst>
                                  <p:childTnLst>
                                    <p:set>
                                      <p:cBhvr>
                                        <p:cTn id="15" dur="1" fill="hold">
                                          <p:stCondLst>
                                            <p:cond delay="0"/>
                                          </p:stCondLst>
                                        </p:cTn>
                                        <p:tgtEl>
                                          <p:spTgt spid="101"/>
                                        </p:tgtEl>
                                        <p:attrNameLst>
                                          <p:attrName>style.visibility</p:attrName>
                                        </p:attrNameLst>
                                      </p:cBhvr>
                                      <p:to>
                                        <p:strVal val="visible"/>
                                      </p:to>
                                    </p:set>
                                    <p:animEffect transition="in" filter="wipe(right)">
                                      <p:cBhvr>
                                        <p:cTn id="16" dur="500"/>
                                        <p:tgtEl>
                                          <p:spTgt spid="101"/>
                                        </p:tgtEl>
                                      </p:cBhvr>
                                    </p:animEffect>
                                  </p:childTnLst>
                                </p:cTn>
                              </p:par>
                            </p:childTnLst>
                          </p:cTn>
                        </p:par>
                        <p:par>
                          <p:cTn id="17" fill="hold">
                            <p:stCondLst>
                              <p:cond delay="1000"/>
                            </p:stCondLst>
                            <p:childTnLst>
                              <p:par>
                                <p:cTn id="18" presetID="22" presetClass="entr" presetSubtype="8" fill="hold" grpId="0" nodeType="afterEffect">
                                  <p:stCondLst>
                                    <p:cond delay="0"/>
                                  </p:stCondLst>
                                  <p:childTnLst>
                                    <p:set>
                                      <p:cBhvr>
                                        <p:cTn id="19" dur="1" fill="hold">
                                          <p:stCondLst>
                                            <p:cond delay="0"/>
                                          </p:stCondLst>
                                        </p:cTn>
                                        <p:tgtEl>
                                          <p:spTgt spid="134"/>
                                        </p:tgtEl>
                                        <p:attrNameLst>
                                          <p:attrName>style.visibility</p:attrName>
                                        </p:attrNameLst>
                                      </p:cBhvr>
                                      <p:to>
                                        <p:strVal val="visible"/>
                                      </p:to>
                                    </p:set>
                                    <p:animEffect transition="in" filter="wipe(left)">
                                      <p:cBhvr>
                                        <p:cTn id="20" dur="500"/>
                                        <p:tgtEl>
                                          <p:spTgt spid="13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6" grpId="0" animBg="1"/>
      <p:bldP spid="134" grpId="0" animBg="1"/>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ext uri="{D42A27DB-BD31-4B8C-83A1-F6EECF244321}">
                <p14:modId xmlns:p14="http://schemas.microsoft.com/office/powerpoint/2010/main" val="40746470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0733"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21" name="Picture 20"/>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2742194" y="2588220"/>
            <a:ext cx="6401806" cy="1583730"/>
          </a:xfrm>
          <a:prstGeom prst="rect">
            <a:avLst/>
          </a:prstGeom>
          <a:effectLst/>
        </p:spPr>
      </p:pic>
      <p:pic>
        <p:nvPicPr>
          <p:cNvPr id="4" name="Picture 3"/>
          <p:cNvPicPr>
            <a:picLocks noChangeAspect="1"/>
          </p:cNvPicPr>
          <p:nvPr/>
        </p:nvPicPr>
        <p:blipFill rotWithShape="1">
          <a:blip r:embed="rId8" cstate="print">
            <a:extLst>
              <a:ext uri="{28A0092B-C50C-407E-A947-70E740481C1C}">
                <a14:useLocalDpi xmlns:a14="http://schemas.microsoft.com/office/drawing/2010/main" val="0"/>
              </a:ext>
            </a:extLst>
          </a:blip>
          <a:srcRect l="7910" r="3845" b="31431"/>
          <a:stretch/>
        </p:blipFill>
        <p:spPr>
          <a:xfrm>
            <a:off x="3276600" y="895350"/>
            <a:ext cx="5608322" cy="3183929"/>
          </a:xfrm>
          <a:prstGeom prst="rect">
            <a:avLst/>
          </a:prstGeom>
        </p:spPr>
      </p:pic>
      <p:grpSp>
        <p:nvGrpSpPr>
          <p:cNvPr id="2" name="Group 1"/>
          <p:cNvGrpSpPr/>
          <p:nvPr/>
        </p:nvGrpSpPr>
        <p:grpSpPr>
          <a:xfrm>
            <a:off x="-12700" y="514350"/>
            <a:ext cx="2908300" cy="3949688"/>
            <a:chOff x="559628" y="-35447"/>
            <a:chExt cx="3097972" cy="4207277"/>
          </a:xfrm>
        </p:grpSpPr>
        <p:pic>
          <p:nvPicPr>
            <p:cNvPr id="14" name="Picture 13"/>
            <p:cNvPicPr>
              <a:picLocks noChangeAspect="1"/>
            </p:cNvPicPr>
            <p:nvPr/>
          </p:nvPicPr>
          <p:blipFill>
            <a:blip r:embed="rId9" cstate="print">
              <a:biLevel thresh="75000"/>
              <a:extLst>
                <a:ext uri="{28A0092B-C50C-407E-A947-70E740481C1C}">
                  <a14:useLocalDpi xmlns:a14="http://schemas.microsoft.com/office/drawing/2010/main" val="0"/>
                </a:ext>
              </a:extLst>
            </a:blip>
            <a:stretch>
              <a:fillRect/>
            </a:stretch>
          </p:blipFill>
          <p:spPr>
            <a:xfrm>
              <a:off x="2742194" y="2712162"/>
              <a:ext cx="915406" cy="1459668"/>
            </a:xfrm>
            <a:prstGeom prst="rect">
              <a:avLst/>
            </a:prstGeom>
          </p:spPr>
        </p:pic>
        <p:pic>
          <p:nvPicPr>
            <p:cNvPr id="15" name="Picture 14"/>
            <p:cNvPicPr>
              <a:picLocks noChangeAspect="1"/>
            </p:cNvPicPr>
            <p:nvPr/>
          </p:nvPicPr>
          <p:blipFill rotWithShape="1">
            <a:blip r:embed="rId10" cstate="print">
              <a:biLevel thresh="75000"/>
              <a:extLst>
                <a:ext uri="{28A0092B-C50C-407E-A947-70E740481C1C}">
                  <a14:useLocalDpi xmlns:a14="http://schemas.microsoft.com/office/drawing/2010/main" val="0"/>
                </a:ext>
              </a:extLst>
            </a:blip>
            <a:srcRect l="14248"/>
            <a:stretch/>
          </p:blipFill>
          <p:spPr>
            <a:xfrm>
              <a:off x="559628" y="-35447"/>
              <a:ext cx="1872605" cy="3482127"/>
            </a:xfrm>
            <a:prstGeom prst="rect">
              <a:avLst/>
            </a:prstGeom>
          </p:spPr>
        </p:pic>
        <p:pic>
          <p:nvPicPr>
            <p:cNvPr id="16" name="Picture 15"/>
            <p:cNvPicPr>
              <a:picLocks noChangeAspect="1"/>
            </p:cNvPicPr>
            <p:nvPr/>
          </p:nvPicPr>
          <p:blipFill>
            <a:blip r:embed="rId11" cstate="print">
              <a:biLevel thresh="75000"/>
              <a:extLst>
                <a:ext uri="{28A0092B-C50C-407E-A947-70E740481C1C}">
                  <a14:useLocalDpi xmlns:a14="http://schemas.microsoft.com/office/drawing/2010/main" val="0"/>
                </a:ext>
              </a:extLst>
            </a:blip>
            <a:stretch>
              <a:fillRect/>
            </a:stretch>
          </p:blipFill>
          <p:spPr>
            <a:xfrm>
              <a:off x="1676400" y="1593450"/>
              <a:ext cx="1481171" cy="2361813"/>
            </a:xfrm>
            <a:prstGeom prst="rect">
              <a:avLst/>
            </a:prstGeom>
          </p:spPr>
        </p:pic>
      </p:grpSp>
      <p:pic>
        <p:nvPicPr>
          <p:cNvPr id="20" name="Picture 19"/>
          <p:cNvPicPr>
            <a:picLocks noChangeAspect="1"/>
          </p:cNvPicPr>
          <p:nvPr/>
        </p:nvPicPr>
        <p:blipFill rotWithShape="1">
          <a:blip r:embed="rId12" cstate="print">
            <a:extLst>
              <a:ext uri="{28A0092B-C50C-407E-A947-70E740481C1C}">
                <a14:useLocalDpi xmlns:a14="http://schemas.microsoft.com/office/drawing/2010/main" val="0"/>
              </a:ext>
            </a:extLst>
          </a:blip>
          <a:srcRect b="33926"/>
          <a:stretch/>
        </p:blipFill>
        <p:spPr>
          <a:xfrm>
            <a:off x="1447800" y="1298518"/>
            <a:ext cx="7696200" cy="2873432"/>
          </a:xfrm>
          <a:prstGeom prst="rect">
            <a:avLst/>
          </a:prstGeom>
        </p:spPr>
      </p:pic>
      <p:sp>
        <p:nvSpPr>
          <p:cNvPr id="9" name="Sun 8"/>
          <p:cNvSpPr/>
          <p:nvPr/>
        </p:nvSpPr>
        <p:spPr>
          <a:xfrm>
            <a:off x="6400800" y="133350"/>
            <a:ext cx="1219200" cy="1219200"/>
          </a:xfrm>
          <a:prstGeom prst="sun">
            <a:avLst>
              <a:gd name="adj" fmla="val 32500"/>
            </a:avLst>
          </a:prstGeom>
          <a:solidFill>
            <a:srgbClr val="FFFF0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0" name="Cloud 9"/>
          <p:cNvSpPr/>
          <p:nvPr/>
        </p:nvSpPr>
        <p:spPr>
          <a:xfrm>
            <a:off x="5410200" y="742950"/>
            <a:ext cx="1447800" cy="914400"/>
          </a:xfrm>
          <a:prstGeom prst="cloud">
            <a:avLst/>
          </a:prstGeom>
          <a:solidFill>
            <a:schemeClr val="bg1"/>
          </a:solidFill>
          <a:ln>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Freeform 7"/>
          <p:cNvSpPr/>
          <p:nvPr/>
        </p:nvSpPr>
        <p:spPr>
          <a:xfrm flipH="1">
            <a:off x="-12700" y="3505200"/>
            <a:ext cx="9169400" cy="1651000"/>
          </a:xfrm>
          <a:custGeom>
            <a:avLst/>
            <a:gdLst>
              <a:gd name="connsiteX0" fmla="*/ 12700 w 9169400"/>
              <a:gd name="connsiteY0" fmla="*/ 571500 h 1651000"/>
              <a:gd name="connsiteX1" fmla="*/ 622300 w 9169400"/>
              <a:gd name="connsiteY1" fmla="*/ 431800 h 1651000"/>
              <a:gd name="connsiteX2" fmla="*/ 1143000 w 9169400"/>
              <a:gd name="connsiteY2" fmla="*/ 279400 h 1651000"/>
              <a:gd name="connsiteX3" fmla="*/ 1701800 w 9169400"/>
              <a:gd name="connsiteY3" fmla="*/ 228600 h 1651000"/>
              <a:gd name="connsiteX4" fmla="*/ 2794000 w 9169400"/>
              <a:gd name="connsiteY4" fmla="*/ 355600 h 1651000"/>
              <a:gd name="connsiteX5" fmla="*/ 3873500 w 9169400"/>
              <a:gd name="connsiteY5" fmla="*/ 469900 h 1651000"/>
              <a:gd name="connsiteX6" fmla="*/ 5067300 w 9169400"/>
              <a:gd name="connsiteY6" fmla="*/ 622300 h 1651000"/>
              <a:gd name="connsiteX7" fmla="*/ 6261100 w 9169400"/>
              <a:gd name="connsiteY7" fmla="*/ 558800 h 1651000"/>
              <a:gd name="connsiteX8" fmla="*/ 7086600 w 9169400"/>
              <a:gd name="connsiteY8" fmla="*/ 177800 h 1651000"/>
              <a:gd name="connsiteX9" fmla="*/ 9156700 w 9169400"/>
              <a:gd name="connsiteY9" fmla="*/ 0 h 1651000"/>
              <a:gd name="connsiteX10" fmla="*/ 9169400 w 9169400"/>
              <a:gd name="connsiteY10" fmla="*/ 1651000 h 1651000"/>
              <a:gd name="connsiteX11" fmla="*/ 0 w 9169400"/>
              <a:gd name="connsiteY11" fmla="*/ 1651000 h 1651000"/>
              <a:gd name="connsiteX12" fmla="*/ 12700 w 9169400"/>
              <a:gd name="connsiteY12" fmla="*/ 571500 h 1651000"/>
              <a:gd name="connsiteX0" fmla="*/ 12700 w 9169400"/>
              <a:gd name="connsiteY0" fmla="*/ 571500 h 1651000"/>
              <a:gd name="connsiteX1" fmla="*/ 622300 w 9169400"/>
              <a:gd name="connsiteY1" fmla="*/ 431800 h 1651000"/>
              <a:gd name="connsiteX2" fmla="*/ 1143000 w 9169400"/>
              <a:gd name="connsiteY2" fmla="*/ 279400 h 1651000"/>
              <a:gd name="connsiteX3" fmla="*/ 1701800 w 9169400"/>
              <a:gd name="connsiteY3" fmla="*/ 228600 h 1651000"/>
              <a:gd name="connsiteX4" fmla="*/ 2794000 w 9169400"/>
              <a:gd name="connsiteY4" fmla="*/ 355600 h 1651000"/>
              <a:gd name="connsiteX5" fmla="*/ 3873500 w 9169400"/>
              <a:gd name="connsiteY5" fmla="*/ 469900 h 1651000"/>
              <a:gd name="connsiteX6" fmla="*/ 5067300 w 9169400"/>
              <a:gd name="connsiteY6" fmla="*/ 622300 h 1651000"/>
              <a:gd name="connsiteX7" fmla="*/ 6261100 w 9169400"/>
              <a:gd name="connsiteY7" fmla="*/ 558800 h 1651000"/>
              <a:gd name="connsiteX8" fmla="*/ 7086600 w 9169400"/>
              <a:gd name="connsiteY8" fmla="*/ 177800 h 1651000"/>
              <a:gd name="connsiteX9" fmla="*/ 9156700 w 9169400"/>
              <a:gd name="connsiteY9" fmla="*/ 0 h 1651000"/>
              <a:gd name="connsiteX10" fmla="*/ 9169400 w 9169400"/>
              <a:gd name="connsiteY10" fmla="*/ 1651000 h 1651000"/>
              <a:gd name="connsiteX11" fmla="*/ 0 w 9169400"/>
              <a:gd name="connsiteY11" fmla="*/ 1651000 h 1651000"/>
              <a:gd name="connsiteX12" fmla="*/ 12700 w 9169400"/>
              <a:gd name="connsiteY12" fmla="*/ 571500 h 1651000"/>
              <a:gd name="connsiteX0" fmla="*/ 12700 w 9169400"/>
              <a:gd name="connsiteY0" fmla="*/ 571500 h 1651000"/>
              <a:gd name="connsiteX1" fmla="*/ 622300 w 9169400"/>
              <a:gd name="connsiteY1" fmla="*/ 431800 h 1651000"/>
              <a:gd name="connsiteX2" fmla="*/ 1143000 w 9169400"/>
              <a:gd name="connsiteY2" fmla="*/ 279400 h 1651000"/>
              <a:gd name="connsiteX3" fmla="*/ 1701800 w 9169400"/>
              <a:gd name="connsiteY3" fmla="*/ 228600 h 1651000"/>
              <a:gd name="connsiteX4" fmla="*/ 2794000 w 9169400"/>
              <a:gd name="connsiteY4" fmla="*/ 355600 h 1651000"/>
              <a:gd name="connsiteX5" fmla="*/ 3873500 w 9169400"/>
              <a:gd name="connsiteY5" fmla="*/ 469900 h 1651000"/>
              <a:gd name="connsiteX6" fmla="*/ 5067300 w 9169400"/>
              <a:gd name="connsiteY6" fmla="*/ 622300 h 1651000"/>
              <a:gd name="connsiteX7" fmla="*/ 6261100 w 9169400"/>
              <a:gd name="connsiteY7" fmla="*/ 558800 h 1651000"/>
              <a:gd name="connsiteX8" fmla="*/ 7086600 w 9169400"/>
              <a:gd name="connsiteY8" fmla="*/ 177800 h 1651000"/>
              <a:gd name="connsiteX9" fmla="*/ 9156700 w 9169400"/>
              <a:gd name="connsiteY9" fmla="*/ 0 h 1651000"/>
              <a:gd name="connsiteX10" fmla="*/ 9169400 w 9169400"/>
              <a:gd name="connsiteY10" fmla="*/ 1651000 h 1651000"/>
              <a:gd name="connsiteX11" fmla="*/ 0 w 9169400"/>
              <a:gd name="connsiteY11" fmla="*/ 1651000 h 1651000"/>
              <a:gd name="connsiteX12" fmla="*/ 12700 w 9169400"/>
              <a:gd name="connsiteY12" fmla="*/ 571500 h 1651000"/>
              <a:gd name="connsiteX0" fmla="*/ 12700 w 9169400"/>
              <a:gd name="connsiteY0" fmla="*/ 571500 h 1651000"/>
              <a:gd name="connsiteX1" fmla="*/ 622300 w 9169400"/>
              <a:gd name="connsiteY1" fmla="*/ 431800 h 1651000"/>
              <a:gd name="connsiteX2" fmla="*/ 1143000 w 9169400"/>
              <a:gd name="connsiteY2" fmla="*/ 279400 h 1651000"/>
              <a:gd name="connsiteX3" fmla="*/ 1701800 w 9169400"/>
              <a:gd name="connsiteY3" fmla="*/ 228600 h 1651000"/>
              <a:gd name="connsiteX4" fmla="*/ 2794000 w 9169400"/>
              <a:gd name="connsiteY4" fmla="*/ 355600 h 1651000"/>
              <a:gd name="connsiteX5" fmla="*/ 3873500 w 9169400"/>
              <a:gd name="connsiteY5" fmla="*/ 469900 h 1651000"/>
              <a:gd name="connsiteX6" fmla="*/ 5067300 w 9169400"/>
              <a:gd name="connsiteY6" fmla="*/ 622300 h 1651000"/>
              <a:gd name="connsiteX7" fmla="*/ 6261100 w 9169400"/>
              <a:gd name="connsiteY7" fmla="*/ 558800 h 1651000"/>
              <a:gd name="connsiteX8" fmla="*/ 7086600 w 9169400"/>
              <a:gd name="connsiteY8" fmla="*/ 177800 h 1651000"/>
              <a:gd name="connsiteX9" fmla="*/ 9156700 w 9169400"/>
              <a:gd name="connsiteY9" fmla="*/ 0 h 1651000"/>
              <a:gd name="connsiteX10" fmla="*/ 9169400 w 9169400"/>
              <a:gd name="connsiteY10" fmla="*/ 1651000 h 1651000"/>
              <a:gd name="connsiteX11" fmla="*/ 0 w 9169400"/>
              <a:gd name="connsiteY11" fmla="*/ 1651000 h 1651000"/>
              <a:gd name="connsiteX12" fmla="*/ 12700 w 9169400"/>
              <a:gd name="connsiteY12" fmla="*/ 571500 h 1651000"/>
              <a:gd name="connsiteX0" fmla="*/ 12700 w 9169400"/>
              <a:gd name="connsiteY0" fmla="*/ 571500 h 1651000"/>
              <a:gd name="connsiteX1" fmla="*/ 622300 w 9169400"/>
              <a:gd name="connsiteY1" fmla="*/ 431800 h 1651000"/>
              <a:gd name="connsiteX2" fmla="*/ 1143000 w 9169400"/>
              <a:gd name="connsiteY2" fmla="*/ 279400 h 1651000"/>
              <a:gd name="connsiteX3" fmla="*/ 1701800 w 9169400"/>
              <a:gd name="connsiteY3" fmla="*/ 228600 h 1651000"/>
              <a:gd name="connsiteX4" fmla="*/ 2794000 w 9169400"/>
              <a:gd name="connsiteY4" fmla="*/ 355600 h 1651000"/>
              <a:gd name="connsiteX5" fmla="*/ 3873500 w 9169400"/>
              <a:gd name="connsiteY5" fmla="*/ 469900 h 1651000"/>
              <a:gd name="connsiteX6" fmla="*/ 5067300 w 9169400"/>
              <a:gd name="connsiteY6" fmla="*/ 622300 h 1651000"/>
              <a:gd name="connsiteX7" fmla="*/ 6261100 w 9169400"/>
              <a:gd name="connsiteY7" fmla="*/ 558800 h 1651000"/>
              <a:gd name="connsiteX8" fmla="*/ 7086600 w 9169400"/>
              <a:gd name="connsiteY8" fmla="*/ 177800 h 1651000"/>
              <a:gd name="connsiteX9" fmla="*/ 9156700 w 9169400"/>
              <a:gd name="connsiteY9" fmla="*/ 0 h 1651000"/>
              <a:gd name="connsiteX10" fmla="*/ 9169400 w 9169400"/>
              <a:gd name="connsiteY10" fmla="*/ 1651000 h 1651000"/>
              <a:gd name="connsiteX11" fmla="*/ 0 w 9169400"/>
              <a:gd name="connsiteY11" fmla="*/ 1651000 h 1651000"/>
              <a:gd name="connsiteX12" fmla="*/ 12700 w 9169400"/>
              <a:gd name="connsiteY12" fmla="*/ 571500 h 1651000"/>
              <a:gd name="connsiteX0" fmla="*/ 12700 w 9169400"/>
              <a:gd name="connsiteY0" fmla="*/ 571500 h 1651000"/>
              <a:gd name="connsiteX1" fmla="*/ 622300 w 9169400"/>
              <a:gd name="connsiteY1" fmla="*/ 431800 h 1651000"/>
              <a:gd name="connsiteX2" fmla="*/ 1143000 w 9169400"/>
              <a:gd name="connsiteY2" fmla="*/ 279400 h 1651000"/>
              <a:gd name="connsiteX3" fmla="*/ 1701800 w 9169400"/>
              <a:gd name="connsiteY3" fmla="*/ 228600 h 1651000"/>
              <a:gd name="connsiteX4" fmla="*/ 2794000 w 9169400"/>
              <a:gd name="connsiteY4" fmla="*/ 355600 h 1651000"/>
              <a:gd name="connsiteX5" fmla="*/ 3873500 w 9169400"/>
              <a:gd name="connsiteY5" fmla="*/ 469900 h 1651000"/>
              <a:gd name="connsiteX6" fmla="*/ 5067300 w 9169400"/>
              <a:gd name="connsiteY6" fmla="*/ 622300 h 1651000"/>
              <a:gd name="connsiteX7" fmla="*/ 6261100 w 9169400"/>
              <a:gd name="connsiteY7" fmla="*/ 558800 h 1651000"/>
              <a:gd name="connsiteX8" fmla="*/ 7086600 w 9169400"/>
              <a:gd name="connsiteY8" fmla="*/ 177800 h 1651000"/>
              <a:gd name="connsiteX9" fmla="*/ 9156700 w 9169400"/>
              <a:gd name="connsiteY9" fmla="*/ 0 h 1651000"/>
              <a:gd name="connsiteX10" fmla="*/ 9169400 w 9169400"/>
              <a:gd name="connsiteY10" fmla="*/ 1651000 h 1651000"/>
              <a:gd name="connsiteX11" fmla="*/ 0 w 9169400"/>
              <a:gd name="connsiteY11" fmla="*/ 1651000 h 1651000"/>
              <a:gd name="connsiteX12" fmla="*/ 12700 w 9169400"/>
              <a:gd name="connsiteY12" fmla="*/ 571500 h 1651000"/>
              <a:gd name="connsiteX0" fmla="*/ 12700 w 9169400"/>
              <a:gd name="connsiteY0" fmla="*/ 571500 h 1651000"/>
              <a:gd name="connsiteX1" fmla="*/ 622300 w 9169400"/>
              <a:gd name="connsiteY1" fmla="*/ 431800 h 1651000"/>
              <a:gd name="connsiteX2" fmla="*/ 1143000 w 9169400"/>
              <a:gd name="connsiteY2" fmla="*/ 279400 h 1651000"/>
              <a:gd name="connsiteX3" fmla="*/ 1701800 w 9169400"/>
              <a:gd name="connsiteY3" fmla="*/ 228600 h 1651000"/>
              <a:gd name="connsiteX4" fmla="*/ 2794000 w 9169400"/>
              <a:gd name="connsiteY4" fmla="*/ 355600 h 1651000"/>
              <a:gd name="connsiteX5" fmla="*/ 3873500 w 9169400"/>
              <a:gd name="connsiteY5" fmla="*/ 469900 h 1651000"/>
              <a:gd name="connsiteX6" fmla="*/ 5067300 w 9169400"/>
              <a:gd name="connsiteY6" fmla="*/ 622300 h 1651000"/>
              <a:gd name="connsiteX7" fmla="*/ 6261100 w 9169400"/>
              <a:gd name="connsiteY7" fmla="*/ 558800 h 1651000"/>
              <a:gd name="connsiteX8" fmla="*/ 7086600 w 9169400"/>
              <a:gd name="connsiteY8" fmla="*/ 177800 h 1651000"/>
              <a:gd name="connsiteX9" fmla="*/ 9156700 w 9169400"/>
              <a:gd name="connsiteY9" fmla="*/ 0 h 1651000"/>
              <a:gd name="connsiteX10" fmla="*/ 9169400 w 9169400"/>
              <a:gd name="connsiteY10" fmla="*/ 1651000 h 1651000"/>
              <a:gd name="connsiteX11" fmla="*/ 0 w 9169400"/>
              <a:gd name="connsiteY11" fmla="*/ 1651000 h 1651000"/>
              <a:gd name="connsiteX12" fmla="*/ 12700 w 9169400"/>
              <a:gd name="connsiteY12" fmla="*/ 571500 h 1651000"/>
              <a:gd name="connsiteX0" fmla="*/ 12700 w 9169400"/>
              <a:gd name="connsiteY0" fmla="*/ 571500 h 1651000"/>
              <a:gd name="connsiteX1" fmla="*/ 622300 w 9169400"/>
              <a:gd name="connsiteY1" fmla="*/ 431800 h 1651000"/>
              <a:gd name="connsiteX2" fmla="*/ 1143000 w 9169400"/>
              <a:gd name="connsiteY2" fmla="*/ 279400 h 1651000"/>
              <a:gd name="connsiteX3" fmla="*/ 1701800 w 9169400"/>
              <a:gd name="connsiteY3" fmla="*/ 228600 h 1651000"/>
              <a:gd name="connsiteX4" fmla="*/ 2794000 w 9169400"/>
              <a:gd name="connsiteY4" fmla="*/ 355600 h 1651000"/>
              <a:gd name="connsiteX5" fmla="*/ 3873500 w 9169400"/>
              <a:gd name="connsiteY5" fmla="*/ 469900 h 1651000"/>
              <a:gd name="connsiteX6" fmla="*/ 5067300 w 9169400"/>
              <a:gd name="connsiteY6" fmla="*/ 622300 h 1651000"/>
              <a:gd name="connsiteX7" fmla="*/ 6261100 w 9169400"/>
              <a:gd name="connsiteY7" fmla="*/ 558800 h 1651000"/>
              <a:gd name="connsiteX8" fmla="*/ 7086600 w 9169400"/>
              <a:gd name="connsiteY8" fmla="*/ 177800 h 1651000"/>
              <a:gd name="connsiteX9" fmla="*/ 9156700 w 9169400"/>
              <a:gd name="connsiteY9" fmla="*/ 0 h 1651000"/>
              <a:gd name="connsiteX10" fmla="*/ 9169400 w 9169400"/>
              <a:gd name="connsiteY10" fmla="*/ 1651000 h 1651000"/>
              <a:gd name="connsiteX11" fmla="*/ 0 w 9169400"/>
              <a:gd name="connsiteY11" fmla="*/ 1651000 h 1651000"/>
              <a:gd name="connsiteX12" fmla="*/ 12700 w 9169400"/>
              <a:gd name="connsiteY12" fmla="*/ 571500 h 1651000"/>
              <a:gd name="connsiteX0" fmla="*/ 12700 w 9169400"/>
              <a:gd name="connsiteY0" fmla="*/ 571500 h 1651000"/>
              <a:gd name="connsiteX1" fmla="*/ 622300 w 9169400"/>
              <a:gd name="connsiteY1" fmla="*/ 431800 h 1651000"/>
              <a:gd name="connsiteX2" fmla="*/ 1143000 w 9169400"/>
              <a:gd name="connsiteY2" fmla="*/ 279400 h 1651000"/>
              <a:gd name="connsiteX3" fmla="*/ 1701800 w 9169400"/>
              <a:gd name="connsiteY3" fmla="*/ 228600 h 1651000"/>
              <a:gd name="connsiteX4" fmla="*/ 2794000 w 9169400"/>
              <a:gd name="connsiteY4" fmla="*/ 355600 h 1651000"/>
              <a:gd name="connsiteX5" fmla="*/ 3873500 w 9169400"/>
              <a:gd name="connsiteY5" fmla="*/ 469900 h 1651000"/>
              <a:gd name="connsiteX6" fmla="*/ 5067300 w 9169400"/>
              <a:gd name="connsiteY6" fmla="*/ 622300 h 1651000"/>
              <a:gd name="connsiteX7" fmla="*/ 6261100 w 9169400"/>
              <a:gd name="connsiteY7" fmla="*/ 558800 h 1651000"/>
              <a:gd name="connsiteX8" fmla="*/ 7086600 w 9169400"/>
              <a:gd name="connsiteY8" fmla="*/ 177800 h 1651000"/>
              <a:gd name="connsiteX9" fmla="*/ 9156700 w 9169400"/>
              <a:gd name="connsiteY9" fmla="*/ 0 h 1651000"/>
              <a:gd name="connsiteX10" fmla="*/ 9169400 w 9169400"/>
              <a:gd name="connsiteY10" fmla="*/ 1651000 h 1651000"/>
              <a:gd name="connsiteX11" fmla="*/ 0 w 9169400"/>
              <a:gd name="connsiteY11" fmla="*/ 1651000 h 1651000"/>
              <a:gd name="connsiteX12" fmla="*/ 12700 w 9169400"/>
              <a:gd name="connsiteY12" fmla="*/ 571500 h 1651000"/>
              <a:gd name="connsiteX0" fmla="*/ 12700 w 9169400"/>
              <a:gd name="connsiteY0" fmla="*/ 571500 h 1651000"/>
              <a:gd name="connsiteX1" fmla="*/ 622300 w 9169400"/>
              <a:gd name="connsiteY1" fmla="*/ 431800 h 1651000"/>
              <a:gd name="connsiteX2" fmla="*/ 1701800 w 9169400"/>
              <a:gd name="connsiteY2" fmla="*/ 228600 h 1651000"/>
              <a:gd name="connsiteX3" fmla="*/ 2794000 w 9169400"/>
              <a:gd name="connsiteY3" fmla="*/ 355600 h 1651000"/>
              <a:gd name="connsiteX4" fmla="*/ 3873500 w 9169400"/>
              <a:gd name="connsiteY4" fmla="*/ 469900 h 1651000"/>
              <a:gd name="connsiteX5" fmla="*/ 5067300 w 9169400"/>
              <a:gd name="connsiteY5" fmla="*/ 622300 h 1651000"/>
              <a:gd name="connsiteX6" fmla="*/ 6261100 w 9169400"/>
              <a:gd name="connsiteY6" fmla="*/ 558800 h 1651000"/>
              <a:gd name="connsiteX7" fmla="*/ 7086600 w 9169400"/>
              <a:gd name="connsiteY7" fmla="*/ 177800 h 1651000"/>
              <a:gd name="connsiteX8" fmla="*/ 9156700 w 9169400"/>
              <a:gd name="connsiteY8" fmla="*/ 0 h 1651000"/>
              <a:gd name="connsiteX9" fmla="*/ 9169400 w 9169400"/>
              <a:gd name="connsiteY9" fmla="*/ 1651000 h 1651000"/>
              <a:gd name="connsiteX10" fmla="*/ 0 w 9169400"/>
              <a:gd name="connsiteY10" fmla="*/ 1651000 h 1651000"/>
              <a:gd name="connsiteX11" fmla="*/ 12700 w 9169400"/>
              <a:gd name="connsiteY11" fmla="*/ 571500 h 1651000"/>
              <a:gd name="connsiteX0" fmla="*/ 12700 w 9169400"/>
              <a:gd name="connsiteY0" fmla="*/ 571500 h 1651000"/>
              <a:gd name="connsiteX1" fmla="*/ 863600 w 9169400"/>
              <a:gd name="connsiteY1" fmla="*/ 342900 h 1651000"/>
              <a:gd name="connsiteX2" fmla="*/ 1701800 w 9169400"/>
              <a:gd name="connsiteY2" fmla="*/ 228600 h 1651000"/>
              <a:gd name="connsiteX3" fmla="*/ 2794000 w 9169400"/>
              <a:gd name="connsiteY3" fmla="*/ 355600 h 1651000"/>
              <a:gd name="connsiteX4" fmla="*/ 3873500 w 9169400"/>
              <a:gd name="connsiteY4" fmla="*/ 469900 h 1651000"/>
              <a:gd name="connsiteX5" fmla="*/ 5067300 w 9169400"/>
              <a:gd name="connsiteY5" fmla="*/ 622300 h 1651000"/>
              <a:gd name="connsiteX6" fmla="*/ 6261100 w 9169400"/>
              <a:gd name="connsiteY6" fmla="*/ 558800 h 1651000"/>
              <a:gd name="connsiteX7" fmla="*/ 7086600 w 9169400"/>
              <a:gd name="connsiteY7" fmla="*/ 177800 h 1651000"/>
              <a:gd name="connsiteX8" fmla="*/ 9156700 w 9169400"/>
              <a:gd name="connsiteY8" fmla="*/ 0 h 1651000"/>
              <a:gd name="connsiteX9" fmla="*/ 9169400 w 9169400"/>
              <a:gd name="connsiteY9" fmla="*/ 1651000 h 1651000"/>
              <a:gd name="connsiteX10" fmla="*/ 0 w 9169400"/>
              <a:gd name="connsiteY10" fmla="*/ 1651000 h 1651000"/>
              <a:gd name="connsiteX11" fmla="*/ 12700 w 9169400"/>
              <a:gd name="connsiteY11" fmla="*/ 571500 h 1651000"/>
              <a:gd name="connsiteX0" fmla="*/ 12700 w 9169400"/>
              <a:gd name="connsiteY0" fmla="*/ 571500 h 1651000"/>
              <a:gd name="connsiteX1" fmla="*/ 863600 w 9169400"/>
              <a:gd name="connsiteY1" fmla="*/ 342900 h 1651000"/>
              <a:gd name="connsiteX2" fmla="*/ 1701800 w 9169400"/>
              <a:gd name="connsiteY2" fmla="*/ 228600 h 1651000"/>
              <a:gd name="connsiteX3" fmla="*/ 2794000 w 9169400"/>
              <a:gd name="connsiteY3" fmla="*/ 355600 h 1651000"/>
              <a:gd name="connsiteX4" fmla="*/ 3873500 w 9169400"/>
              <a:gd name="connsiteY4" fmla="*/ 469900 h 1651000"/>
              <a:gd name="connsiteX5" fmla="*/ 5067300 w 9169400"/>
              <a:gd name="connsiteY5" fmla="*/ 622300 h 1651000"/>
              <a:gd name="connsiteX6" fmla="*/ 6261100 w 9169400"/>
              <a:gd name="connsiteY6" fmla="*/ 558800 h 1651000"/>
              <a:gd name="connsiteX7" fmla="*/ 7086600 w 9169400"/>
              <a:gd name="connsiteY7" fmla="*/ 177800 h 1651000"/>
              <a:gd name="connsiteX8" fmla="*/ 9156700 w 9169400"/>
              <a:gd name="connsiteY8" fmla="*/ 0 h 1651000"/>
              <a:gd name="connsiteX9" fmla="*/ 9169400 w 9169400"/>
              <a:gd name="connsiteY9" fmla="*/ 1651000 h 1651000"/>
              <a:gd name="connsiteX10" fmla="*/ 0 w 9169400"/>
              <a:gd name="connsiteY10" fmla="*/ 1651000 h 1651000"/>
              <a:gd name="connsiteX11" fmla="*/ 12700 w 9169400"/>
              <a:gd name="connsiteY11" fmla="*/ 571500 h 1651000"/>
              <a:gd name="connsiteX0" fmla="*/ 12700 w 9169400"/>
              <a:gd name="connsiteY0" fmla="*/ 571500 h 1651000"/>
              <a:gd name="connsiteX1" fmla="*/ 863600 w 9169400"/>
              <a:gd name="connsiteY1" fmla="*/ 342900 h 1651000"/>
              <a:gd name="connsiteX2" fmla="*/ 1701800 w 9169400"/>
              <a:gd name="connsiteY2" fmla="*/ 228600 h 1651000"/>
              <a:gd name="connsiteX3" fmla="*/ 2794000 w 9169400"/>
              <a:gd name="connsiteY3" fmla="*/ 355600 h 1651000"/>
              <a:gd name="connsiteX4" fmla="*/ 3873500 w 9169400"/>
              <a:gd name="connsiteY4" fmla="*/ 469900 h 1651000"/>
              <a:gd name="connsiteX5" fmla="*/ 5067300 w 9169400"/>
              <a:gd name="connsiteY5" fmla="*/ 622300 h 1651000"/>
              <a:gd name="connsiteX6" fmla="*/ 6197600 w 9169400"/>
              <a:gd name="connsiteY6" fmla="*/ 482600 h 1651000"/>
              <a:gd name="connsiteX7" fmla="*/ 7086600 w 9169400"/>
              <a:gd name="connsiteY7" fmla="*/ 177800 h 1651000"/>
              <a:gd name="connsiteX8" fmla="*/ 9156700 w 9169400"/>
              <a:gd name="connsiteY8" fmla="*/ 0 h 1651000"/>
              <a:gd name="connsiteX9" fmla="*/ 9169400 w 9169400"/>
              <a:gd name="connsiteY9" fmla="*/ 1651000 h 1651000"/>
              <a:gd name="connsiteX10" fmla="*/ 0 w 9169400"/>
              <a:gd name="connsiteY10" fmla="*/ 1651000 h 1651000"/>
              <a:gd name="connsiteX11" fmla="*/ 12700 w 9169400"/>
              <a:gd name="connsiteY11" fmla="*/ 571500 h 1651000"/>
              <a:gd name="connsiteX0" fmla="*/ 12700 w 9169400"/>
              <a:gd name="connsiteY0" fmla="*/ 571500 h 1651000"/>
              <a:gd name="connsiteX1" fmla="*/ 863600 w 9169400"/>
              <a:gd name="connsiteY1" fmla="*/ 342900 h 1651000"/>
              <a:gd name="connsiteX2" fmla="*/ 1701800 w 9169400"/>
              <a:gd name="connsiteY2" fmla="*/ 228600 h 1651000"/>
              <a:gd name="connsiteX3" fmla="*/ 2794000 w 9169400"/>
              <a:gd name="connsiteY3" fmla="*/ 355600 h 1651000"/>
              <a:gd name="connsiteX4" fmla="*/ 3873500 w 9169400"/>
              <a:gd name="connsiteY4" fmla="*/ 469900 h 1651000"/>
              <a:gd name="connsiteX5" fmla="*/ 5067300 w 9169400"/>
              <a:gd name="connsiteY5" fmla="*/ 622300 h 1651000"/>
              <a:gd name="connsiteX6" fmla="*/ 6197600 w 9169400"/>
              <a:gd name="connsiteY6" fmla="*/ 482600 h 1651000"/>
              <a:gd name="connsiteX7" fmla="*/ 7785100 w 9169400"/>
              <a:gd name="connsiteY7" fmla="*/ 63500 h 1651000"/>
              <a:gd name="connsiteX8" fmla="*/ 9156700 w 9169400"/>
              <a:gd name="connsiteY8" fmla="*/ 0 h 1651000"/>
              <a:gd name="connsiteX9" fmla="*/ 9169400 w 9169400"/>
              <a:gd name="connsiteY9" fmla="*/ 1651000 h 1651000"/>
              <a:gd name="connsiteX10" fmla="*/ 0 w 9169400"/>
              <a:gd name="connsiteY10" fmla="*/ 1651000 h 1651000"/>
              <a:gd name="connsiteX11" fmla="*/ 12700 w 9169400"/>
              <a:gd name="connsiteY11" fmla="*/ 571500 h 1651000"/>
              <a:gd name="connsiteX0" fmla="*/ 12700 w 9169400"/>
              <a:gd name="connsiteY0" fmla="*/ 571500 h 1651000"/>
              <a:gd name="connsiteX1" fmla="*/ 863600 w 9169400"/>
              <a:gd name="connsiteY1" fmla="*/ 342900 h 1651000"/>
              <a:gd name="connsiteX2" fmla="*/ 1701800 w 9169400"/>
              <a:gd name="connsiteY2" fmla="*/ 228600 h 1651000"/>
              <a:gd name="connsiteX3" fmla="*/ 2794000 w 9169400"/>
              <a:gd name="connsiteY3" fmla="*/ 355600 h 1651000"/>
              <a:gd name="connsiteX4" fmla="*/ 3873500 w 9169400"/>
              <a:gd name="connsiteY4" fmla="*/ 469900 h 1651000"/>
              <a:gd name="connsiteX5" fmla="*/ 5067300 w 9169400"/>
              <a:gd name="connsiteY5" fmla="*/ 622300 h 1651000"/>
              <a:gd name="connsiteX6" fmla="*/ 6197600 w 9169400"/>
              <a:gd name="connsiteY6" fmla="*/ 482600 h 1651000"/>
              <a:gd name="connsiteX7" fmla="*/ 7785100 w 9169400"/>
              <a:gd name="connsiteY7" fmla="*/ 63500 h 1651000"/>
              <a:gd name="connsiteX8" fmla="*/ 9156700 w 9169400"/>
              <a:gd name="connsiteY8" fmla="*/ 0 h 1651000"/>
              <a:gd name="connsiteX9" fmla="*/ 9169400 w 9169400"/>
              <a:gd name="connsiteY9" fmla="*/ 1651000 h 1651000"/>
              <a:gd name="connsiteX10" fmla="*/ 0 w 9169400"/>
              <a:gd name="connsiteY10" fmla="*/ 1651000 h 1651000"/>
              <a:gd name="connsiteX11" fmla="*/ 12700 w 9169400"/>
              <a:gd name="connsiteY11" fmla="*/ 571500 h 1651000"/>
              <a:gd name="connsiteX0" fmla="*/ 12700 w 9169400"/>
              <a:gd name="connsiteY0" fmla="*/ 571500 h 1651000"/>
              <a:gd name="connsiteX1" fmla="*/ 863600 w 9169400"/>
              <a:gd name="connsiteY1" fmla="*/ 342900 h 1651000"/>
              <a:gd name="connsiteX2" fmla="*/ 1701800 w 9169400"/>
              <a:gd name="connsiteY2" fmla="*/ 228600 h 1651000"/>
              <a:gd name="connsiteX3" fmla="*/ 2794000 w 9169400"/>
              <a:gd name="connsiteY3" fmla="*/ 355600 h 1651000"/>
              <a:gd name="connsiteX4" fmla="*/ 3873500 w 9169400"/>
              <a:gd name="connsiteY4" fmla="*/ 469900 h 1651000"/>
              <a:gd name="connsiteX5" fmla="*/ 5067300 w 9169400"/>
              <a:gd name="connsiteY5" fmla="*/ 622300 h 1651000"/>
              <a:gd name="connsiteX6" fmla="*/ 6197600 w 9169400"/>
              <a:gd name="connsiteY6" fmla="*/ 482600 h 1651000"/>
              <a:gd name="connsiteX7" fmla="*/ 7785100 w 9169400"/>
              <a:gd name="connsiteY7" fmla="*/ 63500 h 1651000"/>
              <a:gd name="connsiteX8" fmla="*/ 9156700 w 9169400"/>
              <a:gd name="connsiteY8" fmla="*/ 0 h 1651000"/>
              <a:gd name="connsiteX9" fmla="*/ 9169400 w 9169400"/>
              <a:gd name="connsiteY9" fmla="*/ 1651000 h 1651000"/>
              <a:gd name="connsiteX10" fmla="*/ 0 w 9169400"/>
              <a:gd name="connsiteY10" fmla="*/ 1651000 h 1651000"/>
              <a:gd name="connsiteX11" fmla="*/ 12700 w 9169400"/>
              <a:gd name="connsiteY11" fmla="*/ 571500 h 1651000"/>
              <a:gd name="connsiteX0" fmla="*/ 12700 w 9169400"/>
              <a:gd name="connsiteY0" fmla="*/ 571500 h 1651000"/>
              <a:gd name="connsiteX1" fmla="*/ 863600 w 9169400"/>
              <a:gd name="connsiteY1" fmla="*/ 342900 h 1651000"/>
              <a:gd name="connsiteX2" fmla="*/ 1879600 w 9169400"/>
              <a:gd name="connsiteY2" fmla="*/ 215900 h 1651000"/>
              <a:gd name="connsiteX3" fmla="*/ 2794000 w 9169400"/>
              <a:gd name="connsiteY3" fmla="*/ 355600 h 1651000"/>
              <a:gd name="connsiteX4" fmla="*/ 3873500 w 9169400"/>
              <a:gd name="connsiteY4" fmla="*/ 469900 h 1651000"/>
              <a:gd name="connsiteX5" fmla="*/ 5067300 w 9169400"/>
              <a:gd name="connsiteY5" fmla="*/ 622300 h 1651000"/>
              <a:gd name="connsiteX6" fmla="*/ 6197600 w 9169400"/>
              <a:gd name="connsiteY6" fmla="*/ 482600 h 1651000"/>
              <a:gd name="connsiteX7" fmla="*/ 7785100 w 9169400"/>
              <a:gd name="connsiteY7" fmla="*/ 63500 h 1651000"/>
              <a:gd name="connsiteX8" fmla="*/ 9156700 w 9169400"/>
              <a:gd name="connsiteY8" fmla="*/ 0 h 1651000"/>
              <a:gd name="connsiteX9" fmla="*/ 9169400 w 9169400"/>
              <a:gd name="connsiteY9" fmla="*/ 1651000 h 1651000"/>
              <a:gd name="connsiteX10" fmla="*/ 0 w 9169400"/>
              <a:gd name="connsiteY10" fmla="*/ 1651000 h 1651000"/>
              <a:gd name="connsiteX11" fmla="*/ 12700 w 9169400"/>
              <a:gd name="connsiteY11" fmla="*/ 571500 h 1651000"/>
              <a:gd name="connsiteX0" fmla="*/ 12700 w 9169400"/>
              <a:gd name="connsiteY0" fmla="*/ 571500 h 1651000"/>
              <a:gd name="connsiteX1" fmla="*/ 863600 w 9169400"/>
              <a:gd name="connsiteY1" fmla="*/ 342900 h 1651000"/>
              <a:gd name="connsiteX2" fmla="*/ 2794000 w 9169400"/>
              <a:gd name="connsiteY2" fmla="*/ 355600 h 1651000"/>
              <a:gd name="connsiteX3" fmla="*/ 3873500 w 9169400"/>
              <a:gd name="connsiteY3" fmla="*/ 469900 h 1651000"/>
              <a:gd name="connsiteX4" fmla="*/ 5067300 w 9169400"/>
              <a:gd name="connsiteY4" fmla="*/ 622300 h 1651000"/>
              <a:gd name="connsiteX5" fmla="*/ 6197600 w 9169400"/>
              <a:gd name="connsiteY5" fmla="*/ 482600 h 1651000"/>
              <a:gd name="connsiteX6" fmla="*/ 7785100 w 9169400"/>
              <a:gd name="connsiteY6" fmla="*/ 63500 h 1651000"/>
              <a:gd name="connsiteX7" fmla="*/ 9156700 w 9169400"/>
              <a:gd name="connsiteY7" fmla="*/ 0 h 1651000"/>
              <a:gd name="connsiteX8" fmla="*/ 9169400 w 9169400"/>
              <a:gd name="connsiteY8" fmla="*/ 1651000 h 1651000"/>
              <a:gd name="connsiteX9" fmla="*/ 0 w 9169400"/>
              <a:gd name="connsiteY9" fmla="*/ 1651000 h 1651000"/>
              <a:gd name="connsiteX10" fmla="*/ 12700 w 9169400"/>
              <a:gd name="connsiteY10" fmla="*/ 571500 h 1651000"/>
              <a:gd name="connsiteX0" fmla="*/ 12700 w 9169400"/>
              <a:gd name="connsiteY0" fmla="*/ 571500 h 1651000"/>
              <a:gd name="connsiteX1" fmla="*/ 863600 w 9169400"/>
              <a:gd name="connsiteY1" fmla="*/ 342900 h 1651000"/>
              <a:gd name="connsiteX2" fmla="*/ 2565400 w 9169400"/>
              <a:gd name="connsiteY2" fmla="*/ 317500 h 1651000"/>
              <a:gd name="connsiteX3" fmla="*/ 3873500 w 9169400"/>
              <a:gd name="connsiteY3" fmla="*/ 469900 h 1651000"/>
              <a:gd name="connsiteX4" fmla="*/ 5067300 w 9169400"/>
              <a:gd name="connsiteY4" fmla="*/ 622300 h 1651000"/>
              <a:gd name="connsiteX5" fmla="*/ 6197600 w 9169400"/>
              <a:gd name="connsiteY5" fmla="*/ 482600 h 1651000"/>
              <a:gd name="connsiteX6" fmla="*/ 7785100 w 9169400"/>
              <a:gd name="connsiteY6" fmla="*/ 63500 h 1651000"/>
              <a:gd name="connsiteX7" fmla="*/ 9156700 w 9169400"/>
              <a:gd name="connsiteY7" fmla="*/ 0 h 1651000"/>
              <a:gd name="connsiteX8" fmla="*/ 9169400 w 9169400"/>
              <a:gd name="connsiteY8" fmla="*/ 1651000 h 1651000"/>
              <a:gd name="connsiteX9" fmla="*/ 0 w 9169400"/>
              <a:gd name="connsiteY9" fmla="*/ 1651000 h 1651000"/>
              <a:gd name="connsiteX10" fmla="*/ 12700 w 9169400"/>
              <a:gd name="connsiteY10" fmla="*/ 571500 h 1651000"/>
              <a:gd name="connsiteX0" fmla="*/ 12700 w 9169400"/>
              <a:gd name="connsiteY0" fmla="*/ 571500 h 1651000"/>
              <a:gd name="connsiteX1" fmla="*/ 863600 w 9169400"/>
              <a:gd name="connsiteY1" fmla="*/ 342900 h 1651000"/>
              <a:gd name="connsiteX2" fmla="*/ 2565400 w 9169400"/>
              <a:gd name="connsiteY2" fmla="*/ 317500 h 1651000"/>
              <a:gd name="connsiteX3" fmla="*/ 3873500 w 9169400"/>
              <a:gd name="connsiteY3" fmla="*/ 469900 h 1651000"/>
              <a:gd name="connsiteX4" fmla="*/ 5067300 w 9169400"/>
              <a:gd name="connsiteY4" fmla="*/ 622300 h 1651000"/>
              <a:gd name="connsiteX5" fmla="*/ 6197600 w 9169400"/>
              <a:gd name="connsiteY5" fmla="*/ 482600 h 1651000"/>
              <a:gd name="connsiteX6" fmla="*/ 7785100 w 9169400"/>
              <a:gd name="connsiteY6" fmla="*/ 63500 h 1651000"/>
              <a:gd name="connsiteX7" fmla="*/ 9156700 w 9169400"/>
              <a:gd name="connsiteY7" fmla="*/ 0 h 1651000"/>
              <a:gd name="connsiteX8" fmla="*/ 9169400 w 9169400"/>
              <a:gd name="connsiteY8" fmla="*/ 1651000 h 1651000"/>
              <a:gd name="connsiteX9" fmla="*/ 0 w 9169400"/>
              <a:gd name="connsiteY9" fmla="*/ 1651000 h 1651000"/>
              <a:gd name="connsiteX10" fmla="*/ 12700 w 9169400"/>
              <a:gd name="connsiteY10" fmla="*/ 571500 h 1651000"/>
              <a:gd name="connsiteX0" fmla="*/ 12700 w 9169400"/>
              <a:gd name="connsiteY0" fmla="*/ 571500 h 1651000"/>
              <a:gd name="connsiteX1" fmla="*/ 1143000 w 9169400"/>
              <a:gd name="connsiteY1" fmla="*/ 431800 h 1651000"/>
              <a:gd name="connsiteX2" fmla="*/ 2565400 w 9169400"/>
              <a:gd name="connsiteY2" fmla="*/ 317500 h 1651000"/>
              <a:gd name="connsiteX3" fmla="*/ 3873500 w 9169400"/>
              <a:gd name="connsiteY3" fmla="*/ 469900 h 1651000"/>
              <a:gd name="connsiteX4" fmla="*/ 5067300 w 9169400"/>
              <a:gd name="connsiteY4" fmla="*/ 622300 h 1651000"/>
              <a:gd name="connsiteX5" fmla="*/ 6197600 w 9169400"/>
              <a:gd name="connsiteY5" fmla="*/ 482600 h 1651000"/>
              <a:gd name="connsiteX6" fmla="*/ 7785100 w 9169400"/>
              <a:gd name="connsiteY6" fmla="*/ 63500 h 1651000"/>
              <a:gd name="connsiteX7" fmla="*/ 9156700 w 9169400"/>
              <a:gd name="connsiteY7" fmla="*/ 0 h 1651000"/>
              <a:gd name="connsiteX8" fmla="*/ 9169400 w 9169400"/>
              <a:gd name="connsiteY8" fmla="*/ 1651000 h 1651000"/>
              <a:gd name="connsiteX9" fmla="*/ 0 w 9169400"/>
              <a:gd name="connsiteY9" fmla="*/ 1651000 h 1651000"/>
              <a:gd name="connsiteX10" fmla="*/ 12700 w 9169400"/>
              <a:gd name="connsiteY10" fmla="*/ 571500 h 1651000"/>
              <a:gd name="connsiteX0" fmla="*/ 12700 w 9169400"/>
              <a:gd name="connsiteY0" fmla="*/ 571500 h 1651000"/>
              <a:gd name="connsiteX1" fmla="*/ 1143000 w 9169400"/>
              <a:gd name="connsiteY1" fmla="*/ 431800 h 1651000"/>
              <a:gd name="connsiteX2" fmla="*/ 2565400 w 9169400"/>
              <a:gd name="connsiteY2" fmla="*/ 317500 h 1651000"/>
              <a:gd name="connsiteX3" fmla="*/ 3873500 w 9169400"/>
              <a:gd name="connsiteY3" fmla="*/ 469900 h 1651000"/>
              <a:gd name="connsiteX4" fmla="*/ 5067300 w 9169400"/>
              <a:gd name="connsiteY4" fmla="*/ 622300 h 1651000"/>
              <a:gd name="connsiteX5" fmla="*/ 6197600 w 9169400"/>
              <a:gd name="connsiteY5" fmla="*/ 482600 h 1651000"/>
              <a:gd name="connsiteX6" fmla="*/ 7785100 w 9169400"/>
              <a:gd name="connsiteY6" fmla="*/ 63500 h 1651000"/>
              <a:gd name="connsiteX7" fmla="*/ 9156700 w 9169400"/>
              <a:gd name="connsiteY7" fmla="*/ 0 h 1651000"/>
              <a:gd name="connsiteX8" fmla="*/ 9169400 w 9169400"/>
              <a:gd name="connsiteY8" fmla="*/ 1651000 h 1651000"/>
              <a:gd name="connsiteX9" fmla="*/ 0 w 9169400"/>
              <a:gd name="connsiteY9" fmla="*/ 1651000 h 1651000"/>
              <a:gd name="connsiteX10" fmla="*/ 12700 w 9169400"/>
              <a:gd name="connsiteY10" fmla="*/ 571500 h 1651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169400" h="1651000">
                <a:moveTo>
                  <a:pt x="12700" y="571500"/>
                </a:moveTo>
                <a:cubicBezTo>
                  <a:pt x="662517" y="469900"/>
                  <a:pt x="717550" y="474133"/>
                  <a:pt x="1143000" y="431800"/>
                </a:cubicBezTo>
                <a:cubicBezTo>
                  <a:pt x="1568450" y="389467"/>
                  <a:pt x="2110317" y="311150"/>
                  <a:pt x="2565400" y="317500"/>
                </a:cubicBezTo>
                <a:cubicBezTo>
                  <a:pt x="3020483" y="323850"/>
                  <a:pt x="3456517" y="419100"/>
                  <a:pt x="3873500" y="469900"/>
                </a:cubicBezTo>
                <a:cubicBezTo>
                  <a:pt x="4290483" y="520700"/>
                  <a:pt x="4679950" y="620183"/>
                  <a:pt x="5067300" y="622300"/>
                </a:cubicBezTo>
                <a:cubicBezTo>
                  <a:pt x="5454650" y="624417"/>
                  <a:pt x="5744633" y="575733"/>
                  <a:pt x="6197600" y="482600"/>
                </a:cubicBezTo>
                <a:cubicBezTo>
                  <a:pt x="6650567" y="389467"/>
                  <a:pt x="7253817" y="131233"/>
                  <a:pt x="7785100" y="63500"/>
                </a:cubicBezTo>
                <a:cubicBezTo>
                  <a:pt x="8316383" y="-4233"/>
                  <a:pt x="8453967" y="21167"/>
                  <a:pt x="9156700" y="0"/>
                </a:cubicBezTo>
                <a:cubicBezTo>
                  <a:pt x="9160933" y="550333"/>
                  <a:pt x="9165167" y="1100667"/>
                  <a:pt x="9169400" y="1651000"/>
                </a:cubicBezTo>
                <a:lnTo>
                  <a:pt x="0" y="1651000"/>
                </a:lnTo>
                <a:lnTo>
                  <a:pt x="12700" y="571500"/>
                </a:lnTo>
                <a:close/>
              </a:path>
            </a:pathLst>
          </a:cu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Freeform 16"/>
          <p:cNvSpPr/>
          <p:nvPr/>
        </p:nvSpPr>
        <p:spPr>
          <a:xfrm flipH="1" flipV="1">
            <a:off x="-3" y="3924345"/>
            <a:ext cx="6766562" cy="1009605"/>
          </a:xfrm>
          <a:custGeom>
            <a:avLst/>
            <a:gdLst>
              <a:gd name="connsiteX0" fmla="*/ 0 w 4457700"/>
              <a:gd name="connsiteY0" fmla="*/ 377709 h 759380"/>
              <a:gd name="connsiteX1" fmla="*/ 457200 w 4457700"/>
              <a:gd name="connsiteY1" fmla="*/ 85609 h 759380"/>
              <a:gd name="connsiteX2" fmla="*/ 1041400 w 4457700"/>
              <a:gd name="connsiteY2" fmla="*/ 9409 h 759380"/>
              <a:gd name="connsiteX3" fmla="*/ 1574800 w 4457700"/>
              <a:gd name="connsiteY3" fmla="*/ 263409 h 759380"/>
              <a:gd name="connsiteX4" fmla="*/ 2057400 w 4457700"/>
              <a:gd name="connsiteY4" fmla="*/ 580909 h 759380"/>
              <a:gd name="connsiteX5" fmla="*/ 2806700 w 4457700"/>
              <a:gd name="connsiteY5" fmla="*/ 758709 h 759380"/>
              <a:gd name="connsiteX6" fmla="*/ 3683000 w 4457700"/>
              <a:gd name="connsiteY6" fmla="*/ 619009 h 759380"/>
              <a:gd name="connsiteX7" fmla="*/ 4457700 w 4457700"/>
              <a:gd name="connsiteY7" fmla="*/ 111009 h 759380"/>
              <a:gd name="connsiteX0" fmla="*/ 0 w 4867275"/>
              <a:gd name="connsiteY0" fmla="*/ 969460 h 969460"/>
              <a:gd name="connsiteX1" fmla="*/ 866775 w 4867275"/>
              <a:gd name="connsiteY1" fmla="*/ 108151 h 969460"/>
              <a:gd name="connsiteX2" fmla="*/ 1450975 w 4867275"/>
              <a:gd name="connsiteY2" fmla="*/ 31951 h 969460"/>
              <a:gd name="connsiteX3" fmla="*/ 1984375 w 4867275"/>
              <a:gd name="connsiteY3" fmla="*/ 285951 h 969460"/>
              <a:gd name="connsiteX4" fmla="*/ 2466975 w 4867275"/>
              <a:gd name="connsiteY4" fmla="*/ 603451 h 969460"/>
              <a:gd name="connsiteX5" fmla="*/ 3216275 w 4867275"/>
              <a:gd name="connsiteY5" fmla="*/ 781251 h 969460"/>
              <a:gd name="connsiteX6" fmla="*/ 4092575 w 4867275"/>
              <a:gd name="connsiteY6" fmla="*/ 641551 h 969460"/>
              <a:gd name="connsiteX7" fmla="*/ 4867275 w 4867275"/>
              <a:gd name="connsiteY7" fmla="*/ 133551 h 9694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867275" h="969460">
                <a:moveTo>
                  <a:pt x="0" y="969460"/>
                </a:moveTo>
                <a:cubicBezTo>
                  <a:pt x="141816" y="854101"/>
                  <a:pt x="624946" y="264402"/>
                  <a:pt x="866775" y="108151"/>
                </a:cubicBezTo>
                <a:cubicBezTo>
                  <a:pt x="1108604" y="-48100"/>
                  <a:pt x="1264708" y="2318"/>
                  <a:pt x="1450975" y="31951"/>
                </a:cubicBezTo>
                <a:cubicBezTo>
                  <a:pt x="1637242" y="61584"/>
                  <a:pt x="1815042" y="190701"/>
                  <a:pt x="1984375" y="285951"/>
                </a:cubicBezTo>
                <a:cubicBezTo>
                  <a:pt x="2153708" y="381201"/>
                  <a:pt x="2261658" y="520901"/>
                  <a:pt x="2466975" y="603451"/>
                </a:cubicBezTo>
                <a:cubicBezTo>
                  <a:pt x="2672292" y="686001"/>
                  <a:pt x="2945342" y="774901"/>
                  <a:pt x="3216275" y="781251"/>
                </a:cubicBezTo>
                <a:cubicBezTo>
                  <a:pt x="3487208" y="787601"/>
                  <a:pt x="3817408" y="749501"/>
                  <a:pt x="4092575" y="641551"/>
                </a:cubicBezTo>
                <a:cubicBezTo>
                  <a:pt x="4367742" y="533601"/>
                  <a:pt x="4617508" y="333576"/>
                  <a:pt x="4867275" y="133551"/>
                </a:cubicBezTo>
              </a:path>
            </a:pathLst>
          </a:custGeom>
          <a:noFill/>
          <a:ln w="152400" cap="rnd" cmpd="sng">
            <a:solidFill>
              <a:srgbClr val="FFC000"/>
            </a:solidFill>
            <a:prstDash val="sysDot"/>
            <a:headEnd type="none" w="med" len="med"/>
            <a:tailEnd type="none" w="lg" len="lg"/>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3" name="Picture 44"/>
          <p:cNvPicPr>
            <a:picLocks noChangeAspect="1" noChangeArrowheads="1"/>
          </p:cNvPicPr>
          <p:nvPr/>
        </p:nvPicPr>
        <p:blipFill>
          <a:blip r:embed="rId13" cstate="print">
            <a:extLst>
              <a:ext uri="{28A0092B-C50C-407E-A947-70E740481C1C}">
                <a14:useLocalDpi xmlns:a14="http://schemas.microsoft.com/office/drawing/2010/main" val="0"/>
              </a:ext>
            </a:extLst>
          </a:blip>
          <a:stretch>
            <a:fillRect/>
          </a:stretch>
        </p:blipFill>
        <p:spPr bwMode="auto">
          <a:xfrm>
            <a:off x="497882" y="742950"/>
            <a:ext cx="4378918" cy="1031890"/>
          </a:xfrm>
          <a:prstGeom prst="rect">
            <a:avLst/>
          </a:prstGeom>
          <a:noFill/>
          <a:ln w="76200">
            <a:solidFill>
              <a:schemeClr val="bg1"/>
            </a:solidFill>
          </a:ln>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grpSp>
        <p:nvGrpSpPr>
          <p:cNvPr id="28" name="Group 7"/>
          <p:cNvGrpSpPr/>
          <p:nvPr/>
        </p:nvGrpSpPr>
        <p:grpSpPr>
          <a:xfrm>
            <a:off x="-1600200" y="3486150"/>
            <a:ext cx="1515980" cy="5881753"/>
            <a:chOff x="-1843055" y="4862447"/>
            <a:chExt cx="1515980" cy="5881753"/>
          </a:xfrm>
        </p:grpSpPr>
        <p:sp>
          <p:nvSpPr>
            <p:cNvPr id="29" name="Freeform 28"/>
            <p:cNvSpPr/>
            <p:nvPr/>
          </p:nvSpPr>
          <p:spPr>
            <a:xfrm>
              <a:off x="-1217768" y="6675920"/>
              <a:ext cx="314367" cy="4068280"/>
            </a:xfrm>
            <a:custGeom>
              <a:avLst/>
              <a:gdLst>
                <a:gd name="connsiteX0" fmla="*/ 117929 w 277586"/>
                <a:gd name="connsiteY0" fmla="*/ 0 h 3592286"/>
                <a:gd name="connsiteX1" fmla="*/ 19957 w 277586"/>
                <a:gd name="connsiteY1" fmla="*/ 1426029 h 3592286"/>
                <a:gd name="connsiteX2" fmla="*/ 237672 w 277586"/>
                <a:gd name="connsiteY2" fmla="*/ 2841172 h 3592286"/>
                <a:gd name="connsiteX3" fmla="*/ 259443 w 277586"/>
                <a:gd name="connsiteY3" fmla="*/ 3592286 h 3592286"/>
              </a:gdLst>
              <a:ahLst/>
              <a:cxnLst>
                <a:cxn ang="0">
                  <a:pos x="connsiteX0" y="connsiteY0"/>
                </a:cxn>
                <a:cxn ang="0">
                  <a:pos x="connsiteX1" y="connsiteY1"/>
                </a:cxn>
                <a:cxn ang="0">
                  <a:pos x="connsiteX2" y="connsiteY2"/>
                </a:cxn>
                <a:cxn ang="0">
                  <a:pos x="connsiteX3" y="connsiteY3"/>
                </a:cxn>
              </a:cxnLst>
              <a:rect l="l" t="t" r="r" b="b"/>
              <a:pathLst>
                <a:path w="277586" h="3592286">
                  <a:moveTo>
                    <a:pt x="117929" y="0"/>
                  </a:moveTo>
                  <a:cubicBezTo>
                    <a:pt x="58964" y="476250"/>
                    <a:pt x="0" y="952500"/>
                    <a:pt x="19957" y="1426029"/>
                  </a:cubicBezTo>
                  <a:cubicBezTo>
                    <a:pt x="39914" y="1899558"/>
                    <a:pt x="197758" y="2480129"/>
                    <a:pt x="237672" y="2841172"/>
                  </a:cubicBezTo>
                  <a:cubicBezTo>
                    <a:pt x="277586" y="3202215"/>
                    <a:pt x="268514" y="3397250"/>
                    <a:pt x="259443" y="3592286"/>
                  </a:cubicBezTo>
                </a:path>
              </a:pathLst>
            </a:custGeom>
            <a:ln w="12700">
              <a:solidFill>
                <a:schemeClr val="bg1">
                  <a:lumMod val="85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prstClr val="black"/>
                </a:solidFill>
              </a:endParaRPr>
            </a:p>
          </p:txBody>
        </p:sp>
        <p:sp>
          <p:nvSpPr>
            <p:cNvPr id="30" name="Isosceles Triangle 29"/>
            <p:cNvSpPr/>
            <p:nvPr/>
          </p:nvSpPr>
          <p:spPr>
            <a:xfrm rot="462047">
              <a:off x="-1120804" y="6559507"/>
              <a:ext cx="103767" cy="143189"/>
            </a:xfrm>
            <a:prstGeom prst="triangle">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31" name="Teardrop 30"/>
            <p:cNvSpPr/>
            <p:nvPr/>
          </p:nvSpPr>
          <p:spPr>
            <a:xfrm rot="7956669">
              <a:off x="-1863788" y="4883180"/>
              <a:ext cx="1557446" cy="1515980"/>
            </a:xfrm>
            <a:prstGeom prst="teardrop">
              <a:avLst>
                <a:gd name="adj" fmla="val 87847"/>
              </a:avLst>
            </a:prstGeom>
            <a:gradFill flip="none" rotWithShape="1">
              <a:gsLst>
                <a:gs pos="13000">
                  <a:schemeClr val="accent2">
                    <a:lumMod val="75000"/>
                  </a:schemeClr>
                </a:gs>
                <a:gs pos="66000">
                  <a:schemeClr val="accent2">
                    <a:lumMod val="60000"/>
                    <a:lumOff val="40000"/>
                  </a:schemeClr>
                </a:gs>
                <a:gs pos="100000">
                  <a:schemeClr val="bg1"/>
                </a:gs>
              </a:gsLst>
              <a:lin ang="48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32" name="Oval 31"/>
            <p:cNvSpPr/>
            <p:nvPr/>
          </p:nvSpPr>
          <p:spPr>
            <a:xfrm>
              <a:off x="-1826579" y="4905978"/>
              <a:ext cx="1156834" cy="1097204"/>
            </a:xfrm>
            <a:prstGeom prst="ellipse">
              <a:avLst/>
            </a:prstGeom>
            <a:gradFill flip="none" rotWithShape="0">
              <a:gsLst>
                <a:gs pos="0">
                  <a:srgbClr val="FFFFFF"/>
                </a:gs>
                <a:gs pos="50000">
                  <a:srgbClr val="FFFFFF">
                    <a:alpha val="19000"/>
                  </a:srgbClr>
                </a:gs>
                <a:gs pos="71000">
                  <a:srgbClr val="FFFFFF">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spTree>
    <p:extLst>
      <p:ext uri="{BB962C8B-B14F-4D97-AF65-F5344CB8AC3E}">
        <p14:creationId xmlns:p14="http://schemas.microsoft.com/office/powerpoint/2010/main" val="507508429"/>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6" presetClass="path" presetSubtype="0" accel="50000" decel="50000" fill="hold" nodeType="withEffect">
                                  <p:stCondLst>
                                    <p:cond delay="500"/>
                                  </p:stCondLst>
                                  <p:childTnLst>
                                    <p:animMotion origin="layout" path="M 2.5E-6 2.57229E-6 L 1.19114 -1.18344 " pathEditMode="relative" rAng="0" ptsTypes="AA">
                                      <p:cBhvr>
                                        <p:cTn id="6" dur="16500" fill="hold"/>
                                        <p:tgtEl>
                                          <p:spTgt spid="28"/>
                                        </p:tgtEl>
                                        <p:attrNameLst>
                                          <p:attrName>ppt_x</p:attrName>
                                          <p:attrName>ppt_y</p:attrName>
                                        </p:attrNameLst>
                                      </p:cBhvr>
                                      <p:rCtr x="59500" y="-59200"/>
                                    </p:animMotion>
                                  </p:childTnLst>
                                </p:cTn>
                              </p:par>
                              <p:par>
                                <p:cTn id="7" presetID="6" presetClass="emph" presetSubtype="0" fill="hold" nodeType="withEffect">
                                  <p:stCondLst>
                                    <p:cond delay="500"/>
                                  </p:stCondLst>
                                  <p:childTnLst>
                                    <p:animScale>
                                      <p:cBhvr>
                                        <p:cTn id="8" dur="16500" fill="hold"/>
                                        <p:tgtEl>
                                          <p:spTgt spid="28"/>
                                        </p:tgtEl>
                                      </p:cBhvr>
                                      <p:by x="2000" y="2000"/>
                                    </p:animScale>
                                  </p:childTnLst>
                                </p:cTn>
                              </p:par>
                              <p:par>
                                <p:cTn id="9" presetID="10" presetClass="exit" presetSubtype="0" fill="hold" nodeType="withEffect">
                                  <p:stCondLst>
                                    <p:cond delay="4500"/>
                                  </p:stCondLst>
                                  <p:childTnLst>
                                    <p:animEffect transition="out" filter="fade">
                                      <p:cBhvr>
                                        <p:cTn id="10" dur="3000"/>
                                        <p:tgtEl>
                                          <p:spTgt spid="20"/>
                                        </p:tgtEl>
                                      </p:cBhvr>
                                    </p:animEffect>
                                    <p:set>
                                      <p:cBhvr>
                                        <p:cTn id="11" dur="1" fill="hold">
                                          <p:stCondLst>
                                            <p:cond delay="2999"/>
                                          </p:stCondLst>
                                        </p:cTn>
                                        <p:tgtEl>
                                          <p:spTgt spid="20"/>
                                        </p:tgtEl>
                                        <p:attrNameLst>
                                          <p:attrName>style.visibility</p:attrName>
                                        </p:attrNameLst>
                                      </p:cBhvr>
                                      <p:to>
                                        <p:strVal val="hidden"/>
                                      </p:to>
                                    </p:set>
                                  </p:childTnLst>
                                </p:cTn>
                              </p:par>
                              <p:par>
                                <p:cTn id="12" presetID="10" presetClass="exit" presetSubtype="0" fill="hold" nodeType="withEffect">
                                  <p:stCondLst>
                                    <p:cond delay="4500"/>
                                  </p:stCondLst>
                                  <p:childTnLst>
                                    <p:animEffect transition="out" filter="fade">
                                      <p:cBhvr>
                                        <p:cTn id="13" dur="3000"/>
                                        <p:tgtEl>
                                          <p:spTgt spid="2"/>
                                        </p:tgtEl>
                                      </p:cBhvr>
                                    </p:animEffect>
                                    <p:set>
                                      <p:cBhvr>
                                        <p:cTn id="14" dur="1" fill="hold">
                                          <p:stCondLst>
                                            <p:cond delay="2999"/>
                                          </p:stCondLst>
                                        </p:cTn>
                                        <p:tgtEl>
                                          <p:spTgt spid="2"/>
                                        </p:tgtEl>
                                        <p:attrNameLst>
                                          <p:attrName>style.visibility</p:attrName>
                                        </p:attrNameLst>
                                      </p:cBhvr>
                                      <p:to>
                                        <p:strVal val="hidden"/>
                                      </p:to>
                                    </p:set>
                                  </p:childTnLst>
                                </p:cTn>
                              </p:par>
                              <p:par>
                                <p:cTn id="15" presetID="10" presetClass="entr" presetSubtype="0" fill="hold" nodeType="withEffect">
                                  <p:stCondLst>
                                    <p:cond delay="4500"/>
                                  </p:stCondLst>
                                  <p:childTnLst>
                                    <p:set>
                                      <p:cBhvr>
                                        <p:cTn id="16" dur="1" fill="hold">
                                          <p:stCondLst>
                                            <p:cond delay="0"/>
                                          </p:stCondLst>
                                        </p:cTn>
                                        <p:tgtEl>
                                          <p:spTgt spid="21"/>
                                        </p:tgtEl>
                                        <p:attrNameLst>
                                          <p:attrName>style.visibility</p:attrName>
                                        </p:attrNameLst>
                                      </p:cBhvr>
                                      <p:to>
                                        <p:strVal val="visible"/>
                                      </p:to>
                                    </p:set>
                                    <p:animEffect transition="in" filter="fade">
                                      <p:cBhvr>
                                        <p:cTn id="17" dur="2000"/>
                                        <p:tgtEl>
                                          <p:spTgt spid="21"/>
                                        </p:tgtEl>
                                      </p:cBhvr>
                                    </p:animEffect>
                                  </p:childTnLst>
                                </p:cTn>
                              </p:par>
                              <p:par>
                                <p:cTn id="18" presetID="22" presetClass="entr" presetSubtype="8" fill="hold" grpId="0" nodeType="withEffect">
                                  <p:stCondLst>
                                    <p:cond delay="7500"/>
                                  </p:stCondLst>
                                  <p:childTnLst>
                                    <p:set>
                                      <p:cBhvr>
                                        <p:cTn id="19" dur="1" fill="hold">
                                          <p:stCondLst>
                                            <p:cond delay="0"/>
                                          </p:stCondLst>
                                        </p:cTn>
                                        <p:tgtEl>
                                          <p:spTgt spid="17"/>
                                        </p:tgtEl>
                                        <p:attrNameLst>
                                          <p:attrName>style.visibility</p:attrName>
                                        </p:attrNameLst>
                                      </p:cBhvr>
                                      <p:to>
                                        <p:strVal val="visible"/>
                                      </p:to>
                                    </p:set>
                                    <p:animEffect transition="in" filter="wipe(left)">
                                      <p:cBhvr>
                                        <p:cTn id="20" dur="2000"/>
                                        <p:tgtEl>
                                          <p:spTgt spid="17"/>
                                        </p:tgtEl>
                                      </p:cBhvr>
                                    </p:animEffect>
                                  </p:childTnLst>
                                </p:cTn>
                              </p:par>
                              <p:par>
                                <p:cTn id="21" presetID="10" presetClass="entr" presetSubtype="0" fill="hold" nodeType="withEffect">
                                  <p:stCondLst>
                                    <p:cond delay="9750"/>
                                  </p:stCondLst>
                                  <p:childTnLst>
                                    <p:set>
                                      <p:cBhvr>
                                        <p:cTn id="22" dur="1" fill="hold">
                                          <p:stCondLst>
                                            <p:cond delay="0"/>
                                          </p:stCondLst>
                                        </p:cTn>
                                        <p:tgtEl>
                                          <p:spTgt spid="4"/>
                                        </p:tgtEl>
                                        <p:attrNameLst>
                                          <p:attrName>style.visibility</p:attrName>
                                        </p:attrNameLst>
                                      </p:cBhvr>
                                      <p:to>
                                        <p:strVal val="visible"/>
                                      </p:to>
                                    </p:set>
                                    <p:animEffect transition="in" filter="fade">
                                      <p:cBhvr>
                                        <p:cTn id="23" dur="2000"/>
                                        <p:tgtEl>
                                          <p:spTgt spid="4"/>
                                        </p:tgtEl>
                                      </p:cBhvr>
                                    </p:animEffect>
                                  </p:childTnLst>
                                </p:cTn>
                              </p:par>
                              <p:par>
                                <p:cTn id="24" presetID="10" presetClass="entr" presetSubtype="0" fill="hold" nodeType="withEffect">
                                  <p:stCondLst>
                                    <p:cond delay="12000"/>
                                  </p:stCondLst>
                                  <p:childTnLst>
                                    <p:set>
                                      <p:cBhvr>
                                        <p:cTn id="25" dur="1" fill="hold">
                                          <p:stCondLst>
                                            <p:cond delay="0"/>
                                          </p:stCondLst>
                                        </p:cTn>
                                        <p:tgtEl>
                                          <p:spTgt spid="23"/>
                                        </p:tgtEl>
                                        <p:attrNameLst>
                                          <p:attrName>style.visibility</p:attrName>
                                        </p:attrNameLst>
                                      </p:cBhvr>
                                      <p:to>
                                        <p:strVal val="visible"/>
                                      </p:to>
                                    </p:set>
                                    <p:animEffect transition="in" filter="fade">
                                      <p:cBhvr>
                                        <p:cTn id="26" dur="1500"/>
                                        <p:tgtEl>
                                          <p:spTgt spid="2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animBg="1"/>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6447979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479"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6390" name="Rectangle 16389"/>
          <p:cNvSpPr/>
          <p:nvPr/>
        </p:nvSpPr>
        <p:spPr>
          <a:xfrm>
            <a:off x="-12700" y="-13831"/>
            <a:ext cx="9156700" cy="4642981"/>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pic>
        <p:nvPicPr>
          <p:cNvPr id="855" name="Picture 854"/>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533400" y="2512473"/>
            <a:ext cx="7699997" cy="1536105"/>
          </a:xfrm>
          <a:prstGeom prst="rect">
            <a:avLst/>
          </a:prstGeom>
        </p:spPr>
      </p:pic>
      <p:sp>
        <p:nvSpPr>
          <p:cNvPr id="9" name="Cloud 8"/>
          <p:cNvSpPr/>
          <p:nvPr/>
        </p:nvSpPr>
        <p:spPr>
          <a:xfrm flipH="1">
            <a:off x="6292281" y="57150"/>
            <a:ext cx="2133600" cy="1280160"/>
          </a:xfrm>
          <a:prstGeom prst="cloud">
            <a:avLst/>
          </a:prstGeom>
          <a:solidFill>
            <a:schemeClr val="bg1"/>
          </a:solidFill>
          <a:ln>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47" name="Cloud 446"/>
          <p:cNvSpPr/>
          <p:nvPr/>
        </p:nvSpPr>
        <p:spPr>
          <a:xfrm>
            <a:off x="5410200" y="742950"/>
            <a:ext cx="1447800" cy="914400"/>
          </a:xfrm>
          <a:prstGeom prst="cloud">
            <a:avLst/>
          </a:prstGeom>
          <a:solidFill>
            <a:schemeClr val="bg1"/>
          </a:solidFill>
          <a:ln>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389" name="Freeform 16388"/>
          <p:cNvSpPr/>
          <p:nvPr/>
        </p:nvSpPr>
        <p:spPr>
          <a:xfrm>
            <a:off x="1172627" y="3743778"/>
            <a:ext cx="6066373" cy="673695"/>
          </a:xfrm>
          <a:custGeom>
            <a:avLst/>
            <a:gdLst>
              <a:gd name="connsiteX0" fmla="*/ 0 w 3248025"/>
              <a:gd name="connsiteY0" fmla="*/ 0 h 257175"/>
              <a:gd name="connsiteX1" fmla="*/ 3248025 w 3248025"/>
              <a:gd name="connsiteY1" fmla="*/ 0 h 257175"/>
              <a:gd name="connsiteX2" fmla="*/ 2266950 w 3248025"/>
              <a:gd name="connsiteY2" fmla="*/ 152400 h 257175"/>
              <a:gd name="connsiteX3" fmla="*/ 1581150 w 3248025"/>
              <a:gd name="connsiteY3" fmla="*/ 257175 h 257175"/>
              <a:gd name="connsiteX4" fmla="*/ 1019175 w 3248025"/>
              <a:gd name="connsiteY4" fmla="*/ 228600 h 257175"/>
              <a:gd name="connsiteX5" fmla="*/ 295275 w 3248025"/>
              <a:gd name="connsiteY5" fmla="*/ 95250 h 257175"/>
              <a:gd name="connsiteX6" fmla="*/ 0 w 3248025"/>
              <a:gd name="connsiteY6" fmla="*/ 0 h 257175"/>
              <a:gd name="connsiteX0" fmla="*/ 0 w 3248025"/>
              <a:gd name="connsiteY0" fmla="*/ 0 h 257175"/>
              <a:gd name="connsiteX1" fmla="*/ 3248025 w 3248025"/>
              <a:gd name="connsiteY1" fmla="*/ 0 h 257175"/>
              <a:gd name="connsiteX2" fmla="*/ 2777506 w 3248025"/>
              <a:gd name="connsiteY2" fmla="*/ 138499 h 257175"/>
              <a:gd name="connsiteX3" fmla="*/ 1581150 w 3248025"/>
              <a:gd name="connsiteY3" fmla="*/ 257175 h 257175"/>
              <a:gd name="connsiteX4" fmla="*/ 1019175 w 3248025"/>
              <a:gd name="connsiteY4" fmla="*/ 228600 h 257175"/>
              <a:gd name="connsiteX5" fmla="*/ 295275 w 3248025"/>
              <a:gd name="connsiteY5" fmla="*/ 95250 h 257175"/>
              <a:gd name="connsiteX6" fmla="*/ 0 w 3248025"/>
              <a:gd name="connsiteY6" fmla="*/ 0 h 257175"/>
              <a:gd name="connsiteX0" fmla="*/ 0 w 3248025"/>
              <a:gd name="connsiteY0" fmla="*/ 0 h 257175"/>
              <a:gd name="connsiteX1" fmla="*/ 3248025 w 3248025"/>
              <a:gd name="connsiteY1" fmla="*/ 0 h 257175"/>
              <a:gd name="connsiteX2" fmla="*/ 3081304 w 3248025"/>
              <a:gd name="connsiteY2" fmla="*/ 52139 h 257175"/>
              <a:gd name="connsiteX3" fmla="*/ 2777506 w 3248025"/>
              <a:gd name="connsiteY3" fmla="*/ 138499 h 257175"/>
              <a:gd name="connsiteX4" fmla="*/ 1581150 w 3248025"/>
              <a:gd name="connsiteY4" fmla="*/ 257175 h 257175"/>
              <a:gd name="connsiteX5" fmla="*/ 1019175 w 3248025"/>
              <a:gd name="connsiteY5" fmla="*/ 228600 h 257175"/>
              <a:gd name="connsiteX6" fmla="*/ 295275 w 3248025"/>
              <a:gd name="connsiteY6" fmla="*/ 95250 h 257175"/>
              <a:gd name="connsiteX7" fmla="*/ 0 w 3248025"/>
              <a:gd name="connsiteY7" fmla="*/ 0 h 257175"/>
              <a:gd name="connsiteX0" fmla="*/ 0 w 3248025"/>
              <a:gd name="connsiteY0" fmla="*/ 0 h 257175"/>
              <a:gd name="connsiteX1" fmla="*/ 3248025 w 3248025"/>
              <a:gd name="connsiteY1" fmla="*/ 0 h 257175"/>
              <a:gd name="connsiteX2" fmla="*/ 3116115 w 3248025"/>
              <a:gd name="connsiteY2" fmla="*/ 83416 h 257175"/>
              <a:gd name="connsiteX3" fmla="*/ 2777506 w 3248025"/>
              <a:gd name="connsiteY3" fmla="*/ 138499 h 257175"/>
              <a:gd name="connsiteX4" fmla="*/ 1581150 w 3248025"/>
              <a:gd name="connsiteY4" fmla="*/ 257175 h 257175"/>
              <a:gd name="connsiteX5" fmla="*/ 1019175 w 3248025"/>
              <a:gd name="connsiteY5" fmla="*/ 228600 h 257175"/>
              <a:gd name="connsiteX6" fmla="*/ 295275 w 3248025"/>
              <a:gd name="connsiteY6" fmla="*/ 95250 h 257175"/>
              <a:gd name="connsiteX7" fmla="*/ 0 w 3248025"/>
              <a:gd name="connsiteY7" fmla="*/ 0 h 257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248025" h="257175">
                <a:moveTo>
                  <a:pt x="0" y="0"/>
                </a:moveTo>
                <a:lnTo>
                  <a:pt x="3248025" y="0"/>
                </a:lnTo>
                <a:lnTo>
                  <a:pt x="3116115" y="83416"/>
                </a:lnTo>
                <a:cubicBezTo>
                  <a:pt x="3003245" y="101777"/>
                  <a:pt x="3033334" y="109539"/>
                  <a:pt x="2777506" y="138499"/>
                </a:cubicBezTo>
                <a:cubicBezTo>
                  <a:pt x="2521679" y="167459"/>
                  <a:pt x="1979935" y="217616"/>
                  <a:pt x="1581150" y="257175"/>
                </a:cubicBezTo>
                <a:lnTo>
                  <a:pt x="1019175" y="228600"/>
                </a:lnTo>
                <a:lnTo>
                  <a:pt x="295275" y="95250"/>
                </a:lnTo>
                <a:lnTo>
                  <a:pt x="0" y="0"/>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453" name="Freeform 452"/>
          <p:cNvSpPr/>
          <p:nvPr/>
        </p:nvSpPr>
        <p:spPr>
          <a:xfrm>
            <a:off x="-12700" y="3505200"/>
            <a:ext cx="9169400" cy="1651000"/>
          </a:xfrm>
          <a:custGeom>
            <a:avLst/>
            <a:gdLst>
              <a:gd name="connsiteX0" fmla="*/ 12700 w 9169400"/>
              <a:gd name="connsiteY0" fmla="*/ 571500 h 1651000"/>
              <a:gd name="connsiteX1" fmla="*/ 622300 w 9169400"/>
              <a:gd name="connsiteY1" fmla="*/ 431800 h 1651000"/>
              <a:gd name="connsiteX2" fmla="*/ 1143000 w 9169400"/>
              <a:gd name="connsiteY2" fmla="*/ 279400 h 1651000"/>
              <a:gd name="connsiteX3" fmla="*/ 1701800 w 9169400"/>
              <a:gd name="connsiteY3" fmla="*/ 228600 h 1651000"/>
              <a:gd name="connsiteX4" fmla="*/ 2794000 w 9169400"/>
              <a:gd name="connsiteY4" fmla="*/ 355600 h 1651000"/>
              <a:gd name="connsiteX5" fmla="*/ 3873500 w 9169400"/>
              <a:gd name="connsiteY5" fmla="*/ 469900 h 1651000"/>
              <a:gd name="connsiteX6" fmla="*/ 5067300 w 9169400"/>
              <a:gd name="connsiteY6" fmla="*/ 622300 h 1651000"/>
              <a:gd name="connsiteX7" fmla="*/ 6261100 w 9169400"/>
              <a:gd name="connsiteY7" fmla="*/ 558800 h 1651000"/>
              <a:gd name="connsiteX8" fmla="*/ 7086600 w 9169400"/>
              <a:gd name="connsiteY8" fmla="*/ 177800 h 1651000"/>
              <a:gd name="connsiteX9" fmla="*/ 9156700 w 9169400"/>
              <a:gd name="connsiteY9" fmla="*/ 0 h 1651000"/>
              <a:gd name="connsiteX10" fmla="*/ 9169400 w 9169400"/>
              <a:gd name="connsiteY10" fmla="*/ 1651000 h 1651000"/>
              <a:gd name="connsiteX11" fmla="*/ 0 w 9169400"/>
              <a:gd name="connsiteY11" fmla="*/ 1651000 h 1651000"/>
              <a:gd name="connsiteX12" fmla="*/ 12700 w 9169400"/>
              <a:gd name="connsiteY12" fmla="*/ 571500 h 1651000"/>
              <a:gd name="connsiteX0" fmla="*/ 12700 w 9169400"/>
              <a:gd name="connsiteY0" fmla="*/ 571500 h 1651000"/>
              <a:gd name="connsiteX1" fmla="*/ 622300 w 9169400"/>
              <a:gd name="connsiteY1" fmla="*/ 431800 h 1651000"/>
              <a:gd name="connsiteX2" fmla="*/ 1143000 w 9169400"/>
              <a:gd name="connsiteY2" fmla="*/ 279400 h 1651000"/>
              <a:gd name="connsiteX3" fmla="*/ 1701800 w 9169400"/>
              <a:gd name="connsiteY3" fmla="*/ 228600 h 1651000"/>
              <a:gd name="connsiteX4" fmla="*/ 2794000 w 9169400"/>
              <a:gd name="connsiteY4" fmla="*/ 355600 h 1651000"/>
              <a:gd name="connsiteX5" fmla="*/ 3873500 w 9169400"/>
              <a:gd name="connsiteY5" fmla="*/ 469900 h 1651000"/>
              <a:gd name="connsiteX6" fmla="*/ 5067300 w 9169400"/>
              <a:gd name="connsiteY6" fmla="*/ 622300 h 1651000"/>
              <a:gd name="connsiteX7" fmla="*/ 6261100 w 9169400"/>
              <a:gd name="connsiteY7" fmla="*/ 558800 h 1651000"/>
              <a:gd name="connsiteX8" fmla="*/ 7086600 w 9169400"/>
              <a:gd name="connsiteY8" fmla="*/ 177800 h 1651000"/>
              <a:gd name="connsiteX9" fmla="*/ 9156700 w 9169400"/>
              <a:gd name="connsiteY9" fmla="*/ 0 h 1651000"/>
              <a:gd name="connsiteX10" fmla="*/ 9169400 w 9169400"/>
              <a:gd name="connsiteY10" fmla="*/ 1651000 h 1651000"/>
              <a:gd name="connsiteX11" fmla="*/ 0 w 9169400"/>
              <a:gd name="connsiteY11" fmla="*/ 1651000 h 1651000"/>
              <a:gd name="connsiteX12" fmla="*/ 12700 w 9169400"/>
              <a:gd name="connsiteY12" fmla="*/ 571500 h 1651000"/>
              <a:gd name="connsiteX0" fmla="*/ 12700 w 9169400"/>
              <a:gd name="connsiteY0" fmla="*/ 571500 h 1651000"/>
              <a:gd name="connsiteX1" fmla="*/ 622300 w 9169400"/>
              <a:gd name="connsiteY1" fmla="*/ 431800 h 1651000"/>
              <a:gd name="connsiteX2" fmla="*/ 1143000 w 9169400"/>
              <a:gd name="connsiteY2" fmla="*/ 279400 h 1651000"/>
              <a:gd name="connsiteX3" fmla="*/ 1701800 w 9169400"/>
              <a:gd name="connsiteY3" fmla="*/ 228600 h 1651000"/>
              <a:gd name="connsiteX4" fmla="*/ 2794000 w 9169400"/>
              <a:gd name="connsiteY4" fmla="*/ 355600 h 1651000"/>
              <a:gd name="connsiteX5" fmla="*/ 3873500 w 9169400"/>
              <a:gd name="connsiteY5" fmla="*/ 469900 h 1651000"/>
              <a:gd name="connsiteX6" fmla="*/ 5067300 w 9169400"/>
              <a:gd name="connsiteY6" fmla="*/ 622300 h 1651000"/>
              <a:gd name="connsiteX7" fmla="*/ 6261100 w 9169400"/>
              <a:gd name="connsiteY7" fmla="*/ 558800 h 1651000"/>
              <a:gd name="connsiteX8" fmla="*/ 7086600 w 9169400"/>
              <a:gd name="connsiteY8" fmla="*/ 177800 h 1651000"/>
              <a:gd name="connsiteX9" fmla="*/ 9156700 w 9169400"/>
              <a:gd name="connsiteY9" fmla="*/ 0 h 1651000"/>
              <a:gd name="connsiteX10" fmla="*/ 9169400 w 9169400"/>
              <a:gd name="connsiteY10" fmla="*/ 1651000 h 1651000"/>
              <a:gd name="connsiteX11" fmla="*/ 0 w 9169400"/>
              <a:gd name="connsiteY11" fmla="*/ 1651000 h 1651000"/>
              <a:gd name="connsiteX12" fmla="*/ 12700 w 9169400"/>
              <a:gd name="connsiteY12" fmla="*/ 571500 h 1651000"/>
              <a:gd name="connsiteX0" fmla="*/ 12700 w 9169400"/>
              <a:gd name="connsiteY0" fmla="*/ 571500 h 1651000"/>
              <a:gd name="connsiteX1" fmla="*/ 622300 w 9169400"/>
              <a:gd name="connsiteY1" fmla="*/ 431800 h 1651000"/>
              <a:gd name="connsiteX2" fmla="*/ 1143000 w 9169400"/>
              <a:gd name="connsiteY2" fmla="*/ 279400 h 1651000"/>
              <a:gd name="connsiteX3" fmla="*/ 1701800 w 9169400"/>
              <a:gd name="connsiteY3" fmla="*/ 228600 h 1651000"/>
              <a:gd name="connsiteX4" fmla="*/ 2794000 w 9169400"/>
              <a:gd name="connsiteY4" fmla="*/ 355600 h 1651000"/>
              <a:gd name="connsiteX5" fmla="*/ 3873500 w 9169400"/>
              <a:gd name="connsiteY5" fmla="*/ 469900 h 1651000"/>
              <a:gd name="connsiteX6" fmla="*/ 5067300 w 9169400"/>
              <a:gd name="connsiteY6" fmla="*/ 622300 h 1651000"/>
              <a:gd name="connsiteX7" fmla="*/ 6261100 w 9169400"/>
              <a:gd name="connsiteY7" fmla="*/ 558800 h 1651000"/>
              <a:gd name="connsiteX8" fmla="*/ 7086600 w 9169400"/>
              <a:gd name="connsiteY8" fmla="*/ 177800 h 1651000"/>
              <a:gd name="connsiteX9" fmla="*/ 9156700 w 9169400"/>
              <a:gd name="connsiteY9" fmla="*/ 0 h 1651000"/>
              <a:gd name="connsiteX10" fmla="*/ 9169400 w 9169400"/>
              <a:gd name="connsiteY10" fmla="*/ 1651000 h 1651000"/>
              <a:gd name="connsiteX11" fmla="*/ 0 w 9169400"/>
              <a:gd name="connsiteY11" fmla="*/ 1651000 h 1651000"/>
              <a:gd name="connsiteX12" fmla="*/ 12700 w 9169400"/>
              <a:gd name="connsiteY12" fmla="*/ 571500 h 1651000"/>
              <a:gd name="connsiteX0" fmla="*/ 12700 w 9169400"/>
              <a:gd name="connsiteY0" fmla="*/ 571500 h 1651000"/>
              <a:gd name="connsiteX1" fmla="*/ 622300 w 9169400"/>
              <a:gd name="connsiteY1" fmla="*/ 431800 h 1651000"/>
              <a:gd name="connsiteX2" fmla="*/ 1143000 w 9169400"/>
              <a:gd name="connsiteY2" fmla="*/ 279400 h 1651000"/>
              <a:gd name="connsiteX3" fmla="*/ 1701800 w 9169400"/>
              <a:gd name="connsiteY3" fmla="*/ 228600 h 1651000"/>
              <a:gd name="connsiteX4" fmla="*/ 2794000 w 9169400"/>
              <a:gd name="connsiteY4" fmla="*/ 355600 h 1651000"/>
              <a:gd name="connsiteX5" fmla="*/ 3873500 w 9169400"/>
              <a:gd name="connsiteY5" fmla="*/ 469900 h 1651000"/>
              <a:gd name="connsiteX6" fmla="*/ 5067300 w 9169400"/>
              <a:gd name="connsiteY6" fmla="*/ 622300 h 1651000"/>
              <a:gd name="connsiteX7" fmla="*/ 6261100 w 9169400"/>
              <a:gd name="connsiteY7" fmla="*/ 558800 h 1651000"/>
              <a:gd name="connsiteX8" fmla="*/ 7086600 w 9169400"/>
              <a:gd name="connsiteY8" fmla="*/ 177800 h 1651000"/>
              <a:gd name="connsiteX9" fmla="*/ 9156700 w 9169400"/>
              <a:gd name="connsiteY9" fmla="*/ 0 h 1651000"/>
              <a:gd name="connsiteX10" fmla="*/ 9169400 w 9169400"/>
              <a:gd name="connsiteY10" fmla="*/ 1651000 h 1651000"/>
              <a:gd name="connsiteX11" fmla="*/ 0 w 9169400"/>
              <a:gd name="connsiteY11" fmla="*/ 1651000 h 1651000"/>
              <a:gd name="connsiteX12" fmla="*/ 12700 w 9169400"/>
              <a:gd name="connsiteY12" fmla="*/ 571500 h 1651000"/>
              <a:gd name="connsiteX0" fmla="*/ 12700 w 9169400"/>
              <a:gd name="connsiteY0" fmla="*/ 571500 h 1651000"/>
              <a:gd name="connsiteX1" fmla="*/ 622300 w 9169400"/>
              <a:gd name="connsiteY1" fmla="*/ 431800 h 1651000"/>
              <a:gd name="connsiteX2" fmla="*/ 1143000 w 9169400"/>
              <a:gd name="connsiteY2" fmla="*/ 279400 h 1651000"/>
              <a:gd name="connsiteX3" fmla="*/ 1701800 w 9169400"/>
              <a:gd name="connsiteY3" fmla="*/ 228600 h 1651000"/>
              <a:gd name="connsiteX4" fmla="*/ 2794000 w 9169400"/>
              <a:gd name="connsiteY4" fmla="*/ 355600 h 1651000"/>
              <a:gd name="connsiteX5" fmla="*/ 3873500 w 9169400"/>
              <a:gd name="connsiteY5" fmla="*/ 469900 h 1651000"/>
              <a:gd name="connsiteX6" fmla="*/ 5067300 w 9169400"/>
              <a:gd name="connsiteY6" fmla="*/ 622300 h 1651000"/>
              <a:gd name="connsiteX7" fmla="*/ 6261100 w 9169400"/>
              <a:gd name="connsiteY7" fmla="*/ 558800 h 1651000"/>
              <a:gd name="connsiteX8" fmla="*/ 7086600 w 9169400"/>
              <a:gd name="connsiteY8" fmla="*/ 177800 h 1651000"/>
              <a:gd name="connsiteX9" fmla="*/ 9156700 w 9169400"/>
              <a:gd name="connsiteY9" fmla="*/ 0 h 1651000"/>
              <a:gd name="connsiteX10" fmla="*/ 9169400 w 9169400"/>
              <a:gd name="connsiteY10" fmla="*/ 1651000 h 1651000"/>
              <a:gd name="connsiteX11" fmla="*/ 0 w 9169400"/>
              <a:gd name="connsiteY11" fmla="*/ 1651000 h 1651000"/>
              <a:gd name="connsiteX12" fmla="*/ 12700 w 9169400"/>
              <a:gd name="connsiteY12" fmla="*/ 571500 h 1651000"/>
              <a:gd name="connsiteX0" fmla="*/ 12700 w 9169400"/>
              <a:gd name="connsiteY0" fmla="*/ 571500 h 1651000"/>
              <a:gd name="connsiteX1" fmla="*/ 622300 w 9169400"/>
              <a:gd name="connsiteY1" fmla="*/ 431800 h 1651000"/>
              <a:gd name="connsiteX2" fmla="*/ 1143000 w 9169400"/>
              <a:gd name="connsiteY2" fmla="*/ 279400 h 1651000"/>
              <a:gd name="connsiteX3" fmla="*/ 1701800 w 9169400"/>
              <a:gd name="connsiteY3" fmla="*/ 228600 h 1651000"/>
              <a:gd name="connsiteX4" fmla="*/ 2794000 w 9169400"/>
              <a:gd name="connsiteY4" fmla="*/ 355600 h 1651000"/>
              <a:gd name="connsiteX5" fmla="*/ 3873500 w 9169400"/>
              <a:gd name="connsiteY5" fmla="*/ 469900 h 1651000"/>
              <a:gd name="connsiteX6" fmla="*/ 5067300 w 9169400"/>
              <a:gd name="connsiteY6" fmla="*/ 622300 h 1651000"/>
              <a:gd name="connsiteX7" fmla="*/ 6261100 w 9169400"/>
              <a:gd name="connsiteY7" fmla="*/ 558800 h 1651000"/>
              <a:gd name="connsiteX8" fmla="*/ 7086600 w 9169400"/>
              <a:gd name="connsiteY8" fmla="*/ 177800 h 1651000"/>
              <a:gd name="connsiteX9" fmla="*/ 9156700 w 9169400"/>
              <a:gd name="connsiteY9" fmla="*/ 0 h 1651000"/>
              <a:gd name="connsiteX10" fmla="*/ 9169400 w 9169400"/>
              <a:gd name="connsiteY10" fmla="*/ 1651000 h 1651000"/>
              <a:gd name="connsiteX11" fmla="*/ 0 w 9169400"/>
              <a:gd name="connsiteY11" fmla="*/ 1651000 h 1651000"/>
              <a:gd name="connsiteX12" fmla="*/ 12700 w 9169400"/>
              <a:gd name="connsiteY12" fmla="*/ 571500 h 1651000"/>
              <a:gd name="connsiteX0" fmla="*/ 12700 w 9169400"/>
              <a:gd name="connsiteY0" fmla="*/ 571500 h 1651000"/>
              <a:gd name="connsiteX1" fmla="*/ 622300 w 9169400"/>
              <a:gd name="connsiteY1" fmla="*/ 431800 h 1651000"/>
              <a:gd name="connsiteX2" fmla="*/ 1143000 w 9169400"/>
              <a:gd name="connsiteY2" fmla="*/ 279400 h 1651000"/>
              <a:gd name="connsiteX3" fmla="*/ 1701800 w 9169400"/>
              <a:gd name="connsiteY3" fmla="*/ 228600 h 1651000"/>
              <a:gd name="connsiteX4" fmla="*/ 2794000 w 9169400"/>
              <a:gd name="connsiteY4" fmla="*/ 355600 h 1651000"/>
              <a:gd name="connsiteX5" fmla="*/ 3873500 w 9169400"/>
              <a:gd name="connsiteY5" fmla="*/ 469900 h 1651000"/>
              <a:gd name="connsiteX6" fmla="*/ 5067300 w 9169400"/>
              <a:gd name="connsiteY6" fmla="*/ 622300 h 1651000"/>
              <a:gd name="connsiteX7" fmla="*/ 6261100 w 9169400"/>
              <a:gd name="connsiteY7" fmla="*/ 558800 h 1651000"/>
              <a:gd name="connsiteX8" fmla="*/ 7086600 w 9169400"/>
              <a:gd name="connsiteY8" fmla="*/ 177800 h 1651000"/>
              <a:gd name="connsiteX9" fmla="*/ 9156700 w 9169400"/>
              <a:gd name="connsiteY9" fmla="*/ 0 h 1651000"/>
              <a:gd name="connsiteX10" fmla="*/ 9169400 w 9169400"/>
              <a:gd name="connsiteY10" fmla="*/ 1651000 h 1651000"/>
              <a:gd name="connsiteX11" fmla="*/ 0 w 9169400"/>
              <a:gd name="connsiteY11" fmla="*/ 1651000 h 1651000"/>
              <a:gd name="connsiteX12" fmla="*/ 12700 w 9169400"/>
              <a:gd name="connsiteY12" fmla="*/ 571500 h 1651000"/>
              <a:gd name="connsiteX0" fmla="*/ 12700 w 9169400"/>
              <a:gd name="connsiteY0" fmla="*/ 571500 h 1651000"/>
              <a:gd name="connsiteX1" fmla="*/ 622300 w 9169400"/>
              <a:gd name="connsiteY1" fmla="*/ 431800 h 1651000"/>
              <a:gd name="connsiteX2" fmla="*/ 1143000 w 9169400"/>
              <a:gd name="connsiteY2" fmla="*/ 279400 h 1651000"/>
              <a:gd name="connsiteX3" fmla="*/ 1701800 w 9169400"/>
              <a:gd name="connsiteY3" fmla="*/ 228600 h 1651000"/>
              <a:gd name="connsiteX4" fmla="*/ 2794000 w 9169400"/>
              <a:gd name="connsiteY4" fmla="*/ 355600 h 1651000"/>
              <a:gd name="connsiteX5" fmla="*/ 3873500 w 9169400"/>
              <a:gd name="connsiteY5" fmla="*/ 469900 h 1651000"/>
              <a:gd name="connsiteX6" fmla="*/ 5067300 w 9169400"/>
              <a:gd name="connsiteY6" fmla="*/ 622300 h 1651000"/>
              <a:gd name="connsiteX7" fmla="*/ 6261100 w 9169400"/>
              <a:gd name="connsiteY7" fmla="*/ 558800 h 1651000"/>
              <a:gd name="connsiteX8" fmla="*/ 7086600 w 9169400"/>
              <a:gd name="connsiteY8" fmla="*/ 177800 h 1651000"/>
              <a:gd name="connsiteX9" fmla="*/ 9156700 w 9169400"/>
              <a:gd name="connsiteY9" fmla="*/ 0 h 1651000"/>
              <a:gd name="connsiteX10" fmla="*/ 9169400 w 9169400"/>
              <a:gd name="connsiteY10" fmla="*/ 1651000 h 1651000"/>
              <a:gd name="connsiteX11" fmla="*/ 0 w 9169400"/>
              <a:gd name="connsiteY11" fmla="*/ 1651000 h 1651000"/>
              <a:gd name="connsiteX12" fmla="*/ 12700 w 9169400"/>
              <a:gd name="connsiteY12" fmla="*/ 571500 h 1651000"/>
              <a:gd name="connsiteX0" fmla="*/ 12700 w 9169400"/>
              <a:gd name="connsiteY0" fmla="*/ 571500 h 1651000"/>
              <a:gd name="connsiteX1" fmla="*/ 622300 w 9169400"/>
              <a:gd name="connsiteY1" fmla="*/ 431800 h 1651000"/>
              <a:gd name="connsiteX2" fmla="*/ 1701800 w 9169400"/>
              <a:gd name="connsiteY2" fmla="*/ 228600 h 1651000"/>
              <a:gd name="connsiteX3" fmla="*/ 2794000 w 9169400"/>
              <a:gd name="connsiteY3" fmla="*/ 355600 h 1651000"/>
              <a:gd name="connsiteX4" fmla="*/ 3873500 w 9169400"/>
              <a:gd name="connsiteY4" fmla="*/ 469900 h 1651000"/>
              <a:gd name="connsiteX5" fmla="*/ 5067300 w 9169400"/>
              <a:gd name="connsiteY5" fmla="*/ 622300 h 1651000"/>
              <a:gd name="connsiteX6" fmla="*/ 6261100 w 9169400"/>
              <a:gd name="connsiteY6" fmla="*/ 558800 h 1651000"/>
              <a:gd name="connsiteX7" fmla="*/ 7086600 w 9169400"/>
              <a:gd name="connsiteY7" fmla="*/ 177800 h 1651000"/>
              <a:gd name="connsiteX8" fmla="*/ 9156700 w 9169400"/>
              <a:gd name="connsiteY8" fmla="*/ 0 h 1651000"/>
              <a:gd name="connsiteX9" fmla="*/ 9169400 w 9169400"/>
              <a:gd name="connsiteY9" fmla="*/ 1651000 h 1651000"/>
              <a:gd name="connsiteX10" fmla="*/ 0 w 9169400"/>
              <a:gd name="connsiteY10" fmla="*/ 1651000 h 1651000"/>
              <a:gd name="connsiteX11" fmla="*/ 12700 w 9169400"/>
              <a:gd name="connsiteY11" fmla="*/ 571500 h 1651000"/>
              <a:gd name="connsiteX0" fmla="*/ 12700 w 9169400"/>
              <a:gd name="connsiteY0" fmla="*/ 571500 h 1651000"/>
              <a:gd name="connsiteX1" fmla="*/ 863600 w 9169400"/>
              <a:gd name="connsiteY1" fmla="*/ 342900 h 1651000"/>
              <a:gd name="connsiteX2" fmla="*/ 1701800 w 9169400"/>
              <a:gd name="connsiteY2" fmla="*/ 228600 h 1651000"/>
              <a:gd name="connsiteX3" fmla="*/ 2794000 w 9169400"/>
              <a:gd name="connsiteY3" fmla="*/ 355600 h 1651000"/>
              <a:gd name="connsiteX4" fmla="*/ 3873500 w 9169400"/>
              <a:gd name="connsiteY4" fmla="*/ 469900 h 1651000"/>
              <a:gd name="connsiteX5" fmla="*/ 5067300 w 9169400"/>
              <a:gd name="connsiteY5" fmla="*/ 622300 h 1651000"/>
              <a:gd name="connsiteX6" fmla="*/ 6261100 w 9169400"/>
              <a:gd name="connsiteY6" fmla="*/ 558800 h 1651000"/>
              <a:gd name="connsiteX7" fmla="*/ 7086600 w 9169400"/>
              <a:gd name="connsiteY7" fmla="*/ 177800 h 1651000"/>
              <a:gd name="connsiteX8" fmla="*/ 9156700 w 9169400"/>
              <a:gd name="connsiteY8" fmla="*/ 0 h 1651000"/>
              <a:gd name="connsiteX9" fmla="*/ 9169400 w 9169400"/>
              <a:gd name="connsiteY9" fmla="*/ 1651000 h 1651000"/>
              <a:gd name="connsiteX10" fmla="*/ 0 w 9169400"/>
              <a:gd name="connsiteY10" fmla="*/ 1651000 h 1651000"/>
              <a:gd name="connsiteX11" fmla="*/ 12700 w 9169400"/>
              <a:gd name="connsiteY11" fmla="*/ 571500 h 1651000"/>
              <a:gd name="connsiteX0" fmla="*/ 12700 w 9169400"/>
              <a:gd name="connsiteY0" fmla="*/ 571500 h 1651000"/>
              <a:gd name="connsiteX1" fmla="*/ 863600 w 9169400"/>
              <a:gd name="connsiteY1" fmla="*/ 342900 h 1651000"/>
              <a:gd name="connsiteX2" fmla="*/ 1701800 w 9169400"/>
              <a:gd name="connsiteY2" fmla="*/ 228600 h 1651000"/>
              <a:gd name="connsiteX3" fmla="*/ 2794000 w 9169400"/>
              <a:gd name="connsiteY3" fmla="*/ 355600 h 1651000"/>
              <a:gd name="connsiteX4" fmla="*/ 3873500 w 9169400"/>
              <a:gd name="connsiteY4" fmla="*/ 469900 h 1651000"/>
              <a:gd name="connsiteX5" fmla="*/ 5067300 w 9169400"/>
              <a:gd name="connsiteY5" fmla="*/ 622300 h 1651000"/>
              <a:gd name="connsiteX6" fmla="*/ 6261100 w 9169400"/>
              <a:gd name="connsiteY6" fmla="*/ 558800 h 1651000"/>
              <a:gd name="connsiteX7" fmla="*/ 7086600 w 9169400"/>
              <a:gd name="connsiteY7" fmla="*/ 177800 h 1651000"/>
              <a:gd name="connsiteX8" fmla="*/ 9156700 w 9169400"/>
              <a:gd name="connsiteY8" fmla="*/ 0 h 1651000"/>
              <a:gd name="connsiteX9" fmla="*/ 9169400 w 9169400"/>
              <a:gd name="connsiteY9" fmla="*/ 1651000 h 1651000"/>
              <a:gd name="connsiteX10" fmla="*/ 0 w 9169400"/>
              <a:gd name="connsiteY10" fmla="*/ 1651000 h 1651000"/>
              <a:gd name="connsiteX11" fmla="*/ 12700 w 9169400"/>
              <a:gd name="connsiteY11" fmla="*/ 571500 h 1651000"/>
              <a:gd name="connsiteX0" fmla="*/ 12700 w 9169400"/>
              <a:gd name="connsiteY0" fmla="*/ 571500 h 1651000"/>
              <a:gd name="connsiteX1" fmla="*/ 863600 w 9169400"/>
              <a:gd name="connsiteY1" fmla="*/ 342900 h 1651000"/>
              <a:gd name="connsiteX2" fmla="*/ 1701800 w 9169400"/>
              <a:gd name="connsiteY2" fmla="*/ 228600 h 1651000"/>
              <a:gd name="connsiteX3" fmla="*/ 2794000 w 9169400"/>
              <a:gd name="connsiteY3" fmla="*/ 355600 h 1651000"/>
              <a:gd name="connsiteX4" fmla="*/ 3873500 w 9169400"/>
              <a:gd name="connsiteY4" fmla="*/ 469900 h 1651000"/>
              <a:gd name="connsiteX5" fmla="*/ 5067300 w 9169400"/>
              <a:gd name="connsiteY5" fmla="*/ 622300 h 1651000"/>
              <a:gd name="connsiteX6" fmla="*/ 6197600 w 9169400"/>
              <a:gd name="connsiteY6" fmla="*/ 482600 h 1651000"/>
              <a:gd name="connsiteX7" fmla="*/ 7086600 w 9169400"/>
              <a:gd name="connsiteY7" fmla="*/ 177800 h 1651000"/>
              <a:gd name="connsiteX8" fmla="*/ 9156700 w 9169400"/>
              <a:gd name="connsiteY8" fmla="*/ 0 h 1651000"/>
              <a:gd name="connsiteX9" fmla="*/ 9169400 w 9169400"/>
              <a:gd name="connsiteY9" fmla="*/ 1651000 h 1651000"/>
              <a:gd name="connsiteX10" fmla="*/ 0 w 9169400"/>
              <a:gd name="connsiteY10" fmla="*/ 1651000 h 1651000"/>
              <a:gd name="connsiteX11" fmla="*/ 12700 w 9169400"/>
              <a:gd name="connsiteY11" fmla="*/ 571500 h 1651000"/>
              <a:gd name="connsiteX0" fmla="*/ 12700 w 9169400"/>
              <a:gd name="connsiteY0" fmla="*/ 571500 h 1651000"/>
              <a:gd name="connsiteX1" fmla="*/ 863600 w 9169400"/>
              <a:gd name="connsiteY1" fmla="*/ 342900 h 1651000"/>
              <a:gd name="connsiteX2" fmla="*/ 1701800 w 9169400"/>
              <a:gd name="connsiteY2" fmla="*/ 228600 h 1651000"/>
              <a:gd name="connsiteX3" fmla="*/ 2794000 w 9169400"/>
              <a:gd name="connsiteY3" fmla="*/ 355600 h 1651000"/>
              <a:gd name="connsiteX4" fmla="*/ 3873500 w 9169400"/>
              <a:gd name="connsiteY4" fmla="*/ 469900 h 1651000"/>
              <a:gd name="connsiteX5" fmla="*/ 5067300 w 9169400"/>
              <a:gd name="connsiteY5" fmla="*/ 622300 h 1651000"/>
              <a:gd name="connsiteX6" fmla="*/ 6197600 w 9169400"/>
              <a:gd name="connsiteY6" fmla="*/ 482600 h 1651000"/>
              <a:gd name="connsiteX7" fmla="*/ 7785100 w 9169400"/>
              <a:gd name="connsiteY7" fmla="*/ 63500 h 1651000"/>
              <a:gd name="connsiteX8" fmla="*/ 9156700 w 9169400"/>
              <a:gd name="connsiteY8" fmla="*/ 0 h 1651000"/>
              <a:gd name="connsiteX9" fmla="*/ 9169400 w 9169400"/>
              <a:gd name="connsiteY9" fmla="*/ 1651000 h 1651000"/>
              <a:gd name="connsiteX10" fmla="*/ 0 w 9169400"/>
              <a:gd name="connsiteY10" fmla="*/ 1651000 h 1651000"/>
              <a:gd name="connsiteX11" fmla="*/ 12700 w 9169400"/>
              <a:gd name="connsiteY11" fmla="*/ 571500 h 1651000"/>
              <a:gd name="connsiteX0" fmla="*/ 12700 w 9169400"/>
              <a:gd name="connsiteY0" fmla="*/ 571500 h 1651000"/>
              <a:gd name="connsiteX1" fmla="*/ 863600 w 9169400"/>
              <a:gd name="connsiteY1" fmla="*/ 342900 h 1651000"/>
              <a:gd name="connsiteX2" fmla="*/ 1701800 w 9169400"/>
              <a:gd name="connsiteY2" fmla="*/ 228600 h 1651000"/>
              <a:gd name="connsiteX3" fmla="*/ 2794000 w 9169400"/>
              <a:gd name="connsiteY3" fmla="*/ 355600 h 1651000"/>
              <a:gd name="connsiteX4" fmla="*/ 3873500 w 9169400"/>
              <a:gd name="connsiteY4" fmla="*/ 469900 h 1651000"/>
              <a:gd name="connsiteX5" fmla="*/ 5067300 w 9169400"/>
              <a:gd name="connsiteY5" fmla="*/ 622300 h 1651000"/>
              <a:gd name="connsiteX6" fmla="*/ 6197600 w 9169400"/>
              <a:gd name="connsiteY6" fmla="*/ 482600 h 1651000"/>
              <a:gd name="connsiteX7" fmla="*/ 7785100 w 9169400"/>
              <a:gd name="connsiteY7" fmla="*/ 63500 h 1651000"/>
              <a:gd name="connsiteX8" fmla="*/ 9156700 w 9169400"/>
              <a:gd name="connsiteY8" fmla="*/ 0 h 1651000"/>
              <a:gd name="connsiteX9" fmla="*/ 9169400 w 9169400"/>
              <a:gd name="connsiteY9" fmla="*/ 1651000 h 1651000"/>
              <a:gd name="connsiteX10" fmla="*/ 0 w 9169400"/>
              <a:gd name="connsiteY10" fmla="*/ 1651000 h 1651000"/>
              <a:gd name="connsiteX11" fmla="*/ 12700 w 9169400"/>
              <a:gd name="connsiteY11" fmla="*/ 571500 h 1651000"/>
              <a:gd name="connsiteX0" fmla="*/ 12700 w 9169400"/>
              <a:gd name="connsiteY0" fmla="*/ 571500 h 1651000"/>
              <a:gd name="connsiteX1" fmla="*/ 863600 w 9169400"/>
              <a:gd name="connsiteY1" fmla="*/ 342900 h 1651000"/>
              <a:gd name="connsiteX2" fmla="*/ 1701800 w 9169400"/>
              <a:gd name="connsiteY2" fmla="*/ 228600 h 1651000"/>
              <a:gd name="connsiteX3" fmla="*/ 2794000 w 9169400"/>
              <a:gd name="connsiteY3" fmla="*/ 355600 h 1651000"/>
              <a:gd name="connsiteX4" fmla="*/ 3873500 w 9169400"/>
              <a:gd name="connsiteY4" fmla="*/ 469900 h 1651000"/>
              <a:gd name="connsiteX5" fmla="*/ 5067300 w 9169400"/>
              <a:gd name="connsiteY5" fmla="*/ 622300 h 1651000"/>
              <a:gd name="connsiteX6" fmla="*/ 6197600 w 9169400"/>
              <a:gd name="connsiteY6" fmla="*/ 482600 h 1651000"/>
              <a:gd name="connsiteX7" fmla="*/ 7785100 w 9169400"/>
              <a:gd name="connsiteY7" fmla="*/ 63500 h 1651000"/>
              <a:gd name="connsiteX8" fmla="*/ 9156700 w 9169400"/>
              <a:gd name="connsiteY8" fmla="*/ 0 h 1651000"/>
              <a:gd name="connsiteX9" fmla="*/ 9169400 w 9169400"/>
              <a:gd name="connsiteY9" fmla="*/ 1651000 h 1651000"/>
              <a:gd name="connsiteX10" fmla="*/ 0 w 9169400"/>
              <a:gd name="connsiteY10" fmla="*/ 1651000 h 1651000"/>
              <a:gd name="connsiteX11" fmla="*/ 12700 w 9169400"/>
              <a:gd name="connsiteY11" fmla="*/ 571500 h 1651000"/>
              <a:gd name="connsiteX0" fmla="*/ 12700 w 9169400"/>
              <a:gd name="connsiteY0" fmla="*/ 571500 h 1651000"/>
              <a:gd name="connsiteX1" fmla="*/ 863600 w 9169400"/>
              <a:gd name="connsiteY1" fmla="*/ 342900 h 1651000"/>
              <a:gd name="connsiteX2" fmla="*/ 1879600 w 9169400"/>
              <a:gd name="connsiteY2" fmla="*/ 215900 h 1651000"/>
              <a:gd name="connsiteX3" fmla="*/ 2794000 w 9169400"/>
              <a:gd name="connsiteY3" fmla="*/ 355600 h 1651000"/>
              <a:gd name="connsiteX4" fmla="*/ 3873500 w 9169400"/>
              <a:gd name="connsiteY4" fmla="*/ 469900 h 1651000"/>
              <a:gd name="connsiteX5" fmla="*/ 5067300 w 9169400"/>
              <a:gd name="connsiteY5" fmla="*/ 622300 h 1651000"/>
              <a:gd name="connsiteX6" fmla="*/ 6197600 w 9169400"/>
              <a:gd name="connsiteY6" fmla="*/ 482600 h 1651000"/>
              <a:gd name="connsiteX7" fmla="*/ 7785100 w 9169400"/>
              <a:gd name="connsiteY7" fmla="*/ 63500 h 1651000"/>
              <a:gd name="connsiteX8" fmla="*/ 9156700 w 9169400"/>
              <a:gd name="connsiteY8" fmla="*/ 0 h 1651000"/>
              <a:gd name="connsiteX9" fmla="*/ 9169400 w 9169400"/>
              <a:gd name="connsiteY9" fmla="*/ 1651000 h 1651000"/>
              <a:gd name="connsiteX10" fmla="*/ 0 w 9169400"/>
              <a:gd name="connsiteY10" fmla="*/ 1651000 h 1651000"/>
              <a:gd name="connsiteX11" fmla="*/ 12700 w 9169400"/>
              <a:gd name="connsiteY11" fmla="*/ 571500 h 1651000"/>
              <a:gd name="connsiteX0" fmla="*/ 12700 w 9169400"/>
              <a:gd name="connsiteY0" fmla="*/ 571500 h 1651000"/>
              <a:gd name="connsiteX1" fmla="*/ 863600 w 9169400"/>
              <a:gd name="connsiteY1" fmla="*/ 342900 h 1651000"/>
              <a:gd name="connsiteX2" fmla="*/ 2794000 w 9169400"/>
              <a:gd name="connsiteY2" fmla="*/ 355600 h 1651000"/>
              <a:gd name="connsiteX3" fmla="*/ 3873500 w 9169400"/>
              <a:gd name="connsiteY3" fmla="*/ 469900 h 1651000"/>
              <a:gd name="connsiteX4" fmla="*/ 5067300 w 9169400"/>
              <a:gd name="connsiteY4" fmla="*/ 622300 h 1651000"/>
              <a:gd name="connsiteX5" fmla="*/ 6197600 w 9169400"/>
              <a:gd name="connsiteY5" fmla="*/ 482600 h 1651000"/>
              <a:gd name="connsiteX6" fmla="*/ 7785100 w 9169400"/>
              <a:gd name="connsiteY6" fmla="*/ 63500 h 1651000"/>
              <a:gd name="connsiteX7" fmla="*/ 9156700 w 9169400"/>
              <a:gd name="connsiteY7" fmla="*/ 0 h 1651000"/>
              <a:gd name="connsiteX8" fmla="*/ 9169400 w 9169400"/>
              <a:gd name="connsiteY8" fmla="*/ 1651000 h 1651000"/>
              <a:gd name="connsiteX9" fmla="*/ 0 w 9169400"/>
              <a:gd name="connsiteY9" fmla="*/ 1651000 h 1651000"/>
              <a:gd name="connsiteX10" fmla="*/ 12700 w 9169400"/>
              <a:gd name="connsiteY10" fmla="*/ 571500 h 1651000"/>
              <a:gd name="connsiteX0" fmla="*/ 12700 w 9169400"/>
              <a:gd name="connsiteY0" fmla="*/ 571500 h 1651000"/>
              <a:gd name="connsiteX1" fmla="*/ 863600 w 9169400"/>
              <a:gd name="connsiteY1" fmla="*/ 342900 h 1651000"/>
              <a:gd name="connsiteX2" fmla="*/ 2565400 w 9169400"/>
              <a:gd name="connsiteY2" fmla="*/ 317500 h 1651000"/>
              <a:gd name="connsiteX3" fmla="*/ 3873500 w 9169400"/>
              <a:gd name="connsiteY3" fmla="*/ 469900 h 1651000"/>
              <a:gd name="connsiteX4" fmla="*/ 5067300 w 9169400"/>
              <a:gd name="connsiteY4" fmla="*/ 622300 h 1651000"/>
              <a:gd name="connsiteX5" fmla="*/ 6197600 w 9169400"/>
              <a:gd name="connsiteY5" fmla="*/ 482600 h 1651000"/>
              <a:gd name="connsiteX6" fmla="*/ 7785100 w 9169400"/>
              <a:gd name="connsiteY6" fmla="*/ 63500 h 1651000"/>
              <a:gd name="connsiteX7" fmla="*/ 9156700 w 9169400"/>
              <a:gd name="connsiteY7" fmla="*/ 0 h 1651000"/>
              <a:gd name="connsiteX8" fmla="*/ 9169400 w 9169400"/>
              <a:gd name="connsiteY8" fmla="*/ 1651000 h 1651000"/>
              <a:gd name="connsiteX9" fmla="*/ 0 w 9169400"/>
              <a:gd name="connsiteY9" fmla="*/ 1651000 h 1651000"/>
              <a:gd name="connsiteX10" fmla="*/ 12700 w 9169400"/>
              <a:gd name="connsiteY10" fmla="*/ 571500 h 1651000"/>
              <a:gd name="connsiteX0" fmla="*/ 12700 w 9169400"/>
              <a:gd name="connsiteY0" fmla="*/ 571500 h 1651000"/>
              <a:gd name="connsiteX1" fmla="*/ 863600 w 9169400"/>
              <a:gd name="connsiteY1" fmla="*/ 342900 h 1651000"/>
              <a:gd name="connsiteX2" fmla="*/ 2565400 w 9169400"/>
              <a:gd name="connsiteY2" fmla="*/ 317500 h 1651000"/>
              <a:gd name="connsiteX3" fmla="*/ 3873500 w 9169400"/>
              <a:gd name="connsiteY3" fmla="*/ 469900 h 1651000"/>
              <a:gd name="connsiteX4" fmla="*/ 5067300 w 9169400"/>
              <a:gd name="connsiteY4" fmla="*/ 622300 h 1651000"/>
              <a:gd name="connsiteX5" fmla="*/ 6197600 w 9169400"/>
              <a:gd name="connsiteY5" fmla="*/ 482600 h 1651000"/>
              <a:gd name="connsiteX6" fmla="*/ 7785100 w 9169400"/>
              <a:gd name="connsiteY6" fmla="*/ 63500 h 1651000"/>
              <a:gd name="connsiteX7" fmla="*/ 9156700 w 9169400"/>
              <a:gd name="connsiteY7" fmla="*/ 0 h 1651000"/>
              <a:gd name="connsiteX8" fmla="*/ 9169400 w 9169400"/>
              <a:gd name="connsiteY8" fmla="*/ 1651000 h 1651000"/>
              <a:gd name="connsiteX9" fmla="*/ 0 w 9169400"/>
              <a:gd name="connsiteY9" fmla="*/ 1651000 h 1651000"/>
              <a:gd name="connsiteX10" fmla="*/ 12700 w 9169400"/>
              <a:gd name="connsiteY10" fmla="*/ 571500 h 1651000"/>
              <a:gd name="connsiteX0" fmla="*/ 12700 w 9169400"/>
              <a:gd name="connsiteY0" fmla="*/ 571500 h 1651000"/>
              <a:gd name="connsiteX1" fmla="*/ 1143000 w 9169400"/>
              <a:gd name="connsiteY1" fmla="*/ 431800 h 1651000"/>
              <a:gd name="connsiteX2" fmla="*/ 2565400 w 9169400"/>
              <a:gd name="connsiteY2" fmla="*/ 317500 h 1651000"/>
              <a:gd name="connsiteX3" fmla="*/ 3873500 w 9169400"/>
              <a:gd name="connsiteY3" fmla="*/ 469900 h 1651000"/>
              <a:gd name="connsiteX4" fmla="*/ 5067300 w 9169400"/>
              <a:gd name="connsiteY4" fmla="*/ 622300 h 1651000"/>
              <a:gd name="connsiteX5" fmla="*/ 6197600 w 9169400"/>
              <a:gd name="connsiteY5" fmla="*/ 482600 h 1651000"/>
              <a:gd name="connsiteX6" fmla="*/ 7785100 w 9169400"/>
              <a:gd name="connsiteY6" fmla="*/ 63500 h 1651000"/>
              <a:gd name="connsiteX7" fmla="*/ 9156700 w 9169400"/>
              <a:gd name="connsiteY7" fmla="*/ 0 h 1651000"/>
              <a:gd name="connsiteX8" fmla="*/ 9169400 w 9169400"/>
              <a:gd name="connsiteY8" fmla="*/ 1651000 h 1651000"/>
              <a:gd name="connsiteX9" fmla="*/ 0 w 9169400"/>
              <a:gd name="connsiteY9" fmla="*/ 1651000 h 1651000"/>
              <a:gd name="connsiteX10" fmla="*/ 12700 w 9169400"/>
              <a:gd name="connsiteY10" fmla="*/ 571500 h 1651000"/>
              <a:gd name="connsiteX0" fmla="*/ 12700 w 9169400"/>
              <a:gd name="connsiteY0" fmla="*/ 571500 h 1651000"/>
              <a:gd name="connsiteX1" fmla="*/ 1143000 w 9169400"/>
              <a:gd name="connsiteY1" fmla="*/ 431800 h 1651000"/>
              <a:gd name="connsiteX2" fmla="*/ 2565400 w 9169400"/>
              <a:gd name="connsiteY2" fmla="*/ 317500 h 1651000"/>
              <a:gd name="connsiteX3" fmla="*/ 3873500 w 9169400"/>
              <a:gd name="connsiteY3" fmla="*/ 469900 h 1651000"/>
              <a:gd name="connsiteX4" fmla="*/ 5067300 w 9169400"/>
              <a:gd name="connsiteY4" fmla="*/ 622300 h 1651000"/>
              <a:gd name="connsiteX5" fmla="*/ 6197600 w 9169400"/>
              <a:gd name="connsiteY5" fmla="*/ 482600 h 1651000"/>
              <a:gd name="connsiteX6" fmla="*/ 7785100 w 9169400"/>
              <a:gd name="connsiteY6" fmla="*/ 63500 h 1651000"/>
              <a:gd name="connsiteX7" fmla="*/ 9156700 w 9169400"/>
              <a:gd name="connsiteY7" fmla="*/ 0 h 1651000"/>
              <a:gd name="connsiteX8" fmla="*/ 9169400 w 9169400"/>
              <a:gd name="connsiteY8" fmla="*/ 1651000 h 1651000"/>
              <a:gd name="connsiteX9" fmla="*/ 0 w 9169400"/>
              <a:gd name="connsiteY9" fmla="*/ 1651000 h 1651000"/>
              <a:gd name="connsiteX10" fmla="*/ 12700 w 9169400"/>
              <a:gd name="connsiteY10" fmla="*/ 571500 h 1651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169400" h="1651000">
                <a:moveTo>
                  <a:pt x="12700" y="571500"/>
                </a:moveTo>
                <a:cubicBezTo>
                  <a:pt x="662517" y="469900"/>
                  <a:pt x="717550" y="474133"/>
                  <a:pt x="1143000" y="431800"/>
                </a:cubicBezTo>
                <a:cubicBezTo>
                  <a:pt x="1568450" y="389467"/>
                  <a:pt x="2110317" y="311150"/>
                  <a:pt x="2565400" y="317500"/>
                </a:cubicBezTo>
                <a:cubicBezTo>
                  <a:pt x="3020483" y="323850"/>
                  <a:pt x="3456517" y="419100"/>
                  <a:pt x="3873500" y="469900"/>
                </a:cubicBezTo>
                <a:cubicBezTo>
                  <a:pt x="4290483" y="520700"/>
                  <a:pt x="4679950" y="620183"/>
                  <a:pt x="5067300" y="622300"/>
                </a:cubicBezTo>
                <a:cubicBezTo>
                  <a:pt x="5454650" y="624417"/>
                  <a:pt x="5744633" y="575733"/>
                  <a:pt x="6197600" y="482600"/>
                </a:cubicBezTo>
                <a:cubicBezTo>
                  <a:pt x="6650567" y="389467"/>
                  <a:pt x="7253817" y="131233"/>
                  <a:pt x="7785100" y="63500"/>
                </a:cubicBezTo>
                <a:cubicBezTo>
                  <a:pt x="8316383" y="-4233"/>
                  <a:pt x="8453967" y="21167"/>
                  <a:pt x="9156700" y="0"/>
                </a:cubicBezTo>
                <a:cubicBezTo>
                  <a:pt x="9160933" y="550333"/>
                  <a:pt x="9165167" y="1100667"/>
                  <a:pt x="9169400" y="1651000"/>
                </a:cubicBezTo>
                <a:lnTo>
                  <a:pt x="0" y="1651000"/>
                </a:lnTo>
                <a:lnTo>
                  <a:pt x="12700" y="5715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5" name="4-Point Star 344"/>
          <p:cNvSpPr/>
          <p:nvPr/>
        </p:nvSpPr>
        <p:spPr>
          <a:xfrm rot="20700000">
            <a:off x="5528468" y="1450343"/>
            <a:ext cx="91440" cy="91440"/>
          </a:xfrm>
          <a:prstGeom prst="star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418" name="4-Point Star 417"/>
          <p:cNvSpPr/>
          <p:nvPr/>
        </p:nvSpPr>
        <p:spPr>
          <a:xfrm rot="19031289">
            <a:off x="5528469" y="1447641"/>
            <a:ext cx="91440" cy="91440"/>
          </a:xfrm>
          <a:prstGeom prst="star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473" name="4-Point Star 472"/>
          <p:cNvSpPr/>
          <p:nvPr/>
        </p:nvSpPr>
        <p:spPr>
          <a:xfrm rot="20700000">
            <a:off x="5733890" y="1221743"/>
            <a:ext cx="91440" cy="91440"/>
          </a:xfrm>
          <a:prstGeom prst="star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474" name="4-Point Star 473"/>
          <p:cNvSpPr/>
          <p:nvPr/>
        </p:nvSpPr>
        <p:spPr>
          <a:xfrm rot="19031289">
            <a:off x="5733891" y="1219041"/>
            <a:ext cx="91440" cy="91440"/>
          </a:xfrm>
          <a:prstGeom prst="star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475" name="4-Point Star 474"/>
          <p:cNvSpPr/>
          <p:nvPr/>
        </p:nvSpPr>
        <p:spPr>
          <a:xfrm rot="20700000">
            <a:off x="5932646" y="1526543"/>
            <a:ext cx="91440" cy="91440"/>
          </a:xfrm>
          <a:prstGeom prst="star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476" name="4-Point Star 475"/>
          <p:cNvSpPr/>
          <p:nvPr/>
        </p:nvSpPr>
        <p:spPr>
          <a:xfrm rot="19031289">
            <a:off x="5932647" y="1523841"/>
            <a:ext cx="91440" cy="91440"/>
          </a:xfrm>
          <a:prstGeom prst="star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477" name="4-Point Star 476"/>
          <p:cNvSpPr/>
          <p:nvPr/>
        </p:nvSpPr>
        <p:spPr>
          <a:xfrm rot="20700000">
            <a:off x="6138068" y="1297943"/>
            <a:ext cx="91440" cy="91440"/>
          </a:xfrm>
          <a:prstGeom prst="star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478" name="4-Point Star 477"/>
          <p:cNvSpPr/>
          <p:nvPr/>
        </p:nvSpPr>
        <p:spPr>
          <a:xfrm rot="19031289">
            <a:off x="6138069" y="1295241"/>
            <a:ext cx="91440" cy="91440"/>
          </a:xfrm>
          <a:prstGeom prst="star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479" name="4-Point Star 478"/>
          <p:cNvSpPr/>
          <p:nvPr/>
        </p:nvSpPr>
        <p:spPr>
          <a:xfrm rot="20700000">
            <a:off x="5810090" y="1145543"/>
            <a:ext cx="91440" cy="91440"/>
          </a:xfrm>
          <a:prstGeom prst="star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480" name="4-Point Star 479"/>
          <p:cNvSpPr/>
          <p:nvPr/>
        </p:nvSpPr>
        <p:spPr>
          <a:xfrm rot="19031289">
            <a:off x="5810091" y="1142841"/>
            <a:ext cx="91440" cy="91440"/>
          </a:xfrm>
          <a:prstGeom prst="star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481" name="4-Point Star 480"/>
          <p:cNvSpPr/>
          <p:nvPr/>
        </p:nvSpPr>
        <p:spPr>
          <a:xfrm rot="20700000">
            <a:off x="6015512" y="1092521"/>
            <a:ext cx="91440" cy="91440"/>
          </a:xfrm>
          <a:prstGeom prst="star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482" name="4-Point Star 481"/>
          <p:cNvSpPr/>
          <p:nvPr/>
        </p:nvSpPr>
        <p:spPr>
          <a:xfrm rot="19031289">
            <a:off x="6015513" y="1089819"/>
            <a:ext cx="91440" cy="91440"/>
          </a:xfrm>
          <a:prstGeom prst="star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483" name="4-Point Star 482"/>
          <p:cNvSpPr/>
          <p:nvPr/>
        </p:nvSpPr>
        <p:spPr>
          <a:xfrm rot="20700000">
            <a:off x="6061868" y="1374143"/>
            <a:ext cx="91440" cy="91440"/>
          </a:xfrm>
          <a:prstGeom prst="star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484" name="4-Point Star 483"/>
          <p:cNvSpPr/>
          <p:nvPr/>
        </p:nvSpPr>
        <p:spPr>
          <a:xfrm rot="19031289">
            <a:off x="6061869" y="1371441"/>
            <a:ext cx="91440" cy="91440"/>
          </a:xfrm>
          <a:prstGeom prst="star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485" name="4-Point Star 484"/>
          <p:cNvSpPr/>
          <p:nvPr/>
        </p:nvSpPr>
        <p:spPr>
          <a:xfrm rot="20700000">
            <a:off x="6267290" y="1145543"/>
            <a:ext cx="91440" cy="91440"/>
          </a:xfrm>
          <a:prstGeom prst="star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486" name="4-Point Star 485"/>
          <p:cNvSpPr/>
          <p:nvPr/>
        </p:nvSpPr>
        <p:spPr>
          <a:xfrm rot="19031289">
            <a:off x="6267291" y="1142841"/>
            <a:ext cx="91440" cy="91440"/>
          </a:xfrm>
          <a:prstGeom prst="star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487" name="4-Point Star 486"/>
          <p:cNvSpPr/>
          <p:nvPr/>
        </p:nvSpPr>
        <p:spPr>
          <a:xfrm rot="20700000">
            <a:off x="6466046" y="1450343"/>
            <a:ext cx="91440" cy="91440"/>
          </a:xfrm>
          <a:prstGeom prst="star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488" name="4-Point Star 487"/>
          <p:cNvSpPr/>
          <p:nvPr/>
        </p:nvSpPr>
        <p:spPr>
          <a:xfrm rot="19031289">
            <a:off x="6466047" y="1447641"/>
            <a:ext cx="91440" cy="91440"/>
          </a:xfrm>
          <a:prstGeom prst="star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489" name="4-Point Star 488"/>
          <p:cNvSpPr/>
          <p:nvPr/>
        </p:nvSpPr>
        <p:spPr>
          <a:xfrm rot="20700000">
            <a:off x="6671468" y="1221743"/>
            <a:ext cx="91440" cy="91440"/>
          </a:xfrm>
          <a:prstGeom prst="star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490" name="4-Point Star 489"/>
          <p:cNvSpPr/>
          <p:nvPr/>
        </p:nvSpPr>
        <p:spPr>
          <a:xfrm rot="19031289">
            <a:off x="6671469" y="1219041"/>
            <a:ext cx="91440" cy="91440"/>
          </a:xfrm>
          <a:prstGeom prst="star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491" name="4-Point Star 490"/>
          <p:cNvSpPr/>
          <p:nvPr/>
        </p:nvSpPr>
        <p:spPr>
          <a:xfrm rot="20700000">
            <a:off x="6343490" y="1069343"/>
            <a:ext cx="91440" cy="91440"/>
          </a:xfrm>
          <a:prstGeom prst="star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492" name="4-Point Star 491"/>
          <p:cNvSpPr/>
          <p:nvPr/>
        </p:nvSpPr>
        <p:spPr>
          <a:xfrm rot="19031289">
            <a:off x="6343491" y="1066641"/>
            <a:ext cx="91440" cy="91440"/>
          </a:xfrm>
          <a:prstGeom prst="star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493" name="4-Point Star 492"/>
          <p:cNvSpPr/>
          <p:nvPr/>
        </p:nvSpPr>
        <p:spPr>
          <a:xfrm rot="20700000">
            <a:off x="6548912" y="1016321"/>
            <a:ext cx="91440" cy="91440"/>
          </a:xfrm>
          <a:prstGeom prst="star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494" name="4-Point Star 493"/>
          <p:cNvSpPr/>
          <p:nvPr/>
        </p:nvSpPr>
        <p:spPr>
          <a:xfrm rot="19031289">
            <a:off x="6548913" y="1013619"/>
            <a:ext cx="91440" cy="91440"/>
          </a:xfrm>
          <a:prstGeom prst="star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495" name="4-Point Star 494"/>
          <p:cNvSpPr/>
          <p:nvPr/>
        </p:nvSpPr>
        <p:spPr>
          <a:xfrm rot="20700000">
            <a:off x="5528468" y="1427165"/>
            <a:ext cx="91440" cy="91440"/>
          </a:xfrm>
          <a:prstGeom prst="star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496" name="4-Point Star 495"/>
          <p:cNvSpPr/>
          <p:nvPr/>
        </p:nvSpPr>
        <p:spPr>
          <a:xfrm rot="19031289">
            <a:off x="5528469" y="1424463"/>
            <a:ext cx="91440" cy="91440"/>
          </a:xfrm>
          <a:prstGeom prst="star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497" name="4-Point Star 496"/>
          <p:cNvSpPr/>
          <p:nvPr/>
        </p:nvSpPr>
        <p:spPr>
          <a:xfrm rot="20700000">
            <a:off x="5733890" y="1198565"/>
            <a:ext cx="91440" cy="91440"/>
          </a:xfrm>
          <a:prstGeom prst="star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498" name="4-Point Star 497"/>
          <p:cNvSpPr/>
          <p:nvPr/>
        </p:nvSpPr>
        <p:spPr>
          <a:xfrm rot="19031289">
            <a:off x="5733891" y="1195863"/>
            <a:ext cx="91440" cy="91440"/>
          </a:xfrm>
          <a:prstGeom prst="star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499" name="4-Point Star 498"/>
          <p:cNvSpPr/>
          <p:nvPr/>
        </p:nvSpPr>
        <p:spPr>
          <a:xfrm rot="20700000">
            <a:off x="5932646" y="1503365"/>
            <a:ext cx="91440" cy="91440"/>
          </a:xfrm>
          <a:prstGeom prst="star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500" name="4-Point Star 499"/>
          <p:cNvSpPr/>
          <p:nvPr/>
        </p:nvSpPr>
        <p:spPr>
          <a:xfrm rot="19031289">
            <a:off x="5932647" y="1500663"/>
            <a:ext cx="91440" cy="91440"/>
          </a:xfrm>
          <a:prstGeom prst="star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501" name="4-Point Star 500"/>
          <p:cNvSpPr/>
          <p:nvPr/>
        </p:nvSpPr>
        <p:spPr>
          <a:xfrm rot="20700000">
            <a:off x="6138068" y="1274765"/>
            <a:ext cx="91440" cy="91440"/>
          </a:xfrm>
          <a:prstGeom prst="star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502" name="4-Point Star 501"/>
          <p:cNvSpPr/>
          <p:nvPr/>
        </p:nvSpPr>
        <p:spPr>
          <a:xfrm rot="19031289">
            <a:off x="6138069" y="1272063"/>
            <a:ext cx="91440" cy="91440"/>
          </a:xfrm>
          <a:prstGeom prst="star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503" name="4-Point Star 502"/>
          <p:cNvSpPr/>
          <p:nvPr/>
        </p:nvSpPr>
        <p:spPr>
          <a:xfrm rot="20700000">
            <a:off x="5810090" y="1122365"/>
            <a:ext cx="91440" cy="91440"/>
          </a:xfrm>
          <a:prstGeom prst="star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504" name="4-Point Star 503"/>
          <p:cNvSpPr/>
          <p:nvPr/>
        </p:nvSpPr>
        <p:spPr>
          <a:xfrm rot="19031289">
            <a:off x="5810091" y="1119663"/>
            <a:ext cx="91440" cy="91440"/>
          </a:xfrm>
          <a:prstGeom prst="star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505" name="4-Point Star 504"/>
          <p:cNvSpPr/>
          <p:nvPr/>
        </p:nvSpPr>
        <p:spPr>
          <a:xfrm rot="20700000">
            <a:off x="6015512" y="1069343"/>
            <a:ext cx="91440" cy="91440"/>
          </a:xfrm>
          <a:prstGeom prst="star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506" name="4-Point Star 505"/>
          <p:cNvSpPr/>
          <p:nvPr/>
        </p:nvSpPr>
        <p:spPr>
          <a:xfrm rot="19031289">
            <a:off x="6015513" y="1066641"/>
            <a:ext cx="91440" cy="91440"/>
          </a:xfrm>
          <a:prstGeom prst="star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507" name="4-Point Star 506"/>
          <p:cNvSpPr/>
          <p:nvPr/>
        </p:nvSpPr>
        <p:spPr>
          <a:xfrm rot="20700000">
            <a:off x="6061868" y="1350965"/>
            <a:ext cx="91440" cy="91440"/>
          </a:xfrm>
          <a:prstGeom prst="star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508" name="4-Point Star 507"/>
          <p:cNvSpPr/>
          <p:nvPr/>
        </p:nvSpPr>
        <p:spPr>
          <a:xfrm rot="19031289">
            <a:off x="6061869" y="1348263"/>
            <a:ext cx="91440" cy="91440"/>
          </a:xfrm>
          <a:prstGeom prst="star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509" name="4-Point Star 508"/>
          <p:cNvSpPr/>
          <p:nvPr/>
        </p:nvSpPr>
        <p:spPr>
          <a:xfrm rot="20700000">
            <a:off x="6267290" y="1122365"/>
            <a:ext cx="91440" cy="91440"/>
          </a:xfrm>
          <a:prstGeom prst="star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510" name="4-Point Star 509"/>
          <p:cNvSpPr/>
          <p:nvPr/>
        </p:nvSpPr>
        <p:spPr>
          <a:xfrm rot="19031289">
            <a:off x="6267291" y="1119663"/>
            <a:ext cx="91440" cy="91440"/>
          </a:xfrm>
          <a:prstGeom prst="star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511" name="4-Point Star 510"/>
          <p:cNvSpPr/>
          <p:nvPr/>
        </p:nvSpPr>
        <p:spPr>
          <a:xfrm rot="20700000">
            <a:off x="6466046" y="1427165"/>
            <a:ext cx="91440" cy="91440"/>
          </a:xfrm>
          <a:prstGeom prst="star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512" name="4-Point Star 511"/>
          <p:cNvSpPr/>
          <p:nvPr/>
        </p:nvSpPr>
        <p:spPr>
          <a:xfrm rot="19031289">
            <a:off x="6466047" y="1424463"/>
            <a:ext cx="91440" cy="91440"/>
          </a:xfrm>
          <a:prstGeom prst="star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513" name="4-Point Star 512"/>
          <p:cNvSpPr/>
          <p:nvPr/>
        </p:nvSpPr>
        <p:spPr>
          <a:xfrm rot="20700000">
            <a:off x="6671468" y="1198565"/>
            <a:ext cx="91440" cy="91440"/>
          </a:xfrm>
          <a:prstGeom prst="star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514" name="4-Point Star 513"/>
          <p:cNvSpPr/>
          <p:nvPr/>
        </p:nvSpPr>
        <p:spPr>
          <a:xfrm rot="19031289">
            <a:off x="6671469" y="1195863"/>
            <a:ext cx="91440" cy="91440"/>
          </a:xfrm>
          <a:prstGeom prst="star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515" name="4-Point Star 514"/>
          <p:cNvSpPr/>
          <p:nvPr/>
        </p:nvSpPr>
        <p:spPr>
          <a:xfrm rot="20700000">
            <a:off x="6343490" y="1046165"/>
            <a:ext cx="91440" cy="91440"/>
          </a:xfrm>
          <a:prstGeom prst="star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516" name="4-Point Star 515"/>
          <p:cNvSpPr/>
          <p:nvPr/>
        </p:nvSpPr>
        <p:spPr>
          <a:xfrm rot="19031289">
            <a:off x="6343491" y="1043463"/>
            <a:ext cx="91440" cy="91440"/>
          </a:xfrm>
          <a:prstGeom prst="star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517" name="4-Point Star 516"/>
          <p:cNvSpPr/>
          <p:nvPr/>
        </p:nvSpPr>
        <p:spPr>
          <a:xfrm rot="20700000">
            <a:off x="6548912" y="993143"/>
            <a:ext cx="91440" cy="91440"/>
          </a:xfrm>
          <a:prstGeom prst="star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518" name="4-Point Star 517"/>
          <p:cNvSpPr/>
          <p:nvPr/>
        </p:nvSpPr>
        <p:spPr>
          <a:xfrm rot="19031289">
            <a:off x="6548913" y="990441"/>
            <a:ext cx="91440" cy="91440"/>
          </a:xfrm>
          <a:prstGeom prst="star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519" name="4-Point Star 518"/>
          <p:cNvSpPr/>
          <p:nvPr/>
        </p:nvSpPr>
        <p:spPr>
          <a:xfrm rot="20700000">
            <a:off x="5604668" y="1297943"/>
            <a:ext cx="91440" cy="91440"/>
          </a:xfrm>
          <a:prstGeom prst="star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520" name="4-Point Star 519"/>
          <p:cNvSpPr/>
          <p:nvPr/>
        </p:nvSpPr>
        <p:spPr>
          <a:xfrm rot="19031289">
            <a:off x="5604669" y="1295241"/>
            <a:ext cx="91440" cy="91440"/>
          </a:xfrm>
          <a:prstGeom prst="star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521" name="4-Point Star 520"/>
          <p:cNvSpPr/>
          <p:nvPr/>
        </p:nvSpPr>
        <p:spPr>
          <a:xfrm rot="20700000">
            <a:off x="5810090" y="1069343"/>
            <a:ext cx="91440" cy="91440"/>
          </a:xfrm>
          <a:prstGeom prst="star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522" name="4-Point Star 521"/>
          <p:cNvSpPr/>
          <p:nvPr/>
        </p:nvSpPr>
        <p:spPr>
          <a:xfrm rot="19031289">
            <a:off x="5810091" y="1066641"/>
            <a:ext cx="91440" cy="91440"/>
          </a:xfrm>
          <a:prstGeom prst="star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523" name="4-Point Star 522"/>
          <p:cNvSpPr/>
          <p:nvPr/>
        </p:nvSpPr>
        <p:spPr>
          <a:xfrm rot="20700000">
            <a:off x="6008846" y="1374143"/>
            <a:ext cx="91440" cy="91440"/>
          </a:xfrm>
          <a:prstGeom prst="star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524" name="4-Point Star 523"/>
          <p:cNvSpPr/>
          <p:nvPr/>
        </p:nvSpPr>
        <p:spPr>
          <a:xfrm rot="19031289">
            <a:off x="6008847" y="1371441"/>
            <a:ext cx="91440" cy="91440"/>
          </a:xfrm>
          <a:prstGeom prst="star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525" name="4-Point Star 524"/>
          <p:cNvSpPr/>
          <p:nvPr/>
        </p:nvSpPr>
        <p:spPr>
          <a:xfrm rot="20700000">
            <a:off x="6214268" y="1145543"/>
            <a:ext cx="91440" cy="91440"/>
          </a:xfrm>
          <a:prstGeom prst="star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526" name="4-Point Star 525"/>
          <p:cNvSpPr/>
          <p:nvPr/>
        </p:nvSpPr>
        <p:spPr>
          <a:xfrm rot="19031289">
            <a:off x="6214269" y="1142841"/>
            <a:ext cx="91440" cy="91440"/>
          </a:xfrm>
          <a:prstGeom prst="star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527" name="4-Point Star 526"/>
          <p:cNvSpPr/>
          <p:nvPr/>
        </p:nvSpPr>
        <p:spPr>
          <a:xfrm rot="20700000">
            <a:off x="5886290" y="993143"/>
            <a:ext cx="91440" cy="91440"/>
          </a:xfrm>
          <a:prstGeom prst="star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528" name="4-Point Star 527"/>
          <p:cNvSpPr/>
          <p:nvPr/>
        </p:nvSpPr>
        <p:spPr>
          <a:xfrm rot="19031289">
            <a:off x="5886291" y="990441"/>
            <a:ext cx="91440" cy="91440"/>
          </a:xfrm>
          <a:prstGeom prst="star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529" name="4-Point Star 528"/>
          <p:cNvSpPr/>
          <p:nvPr/>
        </p:nvSpPr>
        <p:spPr>
          <a:xfrm rot="20700000">
            <a:off x="6091712" y="940121"/>
            <a:ext cx="91440" cy="91440"/>
          </a:xfrm>
          <a:prstGeom prst="star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530" name="4-Point Star 529"/>
          <p:cNvSpPr/>
          <p:nvPr/>
        </p:nvSpPr>
        <p:spPr>
          <a:xfrm rot="19031289">
            <a:off x="6091713" y="937419"/>
            <a:ext cx="91440" cy="91440"/>
          </a:xfrm>
          <a:prstGeom prst="star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531" name="4-Point Star 530"/>
          <p:cNvSpPr/>
          <p:nvPr/>
        </p:nvSpPr>
        <p:spPr>
          <a:xfrm rot="20700000">
            <a:off x="6138068" y="1221743"/>
            <a:ext cx="91440" cy="91440"/>
          </a:xfrm>
          <a:prstGeom prst="star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532" name="4-Point Star 531"/>
          <p:cNvSpPr/>
          <p:nvPr/>
        </p:nvSpPr>
        <p:spPr>
          <a:xfrm rot="19031289">
            <a:off x="6138069" y="1219041"/>
            <a:ext cx="91440" cy="91440"/>
          </a:xfrm>
          <a:prstGeom prst="star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533" name="4-Point Star 532"/>
          <p:cNvSpPr/>
          <p:nvPr/>
        </p:nvSpPr>
        <p:spPr>
          <a:xfrm rot="20700000">
            <a:off x="6343490" y="993143"/>
            <a:ext cx="91440" cy="91440"/>
          </a:xfrm>
          <a:prstGeom prst="star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534" name="4-Point Star 533"/>
          <p:cNvSpPr/>
          <p:nvPr/>
        </p:nvSpPr>
        <p:spPr>
          <a:xfrm rot="19031289">
            <a:off x="6343491" y="990441"/>
            <a:ext cx="91440" cy="91440"/>
          </a:xfrm>
          <a:prstGeom prst="star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535" name="4-Point Star 534"/>
          <p:cNvSpPr/>
          <p:nvPr/>
        </p:nvSpPr>
        <p:spPr>
          <a:xfrm rot="20700000">
            <a:off x="6542246" y="1297943"/>
            <a:ext cx="91440" cy="91440"/>
          </a:xfrm>
          <a:prstGeom prst="star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536" name="4-Point Star 535"/>
          <p:cNvSpPr/>
          <p:nvPr/>
        </p:nvSpPr>
        <p:spPr>
          <a:xfrm rot="19031289">
            <a:off x="6542247" y="1295241"/>
            <a:ext cx="91440" cy="91440"/>
          </a:xfrm>
          <a:prstGeom prst="star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537" name="4-Point Star 536"/>
          <p:cNvSpPr/>
          <p:nvPr/>
        </p:nvSpPr>
        <p:spPr>
          <a:xfrm rot="20700000">
            <a:off x="6747668" y="1069343"/>
            <a:ext cx="91440" cy="91440"/>
          </a:xfrm>
          <a:prstGeom prst="star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538" name="4-Point Star 537"/>
          <p:cNvSpPr/>
          <p:nvPr/>
        </p:nvSpPr>
        <p:spPr>
          <a:xfrm rot="19031289">
            <a:off x="6747669" y="1066641"/>
            <a:ext cx="91440" cy="91440"/>
          </a:xfrm>
          <a:prstGeom prst="star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539" name="4-Point Star 538"/>
          <p:cNvSpPr/>
          <p:nvPr/>
        </p:nvSpPr>
        <p:spPr>
          <a:xfrm rot="20700000">
            <a:off x="6419690" y="916943"/>
            <a:ext cx="91440" cy="91440"/>
          </a:xfrm>
          <a:prstGeom prst="star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540" name="4-Point Star 539"/>
          <p:cNvSpPr/>
          <p:nvPr/>
        </p:nvSpPr>
        <p:spPr>
          <a:xfrm rot="19031289">
            <a:off x="6419691" y="914241"/>
            <a:ext cx="91440" cy="91440"/>
          </a:xfrm>
          <a:prstGeom prst="star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541" name="4-Point Star 540"/>
          <p:cNvSpPr/>
          <p:nvPr/>
        </p:nvSpPr>
        <p:spPr>
          <a:xfrm rot="20700000">
            <a:off x="6625112" y="863921"/>
            <a:ext cx="91440" cy="91440"/>
          </a:xfrm>
          <a:prstGeom prst="star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542" name="4-Point Star 541"/>
          <p:cNvSpPr/>
          <p:nvPr/>
        </p:nvSpPr>
        <p:spPr>
          <a:xfrm rot="19031289">
            <a:off x="6625113" y="861219"/>
            <a:ext cx="91440" cy="91440"/>
          </a:xfrm>
          <a:prstGeom prst="star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543" name="4-Point Star 542"/>
          <p:cNvSpPr/>
          <p:nvPr/>
        </p:nvSpPr>
        <p:spPr>
          <a:xfrm rot="20700000">
            <a:off x="5604668" y="1274765"/>
            <a:ext cx="91440" cy="91440"/>
          </a:xfrm>
          <a:prstGeom prst="star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544" name="4-Point Star 543"/>
          <p:cNvSpPr/>
          <p:nvPr/>
        </p:nvSpPr>
        <p:spPr>
          <a:xfrm rot="19031289">
            <a:off x="5604669" y="1272063"/>
            <a:ext cx="91440" cy="91440"/>
          </a:xfrm>
          <a:prstGeom prst="star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545" name="4-Point Star 544"/>
          <p:cNvSpPr/>
          <p:nvPr/>
        </p:nvSpPr>
        <p:spPr>
          <a:xfrm rot="20700000">
            <a:off x="5810090" y="1046165"/>
            <a:ext cx="91440" cy="91440"/>
          </a:xfrm>
          <a:prstGeom prst="star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546" name="4-Point Star 545"/>
          <p:cNvSpPr/>
          <p:nvPr/>
        </p:nvSpPr>
        <p:spPr>
          <a:xfrm rot="19031289">
            <a:off x="5810091" y="1043463"/>
            <a:ext cx="91440" cy="91440"/>
          </a:xfrm>
          <a:prstGeom prst="star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547" name="4-Point Star 546"/>
          <p:cNvSpPr/>
          <p:nvPr/>
        </p:nvSpPr>
        <p:spPr>
          <a:xfrm rot="20700000">
            <a:off x="6008846" y="1350965"/>
            <a:ext cx="91440" cy="91440"/>
          </a:xfrm>
          <a:prstGeom prst="star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548" name="4-Point Star 547"/>
          <p:cNvSpPr/>
          <p:nvPr/>
        </p:nvSpPr>
        <p:spPr>
          <a:xfrm rot="19031289">
            <a:off x="6008847" y="1348263"/>
            <a:ext cx="91440" cy="91440"/>
          </a:xfrm>
          <a:prstGeom prst="star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549" name="4-Point Star 548"/>
          <p:cNvSpPr/>
          <p:nvPr/>
        </p:nvSpPr>
        <p:spPr>
          <a:xfrm rot="20700000">
            <a:off x="6214268" y="1122365"/>
            <a:ext cx="91440" cy="91440"/>
          </a:xfrm>
          <a:prstGeom prst="star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550" name="4-Point Star 549"/>
          <p:cNvSpPr/>
          <p:nvPr/>
        </p:nvSpPr>
        <p:spPr>
          <a:xfrm rot="19031289">
            <a:off x="6214269" y="1119663"/>
            <a:ext cx="91440" cy="91440"/>
          </a:xfrm>
          <a:prstGeom prst="star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551" name="4-Point Star 550"/>
          <p:cNvSpPr/>
          <p:nvPr/>
        </p:nvSpPr>
        <p:spPr>
          <a:xfrm rot="20700000">
            <a:off x="5886290" y="969965"/>
            <a:ext cx="91440" cy="91440"/>
          </a:xfrm>
          <a:prstGeom prst="star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552" name="4-Point Star 551"/>
          <p:cNvSpPr/>
          <p:nvPr/>
        </p:nvSpPr>
        <p:spPr>
          <a:xfrm rot="19031289">
            <a:off x="5886291" y="967263"/>
            <a:ext cx="91440" cy="91440"/>
          </a:xfrm>
          <a:prstGeom prst="star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553" name="4-Point Star 552"/>
          <p:cNvSpPr/>
          <p:nvPr/>
        </p:nvSpPr>
        <p:spPr>
          <a:xfrm rot="20700000">
            <a:off x="6091712" y="916943"/>
            <a:ext cx="91440" cy="91440"/>
          </a:xfrm>
          <a:prstGeom prst="star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554" name="4-Point Star 553"/>
          <p:cNvSpPr/>
          <p:nvPr/>
        </p:nvSpPr>
        <p:spPr>
          <a:xfrm rot="19031289">
            <a:off x="6091713" y="914241"/>
            <a:ext cx="91440" cy="91440"/>
          </a:xfrm>
          <a:prstGeom prst="star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555" name="4-Point Star 554"/>
          <p:cNvSpPr/>
          <p:nvPr/>
        </p:nvSpPr>
        <p:spPr>
          <a:xfrm rot="20700000">
            <a:off x="6138068" y="1198565"/>
            <a:ext cx="91440" cy="91440"/>
          </a:xfrm>
          <a:prstGeom prst="star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556" name="4-Point Star 555"/>
          <p:cNvSpPr/>
          <p:nvPr/>
        </p:nvSpPr>
        <p:spPr>
          <a:xfrm rot="19031289">
            <a:off x="6138069" y="1195863"/>
            <a:ext cx="91440" cy="91440"/>
          </a:xfrm>
          <a:prstGeom prst="star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557" name="4-Point Star 556"/>
          <p:cNvSpPr/>
          <p:nvPr/>
        </p:nvSpPr>
        <p:spPr>
          <a:xfrm rot="20700000">
            <a:off x="6343490" y="969965"/>
            <a:ext cx="91440" cy="91440"/>
          </a:xfrm>
          <a:prstGeom prst="star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558" name="4-Point Star 557"/>
          <p:cNvSpPr/>
          <p:nvPr/>
        </p:nvSpPr>
        <p:spPr>
          <a:xfrm rot="19031289">
            <a:off x="6343491" y="967263"/>
            <a:ext cx="91440" cy="91440"/>
          </a:xfrm>
          <a:prstGeom prst="star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559" name="4-Point Star 558"/>
          <p:cNvSpPr/>
          <p:nvPr/>
        </p:nvSpPr>
        <p:spPr>
          <a:xfrm rot="20700000">
            <a:off x="6542246" y="1274765"/>
            <a:ext cx="91440" cy="91440"/>
          </a:xfrm>
          <a:prstGeom prst="star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560" name="4-Point Star 559"/>
          <p:cNvSpPr/>
          <p:nvPr/>
        </p:nvSpPr>
        <p:spPr>
          <a:xfrm rot="19031289">
            <a:off x="6542247" y="1272063"/>
            <a:ext cx="91440" cy="91440"/>
          </a:xfrm>
          <a:prstGeom prst="star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561" name="4-Point Star 560"/>
          <p:cNvSpPr/>
          <p:nvPr/>
        </p:nvSpPr>
        <p:spPr>
          <a:xfrm rot="20700000">
            <a:off x="6747668" y="1046165"/>
            <a:ext cx="91440" cy="91440"/>
          </a:xfrm>
          <a:prstGeom prst="star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562" name="4-Point Star 561"/>
          <p:cNvSpPr/>
          <p:nvPr/>
        </p:nvSpPr>
        <p:spPr>
          <a:xfrm rot="19031289">
            <a:off x="6747669" y="1043463"/>
            <a:ext cx="91440" cy="91440"/>
          </a:xfrm>
          <a:prstGeom prst="star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563" name="4-Point Star 562"/>
          <p:cNvSpPr/>
          <p:nvPr/>
        </p:nvSpPr>
        <p:spPr>
          <a:xfrm rot="20700000">
            <a:off x="6419690" y="893765"/>
            <a:ext cx="91440" cy="91440"/>
          </a:xfrm>
          <a:prstGeom prst="star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564" name="4-Point Star 563"/>
          <p:cNvSpPr/>
          <p:nvPr/>
        </p:nvSpPr>
        <p:spPr>
          <a:xfrm rot="19031289">
            <a:off x="6419691" y="891063"/>
            <a:ext cx="91440" cy="91440"/>
          </a:xfrm>
          <a:prstGeom prst="star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565" name="4-Point Star 564"/>
          <p:cNvSpPr/>
          <p:nvPr/>
        </p:nvSpPr>
        <p:spPr>
          <a:xfrm rot="20700000">
            <a:off x="6625112" y="840743"/>
            <a:ext cx="91440" cy="91440"/>
          </a:xfrm>
          <a:prstGeom prst="star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566" name="4-Point Star 565"/>
          <p:cNvSpPr/>
          <p:nvPr/>
        </p:nvSpPr>
        <p:spPr>
          <a:xfrm rot="19031289">
            <a:off x="6625113" y="838041"/>
            <a:ext cx="91440" cy="91440"/>
          </a:xfrm>
          <a:prstGeom prst="star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759" name="4-Point Star 758"/>
          <p:cNvSpPr/>
          <p:nvPr/>
        </p:nvSpPr>
        <p:spPr>
          <a:xfrm rot="20700000">
            <a:off x="6953090" y="1159196"/>
            <a:ext cx="91440" cy="91440"/>
          </a:xfrm>
          <a:prstGeom prst="star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760" name="4-Point Star 759"/>
          <p:cNvSpPr/>
          <p:nvPr/>
        </p:nvSpPr>
        <p:spPr>
          <a:xfrm rot="19031289">
            <a:off x="6953091" y="1156494"/>
            <a:ext cx="91440" cy="91440"/>
          </a:xfrm>
          <a:prstGeom prst="star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761" name="4-Point Star 760"/>
          <p:cNvSpPr/>
          <p:nvPr/>
        </p:nvSpPr>
        <p:spPr>
          <a:xfrm rot="20700000">
            <a:off x="7158512" y="930596"/>
            <a:ext cx="91440" cy="91440"/>
          </a:xfrm>
          <a:prstGeom prst="star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762" name="4-Point Star 761"/>
          <p:cNvSpPr/>
          <p:nvPr/>
        </p:nvSpPr>
        <p:spPr>
          <a:xfrm rot="19031289">
            <a:off x="7158513" y="927894"/>
            <a:ext cx="91440" cy="91440"/>
          </a:xfrm>
          <a:prstGeom prst="star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763" name="4-Point Star 762"/>
          <p:cNvSpPr/>
          <p:nvPr/>
        </p:nvSpPr>
        <p:spPr>
          <a:xfrm rot="20700000">
            <a:off x="7357268" y="1235396"/>
            <a:ext cx="91440" cy="91440"/>
          </a:xfrm>
          <a:prstGeom prst="star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764" name="4-Point Star 763"/>
          <p:cNvSpPr/>
          <p:nvPr/>
        </p:nvSpPr>
        <p:spPr>
          <a:xfrm rot="19031289">
            <a:off x="7357269" y="1232694"/>
            <a:ext cx="91440" cy="91440"/>
          </a:xfrm>
          <a:prstGeom prst="star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765" name="4-Point Star 764"/>
          <p:cNvSpPr/>
          <p:nvPr/>
        </p:nvSpPr>
        <p:spPr>
          <a:xfrm rot="20700000">
            <a:off x="7562690" y="1006796"/>
            <a:ext cx="91440" cy="91440"/>
          </a:xfrm>
          <a:prstGeom prst="star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766" name="4-Point Star 765"/>
          <p:cNvSpPr/>
          <p:nvPr/>
        </p:nvSpPr>
        <p:spPr>
          <a:xfrm rot="19031289">
            <a:off x="7562691" y="1004094"/>
            <a:ext cx="91440" cy="91440"/>
          </a:xfrm>
          <a:prstGeom prst="star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767" name="4-Point Star 766"/>
          <p:cNvSpPr/>
          <p:nvPr/>
        </p:nvSpPr>
        <p:spPr>
          <a:xfrm rot="20700000">
            <a:off x="7234712" y="854396"/>
            <a:ext cx="91440" cy="91440"/>
          </a:xfrm>
          <a:prstGeom prst="star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768" name="4-Point Star 767"/>
          <p:cNvSpPr/>
          <p:nvPr/>
        </p:nvSpPr>
        <p:spPr>
          <a:xfrm rot="19031289">
            <a:off x="7234713" y="851694"/>
            <a:ext cx="91440" cy="91440"/>
          </a:xfrm>
          <a:prstGeom prst="star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769" name="4-Point Star 768"/>
          <p:cNvSpPr/>
          <p:nvPr/>
        </p:nvSpPr>
        <p:spPr>
          <a:xfrm rot="20700000">
            <a:off x="7440134" y="801374"/>
            <a:ext cx="91440" cy="91440"/>
          </a:xfrm>
          <a:prstGeom prst="star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770" name="4-Point Star 769"/>
          <p:cNvSpPr/>
          <p:nvPr/>
        </p:nvSpPr>
        <p:spPr>
          <a:xfrm rot="19031289">
            <a:off x="7440135" y="798672"/>
            <a:ext cx="91440" cy="91440"/>
          </a:xfrm>
          <a:prstGeom prst="star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771" name="4-Point Star 770"/>
          <p:cNvSpPr/>
          <p:nvPr/>
        </p:nvSpPr>
        <p:spPr>
          <a:xfrm rot="20700000">
            <a:off x="7486490" y="1082996"/>
            <a:ext cx="91440" cy="91440"/>
          </a:xfrm>
          <a:prstGeom prst="star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772" name="4-Point Star 771"/>
          <p:cNvSpPr/>
          <p:nvPr/>
        </p:nvSpPr>
        <p:spPr>
          <a:xfrm rot="19031289">
            <a:off x="7486491" y="1080294"/>
            <a:ext cx="91440" cy="91440"/>
          </a:xfrm>
          <a:prstGeom prst="star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773" name="4-Point Star 772"/>
          <p:cNvSpPr/>
          <p:nvPr/>
        </p:nvSpPr>
        <p:spPr>
          <a:xfrm rot="20700000">
            <a:off x="7691912" y="854396"/>
            <a:ext cx="91440" cy="91440"/>
          </a:xfrm>
          <a:prstGeom prst="star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774" name="4-Point Star 773"/>
          <p:cNvSpPr/>
          <p:nvPr/>
        </p:nvSpPr>
        <p:spPr>
          <a:xfrm rot="19031289">
            <a:off x="7691913" y="851694"/>
            <a:ext cx="91440" cy="91440"/>
          </a:xfrm>
          <a:prstGeom prst="star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775" name="4-Point Star 774"/>
          <p:cNvSpPr/>
          <p:nvPr/>
        </p:nvSpPr>
        <p:spPr>
          <a:xfrm rot="20700000">
            <a:off x="7890668" y="1159196"/>
            <a:ext cx="91440" cy="91440"/>
          </a:xfrm>
          <a:prstGeom prst="star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776" name="4-Point Star 775"/>
          <p:cNvSpPr/>
          <p:nvPr/>
        </p:nvSpPr>
        <p:spPr>
          <a:xfrm rot="19031289">
            <a:off x="7890669" y="1156494"/>
            <a:ext cx="91440" cy="91440"/>
          </a:xfrm>
          <a:prstGeom prst="star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777" name="4-Point Star 776"/>
          <p:cNvSpPr/>
          <p:nvPr/>
        </p:nvSpPr>
        <p:spPr>
          <a:xfrm rot="20700000">
            <a:off x="8096090" y="930596"/>
            <a:ext cx="91440" cy="91440"/>
          </a:xfrm>
          <a:prstGeom prst="star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778" name="4-Point Star 777"/>
          <p:cNvSpPr/>
          <p:nvPr/>
        </p:nvSpPr>
        <p:spPr>
          <a:xfrm rot="19031289">
            <a:off x="8096091" y="927894"/>
            <a:ext cx="91440" cy="91440"/>
          </a:xfrm>
          <a:prstGeom prst="star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779" name="4-Point Star 778"/>
          <p:cNvSpPr/>
          <p:nvPr/>
        </p:nvSpPr>
        <p:spPr>
          <a:xfrm rot="20700000">
            <a:off x="7768112" y="778196"/>
            <a:ext cx="91440" cy="91440"/>
          </a:xfrm>
          <a:prstGeom prst="star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780" name="4-Point Star 779"/>
          <p:cNvSpPr/>
          <p:nvPr/>
        </p:nvSpPr>
        <p:spPr>
          <a:xfrm rot="19031289">
            <a:off x="7768113" y="775494"/>
            <a:ext cx="91440" cy="91440"/>
          </a:xfrm>
          <a:prstGeom prst="star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781" name="4-Point Star 780"/>
          <p:cNvSpPr/>
          <p:nvPr/>
        </p:nvSpPr>
        <p:spPr>
          <a:xfrm rot="20700000">
            <a:off x="7973534" y="725174"/>
            <a:ext cx="91440" cy="91440"/>
          </a:xfrm>
          <a:prstGeom prst="star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782" name="4-Point Star 781"/>
          <p:cNvSpPr/>
          <p:nvPr/>
        </p:nvSpPr>
        <p:spPr>
          <a:xfrm rot="19031289">
            <a:off x="7973535" y="722472"/>
            <a:ext cx="91440" cy="91440"/>
          </a:xfrm>
          <a:prstGeom prst="star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783" name="4-Point Star 782"/>
          <p:cNvSpPr/>
          <p:nvPr/>
        </p:nvSpPr>
        <p:spPr>
          <a:xfrm rot="20700000">
            <a:off x="6953090" y="1136018"/>
            <a:ext cx="91440" cy="91440"/>
          </a:xfrm>
          <a:prstGeom prst="star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784" name="4-Point Star 783"/>
          <p:cNvSpPr/>
          <p:nvPr/>
        </p:nvSpPr>
        <p:spPr>
          <a:xfrm rot="19031289">
            <a:off x="6953091" y="1133316"/>
            <a:ext cx="91440" cy="91440"/>
          </a:xfrm>
          <a:prstGeom prst="star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785" name="4-Point Star 784"/>
          <p:cNvSpPr/>
          <p:nvPr/>
        </p:nvSpPr>
        <p:spPr>
          <a:xfrm rot="20700000">
            <a:off x="7158512" y="907418"/>
            <a:ext cx="91440" cy="91440"/>
          </a:xfrm>
          <a:prstGeom prst="star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786" name="4-Point Star 785"/>
          <p:cNvSpPr/>
          <p:nvPr/>
        </p:nvSpPr>
        <p:spPr>
          <a:xfrm rot="19031289">
            <a:off x="7158513" y="904716"/>
            <a:ext cx="91440" cy="91440"/>
          </a:xfrm>
          <a:prstGeom prst="star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787" name="4-Point Star 786"/>
          <p:cNvSpPr/>
          <p:nvPr/>
        </p:nvSpPr>
        <p:spPr>
          <a:xfrm rot="20700000">
            <a:off x="7357268" y="1212218"/>
            <a:ext cx="91440" cy="91440"/>
          </a:xfrm>
          <a:prstGeom prst="star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788" name="4-Point Star 787"/>
          <p:cNvSpPr/>
          <p:nvPr/>
        </p:nvSpPr>
        <p:spPr>
          <a:xfrm rot="19031289">
            <a:off x="7357269" y="1209516"/>
            <a:ext cx="91440" cy="91440"/>
          </a:xfrm>
          <a:prstGeom prst="star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789" name="4-Point Star 788"/>
          <p:cNvSpPr/>
          <p:nvPr/>
        </p:nvSpPr>
        <p:spPr>
          <a:xfrm rot="20700000">
            <a:off x="7562690" y="983618"/>
            <a:ext cx="91440" cy="91440"/>
          </a:xfrm>
          <a:prstGeom prst="star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790" name="4-Point Star 789"/>
          <p:cNvSpPr/>
          <p:nvPr/>
        </p:nvSpPr>
        <p:spPr>
          <a:xfrm rot="19031289">
            <a:off x="7562691" y="980916"/>
            <a:ext cx="91440" cy="91440"/>
          </a:xfrm>
          <a:prstGeom prst="star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791" name="4-Point Star 790"/>
          <p:cNvSpPr/>
          <p:nvPr/>
        </p:nvSpPr>
        <p:spPr>
          <a:xfrm rot="20700000">
            <a:off x="7234712" y="831218"/>
            <a:ext cx="91440" cy="91440"/>
          </a:xfrm>
          <a:prstGeom prst="star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792" name="4-Point Star 791"/>
          <p:cNvSpPr/>
          <p:nvPr/>
        </p:nvSpPr>
        <p:spPr>
          <a:xfrm rot="19031289">
            <a:off x="7234713" y="828516"/>
            <a:ext cx="91440" cy="91440"/>
          </a:xfrm>
          <a:prstGeom prst="star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793" name="4-Point Star 792"/>
          <p:cNvSpPr/>
          <p:nvPr/>
        </p:nvSpPr>
        <p:spPr>
          <a:xfrm rot="20700000">
            <a:off x="7440134" y="778196"/>
            <a:ext cx="91440" cy="91440"/>
          </a:xfrm>
          <a:prstGeom prst="star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794" name="4-Point Star 793"/>
          <p:cNvSpPr/>
          <p:nvPr/>
        </p:nvSpPr>
        <p:spPr>
          <a:xfrm rot="19031289">
            <a:off x="7440135" y="775494"/>
            <a:ext cx="91440" cy="91440"/>
          </a:xfrm>
          <a:prstGeom prst="star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795" name="4-Point Star 794"/>
          <p:cNvSpPr/>
          <p:nvPr/>
        </p:nvSpPr>
        <p:spPr>
          <a:xfrm rot="20700000">
            <a:off x="7486490" y="1059818"/>
            <a:ext cx="91440" cy="91440"/>
          </a:xfrm>
          <a:prstGeom prst="star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796" name="4-Point Star 795"/>
          <p:cNvSpPr/>
          <p:nvPr/>
        </p:nvSpPr>
        <p:spPr>
          <a:xfrm rot="19031289">
            <a:off x="7486491" y="1057116"/>
            <a:ext cx="91440" cy="91440"/>
          </a:xfrm>
          <a:prstGeom prst="star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797" name="4-Point Star 796"/>
          <p:cNvSpPr/>
          <p:nvPr/>
        </p:nvSpPr>
        <p:spPr>
          <a:xfrm rot="20700000">
            <a:off x="7691912" y="831218"/>
            <a:ext cx="91440" cy="91440"/>
          </a:xfrm>
          <a:prstGeom prst="star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798" name="4-Point Star 797"/>
          <p:cNvSpPr/>
          <p:nvPr/>
        </p:nvSpPr>
        <p:spPr>
          <a:xfrm rot="19031289">
            <a:off x="7691913" y="828516"/>
            <a:ext cx="91440" cy="91440"/>
          </a:xfrm>
          <a:prstGeom prst="star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799" name="4-Point Star 798"/>
          <p:cNvSpPr/>
          <p:nvPr/>
        </p:nvSpPr>
        <p:spPr>
          <a:xfrm rot="20700000">
            <a:off x="7890668" y="1136018"/>
            <a:ext cx="91440" cy="91440"/>
          </a:xfrm>
          <a:prstGeom prst="star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800" name="4-Point Star 799"/>
          <p:cNvSpPr/>
          <p:nvPr/>
        </p:nvSpPr>
        <p:spPr>
          <a:xfrm rot="19031289">
            <a:off x="7890669" y="1133316"/>
            <a:ext cx="91440" cy="91440"/>
          </a:xfrm>
          <a:prstGeom prst="star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801" name="4-Point Star 800"/>
          <p:cNvSpPr/>
          <p:nvPr/>
        </p:nvSpPr>
        <p:spPr>
          <a:xfrm rot="20700000">
            <a:off x="8096090" y="907418"/>
            <a:ext cx="91440" cy="91440"/>
          </a:xfrm>
          <a:prstGeom prst="star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802" name="4-Point Star 801"/>
          <p:cNvSpPr/>
          <p:nvPr/>
        </p:nvSpPr>
        <p:spPr>
          <a:xfrm rot="19031289">
            <a:off x="8096091" y="904716"/>
            <a:ext cx="91440" cy="91440"/>
          </a:xfrm>
          <a:prstGeom prst="star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803" name="4-Point Star 802"/>
          <p:cNvSpPr/>
          <p:nvPr/>
        </p:nvSpPr>
        <p:spPr>
          <a:xfrm rot="20700000">
            <a:off x="7768112" y="755018"/>
            <a:ext cx="91440" cy="91440"/>
          </a:xfrm>
          <a:prstGeom prst="star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804" name="4-Point Star 803"/>
          <p:cNvSpPr/>
          <p:nvPr/>
        </p:nvSpPr>
        <p:spPr>
          <a:xfrm rot="19031289">
            <a:off x="7768113" y="752316"/>
            <a:ext cx="91440" cy="91440"/>
          </a:xfrm>
          <a:prstGeom prst="star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805" name="4-Point Star 804"/>
          <p:cNvSpPr/>
          <p:nvPr/>
        </p:nvSpPr>
        <p:spPr>
          <a:xfrm rot="20700000">
            <a:off x="7973534" y="701996"/>
            <a:ext cx="91440" cy="91440"/>
          </a:xfrm>
          <a:prstGeom prst="star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806" name="4-Point Star 805"/>
          <p:cNvSpPr/>
          <p:nvPr/>
        </p:nvSpPr>
        <p:spPr>
          <a:xfrm rot="19031289">
            <a:off x="7973535" y="699294"/>
            <a:ext cx="91440" cy="91440"/>
          </a:xfrm>
          <a:prstGeom prst="star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807" name="4-Point Star 806"/>
          <p:cNvSpPr/>
          <p:nvPr/>
        </p:nvSpPr>
        <p:spPr>
          <a:xfrm rot="20700000">
            <a:off x="7029290" y="1006796"/>
            <a:ext cx="91440" cy="91440"/>
          </a:xfrm>
          <a:prstGeom prst="star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808" name="4-Point Star 807"/>
          <p:cNvSpPr/>
          <p:nvPr/>
        </p:nvSpPr>
        <p:spPr>
          <a:xfrm rot="19031289">
            <a:off x="7029291" y="1004094"/>
            <a:ext cx="91440" cy="91440"/>
          </a:xfrm>
          <a:prstGeom prst="star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809" name="4-Point Star 808"/>
          <p:cNvSpPr/>
          <p:nvPr/>
        </p:nvSpPr>
        <p:spPr>
          <a:xfrm rot="20700000">
            <a:off x="7234712" y="778196"/>
            <a:ext cx="91440" cy="91440"/>
          </a:xfrm>
          <a:prstGeom prst="star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810" name="4-Point Star 809"/>
          <p:cNvSpPr/>
          <p:nvPr/>
        </p:nvSpPr>
        <p:spPr>
          <a:xfrm rot="19031289">
            <a:off x="7234713" y="775494"/>
            <a:ext cx="91440" cy="91440"/>
          </a:xfrm>
          <a:prstGeom prst="star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811" name="4-Point Star 810"/>
          <p:cNvSpPr/>
          <p:nvPr/>
        </p:nvSpPr>
        <p:spPr>
          <a:xfrm rot="20700000">
            <a:off x="7433468" y="1082996"/>
            <a:ext cx="91440" cy="91440"/>
          </a:xfrm>
          <a:prstGeom prst="star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812" name="4-Point Star 811"/>
          <p:cNvSpPr/>
          <p:nvPr/>
        </p:nvSpPr>
        <p:spPr>
          <a:xfrm rot="19031289">
            <a:off x="7433469" y="1080294"/>
            <a:ext cx="91440" cy="91440"/>
          </a:xfrm>
          <a:prstGeom prst="star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813" name="4-Point Star 812"/>
          <p:cNvSpPr/>
          <p:nvPr/>
        </p:nvSpPr>
        <p:spPr>
          <a:xfrm rot="20700000">
            <a:off x="7638890" y="854396"/>
            <a:ext cx="91440" cy="91440"/>
          </a:xfrm>
          <a:prstGeom prst="star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814" name="4-Point Star 813"/>
          <p:cNvSpPr/>
          <p:nvPr/>
        </p:nvSpPr>
        <p:spPr>
          <a:xfrm rot="19031289">
            <a:off x="7638891" y="851694"/>
            <a:ext cx="91440" cy="91440"/>
          </a:xfrm>
          <a:prstGeom prst="star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815" name="4-Point Star 814"/>
          <p:cNvSpPr/>
          <p:nvPr/>
        </p:nvSpPr>
        <p:spPr>
          <a:xfrm rot="20700000">
            <a:off x="7310912" y="701996"/>
            <a:ext cx="91440" cy="91440"/>
          </a:xfrm>
          <a:prstGeom prst="star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816" name="4-Point Star 815"/>
          <p:cNvSpPr/>
          <p:nvPr/>
        </p:nvSpPr>
        <p:spPr>
          <a:xfrm rot="19031289">
            <a:off x="7310913" y="699294"/>
            <a:ext cx="91440" cy="91440"/>
          </a:xfrm>
          <a:prstGeom prst="star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817" name="4-Point Star 816"/>
          <p:cNvSpPr/>
          <p:nvPr/>
        </p:nvSpPr>
        <p:spPr>
          <a:xfrm rot="20700000">
            <a:off x="7516334" y="648974"/>
            <a:ext cx="91440" cy="91440"/>
          </a:xfrm>
          <a:prstGeom prst="star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818" name="4-Point Star 817"/>
          <p:cNvSpPr/>
          <p:nvPr/>
        </p:nvSpPr>
        <p:spPr>
          <a:xfrm rot="19031289">
            <a:off x="7516335" y="646272"/>
            <a:ext cx="91440" cy="91440"/>
          </a:xfrm>
          <a:prstGeom prst="star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819" name="4-Point Star 818"/>
          <p:cNvSpPr/>
          <p:nvPr/>
        </p:nvSpPr>
        <p:spPr>
          <a:xfrm rot="20700000">
            <a:off x="7562690" y="930596"/>
            <a:ext cx="91440" cy="91440"/>
          </a:xfrm>
          <a:prstGeom prst="star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820" name="4-Point Star 819"/>
          <p:cNvSpPr/>
          <p:nvPr/>
        </p:nvSpPr>
        <p:spPr>
          <a:xfrm rot="19031289">
            <a:off x="7562691" y="927894"/>
            <a:ext cx="91440" cy="91440"/>
          </a:xfrm>
          <a:prstGeom prst="star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821" name="4-Point Star 820"/>
          <p:cNvSpPr/>
          <p:nvPr/>
        </p:nvSpPr>
        <p:spPr>
          <a:xfrm rot="20700000">
            <a:off x="7768112" y="701996"/>
            <a:ext cx="91440" cy="91440"/>
          </a:xfrm>
          <a:prstGeom prst="star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822" name="4-Point Star 821"/>
          <p:cNvSpPr/>
          <p:nvPr/>
        </p:nvSpPr>
        <p:spPr>
          <a:xfrm rot="19031289">
            <a:off x="7768113" y="699294"/>
            <a:ext cx="91440" cy="91440"/>
          </a:xfrm>
          <a:prstGeom prst="star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823" name="4-Point Star 822"/>
          <p:cNvSpPr/>
          <p:nvPr/>
        </p:nvSpPr>
        <p:spPr>
          <a:xfrm rot="20700000">
            <a:off x="7966868" y="1006796"/>
            <a:ext cx="91440" cy="91440"/>
          </a:xfrm>
          <a:prstGeom prst="star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824" name="4-Point Star 823"/>
          <p:cNvSpPr/>
          <p:nvPr/>
        </p:nvSpPr>
        <p:spPr>
          <a:xfrm rot="19031289">
            <a:off x="7966869" y="1004094"/>
            <a:ext cx="91440" cy="91440"/>
          </a:xfrm>
          <a:prstGeom prst="star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825" name="4-Point Star 824"/>
          <p:cNvSpPr/>
          <p:nvPr/>
        </p:nvSpPr>
        <p:spPr>
          <a:xfrm rot="20700000">
            <a:off x="8172290" y="778196"/>
            <a:ext cx="91440" cy="91440"/>
          </a:xfrm>
          <a:prstGeom prst="star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826" name="4-Point Star 825"/>
          <p:cNvSpPr/>
          <p:nvPr/>
        </p:nvSpPr>
        <p:spPr>
          <a:xfrm rot="19031289">
            <a:off x="8172291" y="775494"/>
            <a:ext cx="91440" cy="91440"/>
          </a:xfrm>
          <a:prstGeom prst="star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827" name="4-Point Star 826"/>
          <p:cNvSpPr/>
          <p:nvPr/>
        </p:nvSpPr>
        <p:spPr>
          <a:xfrm rot="20700000">
            <a:off x="7844312" y="625796"/>
            <a:ext cx="91440" cy="91440"/>
          </a:xfrm>
          <a:prstGeom prst="star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828" name="4-Point Star 827"/>
          <p:cNvSpPr/>
          <p:nvPr/>
        </p:nvSpPr>
        <p:spPr>
          <a:xfrm rot="19031289">
            <a:off x="7844313" y="623094"/>
            <a:ext cx="91440" cy="91440"/>
          </a:xfrm>
          <a:prstGeom prst="star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829" name="4-Point Star 828"/>
          <p:cNvSpPr/>
          <p:nvPr/>
        </p:nvSpPr>
        <p:spPr>
          <a:xfrm rot="20700000">
            <a:off x="8049734" y="572774"/>
            <a:ext cx="91440" cy="91440"/>
          </a:xfrm>
          <a:prstGeom prst="star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830" name="4-Point Star 829"/>
          <p:cNvSpPr/>
          <p:nvPr/>
        </p:nvSpPr>
        <p:spPr>
          <a:xfrm rot="19031289">
            <a:off x="8049735" y="570072"/>
            <a:ext cx="91440" cy="91440"/>
          </a:xfrm>
          <a:prstGeom prst="star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831" name="4-Point Star 830"/>
          <p:cNvSpPr/>
          <p:nvPr/>
        </p:nvSpPr>
        <p:spPr>
          <a:xfrm rot="20700000">
            <a:off x="7029290" y="983618"/>
            <a:ext cx="91440" cy="91440"/>
          </a:xfrm>
          <a:prstGeom prst="star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832" name="4-Point Star 831"/>
          <p:cNvSpPr/>
          <p:nvPr/>
        </p:nvSpPr>
        <p:spPr>
          <a:xfrm rot="19031289">
            <a:off x="7029291" y="980916"/>
            <a:ext cx="91440" cy="91440"/>
          </a:xfrm>
          <a:prstGeom prst="star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833" name="4-Point Star 832"/>
          <p:cNvSpPr/>
          <p:nvPr/>
        </p:nvSpPr>
        <p:spPr>
          <a:xfrm rot="20700000">
            <a:off x="7234712" y="755018"/>
            <a:ext cx="91440" cy="91440"/>
          </a:xfrm>
          <a:prstGeom prst="star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834" name="4-Point Star 833"/>
          <p:cNvSpPr/>
          <p:nvPr/>
        </p:nvSpPr>
        <p:spPr>
          <a:xfrm rot="19031289">
            <a:off x="7234713" y="752316"/>
            <a:ext cx="91440" cy="91440"/>
          </a:xfrm>
          <a:prstGeom prst="star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835" name="4-Point Star 834"/>
          <p:cNvSpPr/>
          <p:nvPr/>
        </p:nvSpPr>
        <p:spPr>
          <a:xfrm rot="20700000">
            <a:off x="7433468" y="1059818"/>
            <a:ext cx="91440" cy="91440"/>
          </a:xfrm>
          <a:prstGeom prst="star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836" name="4-Point Star 835"/>
          <p:cNvSpPr/>
          <p:nvPr/>
        </p:nvSpPr>
        <p:spPr>
          <a:xfrm rot="19031289">
            <a:off x="7433469" y="1057116"/>
            <a:ext cx="91440" cy="91440"/>
          </a:xfrm>
          <a:prstGeom prst="star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837" name="4-Point Star 836"/>
          <p:cNvSpPr/>
          <p:nvPr/>
        </p:nvSpPr>
        <p:spPr>
          <a:xfrm rot="20700000">
            <a:off x="7638890" y="831218"/>
            <a:ext cx="91440" cy="91440"/>
          </a:xfrm>
          <a:prstGeom prst="star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838" name="4-Point Star 837"/>
          <p:cNvSpPr/>
          <p:nvPr/>
        </p:nvSpPr>
        <p:spPr>
          <a:xfrm rot="19031289">
            <a:off x="7638891" y="828516"/>
            <a:ext cx="91440" cy="91440"/>
          </a:xfrm>
          <a:prstGeom prst="star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839" name="4-Point Star 838"/>
          <p:cNvSpPr/>
          <p:nvPr/>
        </p:nvSpPr>
        <p:spPr>
          <a:xfrm rot="20700000">
            <a:off x="7310912" y="678818"/>
            <a:ext cx="91440" cy="91440"/>
          </a:xfrm>
          <a:prstGeom prst="star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840" name="4-Point Star 839"/>
          <p:cNvSpPr/>
          <p:nvPr/>
        </p:nvSpPr>
        <p:spPr>
          <a:xfrm rot="19031289">
            <a:off x="7310913" y="676116"/>
            <a:ext cx="91440" cy="91440"/>
          </a:xfrm>
          <a:prstGeom prst="star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841" name="4-Point Star 840"/>
          <p:cNvSpPr/>
          <p:nvPr/>
        </p:nvSpPr>
        <p:spPr>
          <a:xfrm rot="20700000">
            <a:off x="7516334" y="625796"/>
            <a:ext cx="91440" cy="91440"/>
          </a:xfrm>
          <a:prstGeom prst="star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842" name="4-Point Star 841"/>
          <p:cNvSpPr/>
          <p:nvPr/>
        </p:nvSpPr>
        <p:spPr>
          <a:xfrm rot="19031289">
            <a:off x="7516335" y="623094"/>
            <a:ext cx="91440" cy="91440"/>
          </a:xfrm>
          <a:prstGeom prst="star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843" name="4-Point Star 842"/>
          <p:cNvSpPr/>
          <p:nvPr/>
        </p:nvSpPr>
        <p:spPr>
          <a:xfrm rot="20700000">
            <a:off x="7562690" y="907418"/>
            <a:ext cx="91440" cy="91440"/>
          </a:xfrm>
          <a:prstGeom prst="star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844" name="4-Point Star 843"/>
          <p:cNvSpPr/>
          <p:nvPr/>
        </p:nvSpPr>
        <p:spPr>
          <a:xfrm rot="19031289">
            <a:off x="7562691" y="904716"/>
            <a:ext cx="91440" cy="91440"/>
          </a:xfrm>
          <a:prstGeom prst="star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845" name="4-Point Star 844"/>
          <p:cNvSpPr/>
          <p:nvPr/>
        </p:nvSpPr>
        <p:spPr>
          <a:xfrm rot="20700000">
            <a:off x="7768112" y="678818"/>
            <a:ext cx="91440" cy="91440"/>
          </a:xfrm>
          <a:prstGeom prst="star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846" name="4-Point Star 845"/>
          <p:cNvSpPr/>
          <p:nvPr/>
        </p:nvSpPr>
        <p:spPr>
          <a:xfrm rot="19031289">
            <a:off x="7768113" y="676116"/>
            <a:ext cx="91440" cy="91440"/>
          </a:xfrm>
          <a:prstGeom prst="star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847" name="4-Point Star 846"/>
          <p:cNvSpPr/>
          <p:nvPr/>
        </p:nvSpPr>
        <p:spPr>
          <a:xfrm rot="20700000">
            <a:off x="7966868" y="983618"/>
            <a:ext cx="91440" cy="91440"/>
          </a:xfrm>
          <a:prstGeom prst="star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848" name="4-Point Star 847"/>
          <p:cNvSpPr/>
          <p:nvPr/>
        </p:nvSpPr>
        <p:spPr>
          <a:xfrm rot="19031289">
            <a:off x="7966869" y="980916"/>
            <a:ext cx="91440" cy="91440"/>
          </a:xfrm>
          <a:prstGeom prst="star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849" name="4-Point Star 848"/>
          <p:cNvSpPr/>
          <p:nvPr/>
        </p:nvSpPr>
        <p:spPr>
          <a:xfrm rot="20700000">
            <a:off x="8172290" y="755018"/>
            <a:ext cx="91440" cy="91440"/>
          </a:xfrm>
          <a:prstGeom prst="star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850" name="4-Point Star 849"/>
          <p:cNvSpPr/>
          <p:nvPr/>
        </p:nvSpPr>
        <p:spPr>
          <a:xfrm rot="19031289">
            <a:off x="8172291" y="752316"/>
            <a:ext cx="91440" cy="91440"/>
          </a:xfrm>
          <a:prstGeom prst="star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851" name="4-Point Star 850"/>
          <p:cNvSpPr/>
          <p:nvPr/>
        </p:nvSpPr>
        <p:spPr>
          <a:xfrm rot="20700000">
            <a:off x="7844312" y="602618"/>
            <a:ext cx="91440" cy="91440"/>
          </a:xfrm>
          <a:prstGeom prst="star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852" name="4-Point Star 851"/>
          <p:cNvSpPr/>
          <p:nvPr/>
        </p:nvSpPr>
        <p:spPr>
          <a:xfrm rot="19031289">
            <a:off x="7844313" y="599916"/>
            <a:ext cx="91440" cy="91440"/>
          </a:xfrm>
          <a:prstGeom prst="star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853" name="4-Point Star 852"/>
          <p:cNvSpPr/>
          <p:nvPr/>
        </p:nvSpPr>
        <p:spPr>
          <a:xfrm rot="20700000">
            <a:off x="8049734" y="549596"/>
            <a:ext cx="91440" cy="91440"/>
          </a:xfrm>
          <a:prstGeom prst="star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854" name="4-Point Star 853"/>
          <p:cNvSpPr/>
          <p:nvPr/>
        </p:nvSpPr>
        <p:spPr>
          <a:xfrm rot="19031289">
            <a:off x="8049735" y="546894"/>
            <a:ext cx="91440" cy="91440"/>
          </a:xfrm>
          <a:prstGeom prst="star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Tree>
    <p:extLst>
      <p:ext uri="{BB962C8B-B14F-4D97-AF65-F5344CB8AC3E}">
        <p14:creationId xmlns:p14="http://schemas.microsoft.com/office/powerpoint/2010/main" val="1826602846"/>
      </p:ext>
    </p:extLst>
  </p:cSld>
  <p:clrMapOvr>
    <a:masterClrMapping/>
  </p:clrMapOvr>
  <mc:AlternateContent xmlns:mc="http://schemas.openxmlformats.org/markup-compatibility/2006" xmlns:p14="http://schemas.microsoft.com/office/powerpoint/2010/main">
    <mc:Choice Requires="p14">
      <p:transition spd="slow" p14:dur="2000">
        <p:push/>
      </p:transition>
    </mc:Choice>
    <mc:Fallback xmlns="">
      <p:transition spd="slow">
        <p:push/>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6" presetClass="emph" presetSubtype="0" repeatCount="indefinite" fill="hold" grpId="0" nodeType="withEffect">
                                  <p:stCondLst>
                                    <p:cond delay="0"/>
                                  </p:stCondLst>
                                  <p:childTnLst>
                                    <p:animEffect transition="out" filter="fade">
                                      <p:cBhvr>
                                        <p:cTn id="6" dur="1000" tmFilter="0, 0; .2, .5; .8, .5; 1, 0"/>
                                        <p:tgtEl>
                                          <p:spTgt spid="418"/>
                                        </p:tgtEl>
                                      </p:cBhvr>
                                    </p:animEffect>
                                    <p:animScale>
                                      <p:cBhvr>
                                        <p:cTn id="7" dur="500" autoRev="1" fill="hold"/>
                                        <p:tgtEl>
                                          <p:spTgt spid="418"/>
                                        </p:tgtEl>
                                      </p:cBhvr>
                                      <p:by x="105000" y="105000"/>
                                    </p:animScale>
                                  </p:childTnLst>
                                </p:cTn>
                              </p:par>
                              <p:par>
                                <p:cTn id="8" presetID="6" presetClass="emph" presetSubtype="0" repeatCount="indefinite" fill="hold" grpId="1" nodeType="withEffect">
                                  <p:stCondLst>
                                    <p:cond delay="0"/>
                                  </p:stCondLst>
                                  <p:childTnLst>
                                    <p:animScale>
                                      <p:cBhvr>
                                        <p:cTn id="9" dur="7000" fill="hold"/>
                                        <p:tgtEl>
                                          <p:spTgt spid="418"/>
                                        </p:tgtEl>
                                      </p:cBhvr>
                                      <p:by x="150000" y="150000"/>
                                    </p:animScale>
                                  </p:childTnLst>
                                </p:cTn>
                              </p:par>
                              <p:par>
                                <p:cTn id="10" presetID="6" presetClass="emph" presetSubtype="0" repeatCount="indefinite" fill="hold" grpId="0" nodeType="withEffect">
                                  <p:stCondLst>
                                    <p:cond delay="0"/>
                                  </p:stCondLst>
                                  <p:childTnLst>
                                    <p:animScale>
                                      <p:cBhvr>
                                        <p:cTn id="11" dur="7000" fill="hold"/>
                                        <p:tgtEl>
                                          <p:spTgt spid="345"/>
                                        </p:tgtEl>
                                      </p:cBhvr>
                                      <p:by x="150000" y="150000"/>
                                    </p:animScale>
                                  </p:childTnLst>
                                </p:cTn>
                              </p:par>
                              <p:par>
                                <p:cTn id="12" presetID="42" presetClass="path" presetSubtype="0" repeatCount="indefinite" accel="50000" decel="50000" fill="hold" grpId="2" nodeType="withEffect">
                                  <p:stCondLst>
                                    <p:cond delay="0"/>
                                  </p:stCondLst>
                                  <p:childTnLst>
                                    <p:animMotion origin="layout" path="M 1.38889E-6 -3.45679E-6 L 1.38889E-6 0.58025 " pathEditMode="relative" rAng="0" ptsTypes="AA">
                                      <p:cBhvr>
                                        <p:cTn id="13" dur="7000" fill="hold"/>
                                        <p:tgtEl>
                                          <p:spTgt spid="418"/>
                                        </p:tgtEl>
                                        <p:attrNameLst>
                                          <p:attrName>ppt_x</p:attrName>
                                          <p:attrName>ppt_y</p:attrName>
                                        </p:attrNameLst>
                                      </p:cBhvr>
                                      <p:rCtr x="0" y="29012"/>
                                    </p:animMotion>
                                  </p:childTnLst>
                                </p:cTn>
                              </p:par>
                              <p:par>
                                <p:cTn id="14" presetID="42" presetClass="path" presetSubtype="0" repeatCount="indefinite" accel="50000" decel="50000" fill="hold" grpId="1" nodeType="withEffect">
                                  <p:stCondLst>
                                    <p:cond delay="0"/>
                                  </p:stCondLst>
                                  <p:childTnLst>
                                    <p:animMotion origin="layout" path="M 1.38889E-6 -7.40741E-7 L 1.38889E-6 0.57963 " pathEditMode="relative" rAng="0" ptsTypes="AA">
                                      <p:cBhvr>
                                        <p:cTn id="15" dur="7000" fill="hold"/>
                                        <p:tgtEl>
                                          <p:spTgt spid="345"/>
                                        </p:tgtEl>
                                        <p:attrNameLst>
                                          <p:attrName>ppt_x</p:attrName>
                                          <p:attrName>ppt_y</p:attrName>
                                        </p:attrNameLst>
                                      </p:cBhvr>
                                      <p:rCtr x="0" y="28981"/>
                                    </p:animMotion>
                                  </p:childTnLst>
                                </p:cTn>
                              </p:par>
                              <p:par>
                                <p:cTn id="16" presetID="26" presetClass="emph" presetSubtype="0" repeatCount="indefinite" fill="hold" grpId="0" nodeType="withEffect">
                                  <p:stCondLst>
                                    <p:cond delay="0"/>
                                  </p:stCondLst>
                                  <p:childTnLst>
                                    <p:animEffect transition="out" filter="fade">
                                      <p:cBhvr>
                                        <p:cTn id="17" dur="1000" tmFilter="0, 0; .2, .5; .8, .5; 1, 0"/>
                                        <p:tgtEl>
                                          <p:spTgt spid="474"/>
                                        </p:tgtEl>
                                      </p:cBhvr>
                                    </p:animEffect>
                                    <p:animScale>
                                      <p:cBhvr>
                                        <p:cTn id="18" dur="500" autoRev="1" fill="hold"/>
                                        <p:tgtEl>
                                          <p:spTgt spid="474"/>
                                        </p:tgtEl>
                                      </p:cBhvr>
                                      <p:by x="105000" y="105000"/>
                                    </p:animScale>
                                  </p:childTnLst>
                                </p:cTn>
                              </p:par>
                              <p:par>
                                <p:cTn id="19" presetID="6" presetClass="emph" presetSubtype="0" repeatCount="indefinite" fill="hold" grpId="1" nodeType="withEffect">
                                  <p:stCondLst>
                                    <p:cond delay="0"/>
                                  </p:stCondLst>
                                  <p:childTnLst>
                                    <p:animScale>
                                      <p:cBhvr>
                                        <p:cTn id="20" dur="7000" fill="hold"/>
                                        <p:tgtEl>
                                          <p:spTgt spid="474"/>
                                        </p:tgtEl>
                                      </p:cBhvr>
                                      <p:by x="150000" y="150000"/>
                                    </p:animScale>
                                  </p:childTnLst>
                                </p:cTn>
                              </p:par>
                              <p:par>
                                <p:cTn id="21" presetID="6" presetClass="emph" presetSubtype="0" repeatCount="indefinite" fill="hold" grpId="0" nodeType="withEffect">
                                  <p:stCondLst>
                                    <p:cond delay="0"/>
                                  </p:stCondLst>
                                  <p:childTnLst>
                                    <p:animScale>
                                      <p:cBhvr>
                                        <p:cTn id="22" dur="7000" fill="hold"/>
                                        <p:tgtEl>
                                          <p:spTgt spid="473"/>
                                        </p:tgtEl>
                                      </p:cBhvr>
                                      <p:by x="150000" y="150000"/>
                                    </p:animScale>
                                  </p:childTnLst>
                                </p:cTn>
                              </p:par>
                              <p:par>
                                <p:cTn id="23" presetID="42" presetClass="path" presetSubtype="0" repeatCount="indefinite" accel="50000" decel="50000" fill="hold" grpId="2" nodeType="withEffect">
                                  <p:stCondLst>
                                    <p:cond delay="0"/>
                                  </p:stCondLst>
                                  <p:childTnLst>
                                    <p:animMotion origin="layout" path="M 1.38889E-6 -3.45679E-6 L 1.38889E-6 0.58025 " pathEditMode="relative" rAng="0" ptsTypes="AA">
                                      <p:cBhvr>
                                        <p:cTn id="24" dur="7000" fill="hold"/>
                                        <p:tgtEl>
                                          <p:spTgt spid="474"/>
                                        </p:tgtEl>
                                        <p:attrNameLst>
                                          <p:attrName>ppt_x</p:attrName>
                                          <p:attrName>ppt_y</p:attrName>
                                        </p:attrNameLst>
                                      </p:cBhvr>
                                      <p:rCtr x="0" y="29012"/>
                                    </p:animMotion>
                                  </p:childTnLst>
                                </p:cTn>
                              </p:par>
                              <p:par>
                                <p:cTn id="25" presetID="42" presetClass="path" presetSubtype="0" repeatCount="indefinite" accel="50000" decel="50000" fill="hold" grpId="1" nodeType="withEffect">
                                  <p:stCondLst>
                                    <p:cond delay="0"/>
                                  </p:stCondLst>
                                  <p:childTnLst>
                                    <p:animMotion origin="layout" path="M 1.38889E-6 -7.40741E-7 L 1.38889E-6 0.57963 " pathEditMode="relative" rAng="0" ptsTypes="AA">
                                      <p:cBhvr>
                                        <p:cTn id="26" dur="7000" fill="hold"/>
                                        <p:tgtEl>
                                          <p:spTgt spid="473"/>
                                        </p:tgtEl>
                                        <p:attrNameLst>
                                          <p:attrName>ppt_x</p:attrName>
                                          <p:attrName>ppt_y</p:attrName>
                                        </p:attrNameLst>
                                      </p:cBhvr>
                                      <p:rCtr x="0" y="28981"/>
                                    </p:animMotion>
                                  </p:childTnLst>
                                </p:cTn>
                              </p:par>
                              <p:par>
                                <p:cTn id="27" presetID="26" presetClass="emph" presetSubtype="0" repeatCount="indefinite" fill="hold" grpId="0" nodeType="withEffect">
                                  <p:stCondLst>
                                    <p:cond delay="0"/>
                                  </p:stCondLst>
                                  <p:childTnLst>
                                    <p:animEffect transition="out" filter="fade">
                                      <p:cBhvr>
                                        <p:cTn id="28" dur="1000" tmFilter="0, 0; .2, .5; .8, .5; 1, 0"/>
                                        <p:tgtEl>
                                          <p:spTgt spid="476"/>
                                        </p:tgtEl>
                                      </p:cBhvr>
                                    </p:animEffect>
                                    <p:animScale>
                                      <p:cBhvr>
                                        <p:cTn id="29" dur="500" autoRev="1" fill="hold"/>
                                        <p:tgtEl>
                                          <p:spTgt spid="476"/>
                                        </p:tgtEl>
                                      </p:cBhvr>
                                      <p:by x="105000" y="105000"/>
                                    </p:animScale>
                                  </p:childTnLst>
                                </p:cTn>
                              </p:par>
                              <p:par>
                                <p:cTn id="30" presetID="6" presetClass="emph" presetSubtype="0" repeatCount="indefinite" fill="hold" grpId="1" nodeType="withEffect">
                                  <p:stCondLst>
                                    <p:cond delay="0"/>
                                  </p:stCondLst>
                                  <p:childTnLst>
                                    <p:animScale>
                                      <p:cBhvr>
                                        <p:cTn id="31" dur="7000" fill="hold"/>
                                        <p:tgtEl>
                                          <p:spTgt spid="476"/>
                                        </p:tgtEl>
                                      </p:cBhvr>
                                      <p:by x="150000" y="150000"/>
                                    </p:animScale>
                                  </p:childTnLst>
                                </p:cTn>
                              </p:par>
                              <p:par>
                                <p:cTn id="32" presetID="6" presetClass="emph" presetSubtype="0" repeatCount="indefinite" fill="hold" grpId="0" nodeType="withEffect">
                                  <p:stCondLst>
                                    <p:cond delay="0"/>
                                  </p:stCondLst>
                                  <p:childTnLst>
                                    <p:animScale>
                                      <p:cBhvr>
                                        <p:cTn id="33" dur="7000" fill="hold"/>
                                        <p:tgtEl>
                                          <p:spTgt spid="475"/>
                                        </p:tgtEl>
                                      </p:cBhvr>
                                      <p:by x="150000" y="150000"/>
                                    </p:animScale>
                                  </p:childTnLst>
                                </p:cTn>
                              </p:par>
                              <p:par>
                                <p:cTn id="34" presetID="42" presetClass="path" presetSubtype="0" repeatCount="indefinite" accel="50000" decel="50000" fill="hold" grpId="2" nodeType="withEffect">
                                  <p:stCondLst>
                                    <p:cond delay="0"/>
                                  </p:stCondLst>
                                  <p:childTnLst>
                                    <p:animMotion origin="layout" path="M 1.38889E-6 -3.45679E-6 L 1.38889E-6 0.58025 " pathEditMode="relative" rAng="0" ptsTypes="AA">
                                      <p:cBhvr>
                                        <p:cTn id="35" dur="7000" fill="hold"/>
                                        <p:tgtEl>
                                          <p:spTgt spid="476"/>
                                        </p:tgtEl>
                                        <p:attrNameLst>
                                          <p:attrName>ppt_x</p:attrName>
                                          <p:attrName>ppt_y</p:attrName>
                                        </p:attrNameLst>
                                      </p:cBhvr>
                                      <p:rCtr x="0" y="29012"/>
                                    </p:animMotion>
                                  </p:childTnLst>
                                </p:cTn>
                              </p:par>
                              <p:par>
                                <p:cTn id="36" presetID="42" presetClass="path" presetSubtype="0" repeatCount="indefinite" accel="50000" decel="50000" fill="hold" grpId="1" nodeType="withEffect">
                                  <p:stCondLst>
                                    <p:cond delay="0"/>
                                  </p:stCondLst>
                                  <p:childTnLst>
                                    <p:animMotion origin="layout" path="M 1.38889E-6 -7.40741E-7 L 1.38889E-6 0.57963 " pathEditMode="relative" rAng="0" ptsTypes="AA">
                                      <p:cBhvr>
                                        <p:cTn id="37" dur="7000" fill="hold"/>
                                        <p:tgtEl>
                                          <p:spTgt spid="475"/>
                                        </p:tgtEl>
                                        <p:attrNameLst>
                                          <p:attrName>ppt_x</p:attrName>
                                          <p:attrName>ppt_y</p:attrName>
                                        </p:attrNameLst>
                                      </p:cBhvr>
                                      <p:rCtr x="0" y="28981"/>
                                    </p:animMotion>
                                  </p:childTnLst>
                                </p:cTn>
                              </p:par>
                              <p:par>
                                <p:cTn id="38" presetID="26" presetClass="emph" presetSubtype="0" repeatCount="indefinite" fill="hold" grpId="0" nodeType="withEffect">
                                  <p:stCondLst>
                                    <p:cond delay="0"/>
                                  </p:stCondLst>
                                  <p:childTnLst>
                                    <p:animEffect transition="out" filter="fade">
                                      <p:cBhvr>
                                        <p:cTn id="39" dur="1000" tmFilter="0, 0; .2, .5; .8, .5; 1, 0"/>
                                        <p:tgtEl>
                                          <p:spTgt spid="478"/>
                                        </p:tgtEl>
                                      </p:cBhvr>
                                    </p:animEffect>
                                    <p:animScale>
                                      <p:cBhvr>
                                        <p:cTn id="40" dur="500" autoRev="1" fill="hold"/>
                                        <p:tgtEl>
                                          <p:spTgt spid="478"/>
                                        </p:tgtEl>
                                      </p:cBhvr>
                                      <p:by x="105000" y="105000"/>
                                    </p:animScale>
                                  </p:childTnLst>
                                </p:cTn>
                              </p:par>
                              <p:par>
                                <p:cTn id="41" presetID="6" presetClass="emph" presetSubtype="0" repeatCount="indefinite" fill="hold" grpId="1" nodeType="withEffect">
                                  <p:stCondLst>
                                    <p:cond delay="0"/>
                                  </p:stCondLst>
                                  <p:childTnLst>
                                    <p:animScale>
                                      <p:cBhvr>
                                        <p:cTn id="42" dur="7000" fill="hold"/>
                                        <p:tgtEl>
                                          <p:spTgt spid="478"/>
                                        </p:tgtEl>
                                      </p:cBhvr>
                                      <p:by x="150000" y="150000"/>
                                    </p:animScale>
                                  </p:childTnLst>
                                </p:cTn>
                              </p:par>
                              <p:par>
                                <p:cTn id="43" presetID="6" presetClass="emph" presetSubtype="0" repeatCount="indefinite" fill="hold" grpId="0" nodeType="withEffect">
                                  <p:stCondLst>
                                    <p:cond delay="0"/>
                                  </p:stCondLst>
                                  <p:childTnLst>
                                    <p:animScale>
                                      <p:cBhvr>
                                        <p:cTn id="44" dur="7000" fill="hold"/>
                                        <p:tgtEl>
                                          <p:spTgt spid="477"/>
                                        </p:tgtEl>
                                      </p:cBhvr>
                                      <p:by x="150000" y="150000"/>
                                    </p:animScale>
                                  </p:childTnLst>
                                </p:cTn>
                              </p:par>
                              <p:par>
                                <p:cTn id="45" presetID="42" presetClass="path" presetSubtype="0" repeatCount="indefinite" accel="50000" decel="50000" fill="hold" grpId="2" nodeType="withEffect">
                                  <p:stCondLst>
                                    <p:cond delay="0"/>
                                  </p:stCondLst>
                                  <p:childTnLst>
                                    <p:animMotion origin="layout" path="M 1.38889E-6 -3.45679E-6 L 1.38889E-6 0.58025 " pathEditMode="relative" rAng="0" ptsTypes="AA">
                                      <p:cBhvr>
                                        <p:cTn id="46" dur="7000" fill="hold"/>
                                        <p:tgtEl>
                                          <p:spTgt spid="478"/>
                                        </p:tgtEl>
                                        <p:attrNameLst>
                                          <p:attrName>ppt_x</p:attrName>
                                          <p:attrName>ppt_y</p:attrName>
                                        </p:attrNameLst>
                                      </p:cBhvr>
                                      <p:rCtr x="0" y="29012"/>
                                    </p:animMotion>
                                  </p:childTnLst>
                                </p:cTn>
                              </p:par>
                              <p:par>
                                <p:cTn id="47" presetID="42" presetClass="path" presetSubtype="0" repeatCount="indefinite" accel="50000" decel="50000" fill="hold" grpId="1" nodeType="withEffect">
                                  <p:stCondLst>
                                    <p:cond delay="0"/>
                                  </p:stCondLst>
                                  <p:childTnLst>
                                    <p:animMotion origin="layout" path="M 1.38889E-6 -7.40741E-7 L 1.38889E-6 0.57963 " pathEditMode="relative" rAng="0" ptsTypes="AA">
                                      <p:cBhvr>
                                        <p:cTn id="48" dur="7000" fill="hold"/>
                                        <p:tgtEl>
                                          <p:spTgt spid="477"/>
                                        </p:tgtEl>
                                        <p:attrNameLst>
                                          <p:attrName>ppt_x</p:attrName>
                                          <p:attrName>ppt_y</p:attrName>
                                        </p:attrNameLst>
                                      </p:cBhvr>
                                      <p:rCtr x="0" y="28981"/>
                                    </p:animMotion>
                                  </p:childTnLst>
                                </p:cTn>
                              </p:par>
                              <p:par>
                                <p:cTn id="49" presetID="26" presetClass="emph" presetSubtype="0" repeatCount="indefinite" fill="hold" grpId="0" nodeType="withEffect">
                                  <p:stCondLst>
                                    <p:cond delay="0"/>
                                  </p:stCondLst>
                                  <p:childTnLst>
                                    <p:animEffect transition="out" filter="fade">
                                      <p:cBhvr>
                                        <p:cTn id="50" dur="1000" tmFilter="0, 0; .2, .5; .8, .5; 1, 0"/>
                                        <p:tgtEl>
                                          <p:spTgt spid="480"/>
                                        </p:tgtEl>
                                      </p:cBhvr>
                                    </p:animEffect>
                                    <p:animScale>
                                      <p:cBhvr>
                                        <p:cTn id="51" dur="500" autoRev="1" fill="hold"/>
                                        <p:tgtEl>
                                          <p:spTgt spid="480"/>
                                        </p:tgtEl>
                                      </p:cBhvr>
                                      <p:by x="105000" y="105000"/>
                                    </p:animScale>
                                  </p:childTnLst>
                                </p:cTn>
                              </p:par>
                              <p:par>
                                <p:cTn id="52" presetID="6" presetClass="emph" presetSubtype="0" repeatCount="indefinite" fill="hold" grpId="1" nodeType="withEffect">
                                  <p:stCondLst>
                                    <p:cond delay="0"/>
                                  </p:stCondLst>
                                  <p:childTnLst>
                                    <p:animScale>
                                      <p:cBhvr>
                                        <p:cTn id="53" dur="7000" fill="hold"/>
                                        <p:tgtEl>
                                          <p:spTgt spid="480"/>
                                        </p:tgtEl>
                                      </p:cBhvr>
                                      <p:by x="150000" y="150000"/>
                                    </p:animScale>
                                  </p:childTnLst>
                                </p:cTn>
                              </p:par>
                              <p:par>
                                <p:cTn id="54" presetID="6" presetClass="emph" presetSubtype="0" repeatCount="indefinite" fill="hold" grpId="0" nodeType="withEffect">
                                  <p:stCondLst>
                                    <p:cond delay="0"/>
                                  </p:stCondLst>
                                  <p:childTnLst>
                                    <p:animScale>
                                      <p:cBhvr>
                                        <p:cTn id="55" dur="7000" fill="hold"/>
                                        <p:tgtEl>
                                          <p:spTgt spid="479"/>
                                        </p:tgtEl>
                                      </p:cBhvr>
                                      <p:by x="150000" y="150000"/>
                                    </p:animScale>
                                  </p:childTnLst>
                                </p:cTn>
                              </p:par>
                              <p:par>
                                <p:cTn id="56" presetID="42" presetClass="path" presetSubtype="0" repeatCount="indefinite" accel="50000" decel="50000" fill="hold" grpId="2" nodeType="withEffect">
                                  <p:stCondLst>
                                    <p:cond delay="0"/>
                                  </p:stCondLst>
                                  <p:childTnLst>
                                    <p:animMotion origin="layout" path="M 1.38889E-6 -3.45679E-6 L 1.38889E-6 0.58025 " pathEditMode="relative" rAng="0" ptsTypes="AA">
                                      <p:cBhvr>
                                        <p:cTn id="57" dur="7000" fill="hold"/>
                                        <p:tgtEl>
                                          <p:spTgt spid="480"/>
                                        </p:tgtEl>
                                        <p:attrNameLst>
                                          <p:attrName>ppt_x</p:attrName>
                                          <p:attrName>ppt_y</p:attrName>
                                        </p:attrNameLst>
                                      </p:cBhvr>
                                      <p:rCtr x="0" y="29012"/>
                                    </p:animMotion>
                                  </p:childTnLst>
                                </p:cTn>
                              </p:par>
                              <p:par>
                                <p:cTn id="58" presetID="42" presetClass="path" presetSubtype="0" repeatCount="indefinite" accel="50000" decel="50000" fill="hold" grpId="1" nodeType="withEffect">
                                  <p:stCondLst>
                                    <p:cond delay="0"/>
                                  </p:stCondLst>
                                  <p:childTnLst>
                                    <p:animMotion origin="layout" path="M 1.38889E-6 -7.40741E-7 L 1.38889E-6 0.57963 " pathEditMode="relative" rAng="0" ptsTypes="AA">
                                      <p:cBhvr>
                                        <p:cTn id="59" dur="7000" fill="hold"/>
                                        <p:tgtEl>
                                          <p:spTgt spid="479"/>
                                        </p:tgtEl>
                                        <p:attrNameLst>
                                          <p:attrName>ppt_x</p:attrName>
                                          <p:attrName>ppt_y</p:attrName>
                                        </p:attrNameLst>
                                      </p:cBhvr>
                                      <p:rCtr x="0" y="28981"/>
                                    </p:animMotion>
                                  </p:childTnLst>
                                </p:cTn>
                              </p:par>
                              <p:par>
                                <p:cTn id="60" presetID="26" presetClass="emph" presetSubtype="0" repeatCount="indefinite" fill="hold" grpId="0" nodeType="withEffect">
                                  <p:stCondLst>
                                    <p:cond delay="0"/>
                                  </p:stCondLst>
                                  <p:childTnLst>
                                    <p:animEffect transition="out" filter="fade">
                                      <p:cBhvr>
                                        <p:cTn id="61" dur="1000" tmFilter="0, 0; .2, .5; .8, .5; 1, 0"/>
                                        <p:tgtEl>
                                          <p:spTgt spid="482"/>
                                        </p:tgtEl>
                                      </p:cBhvr>
                                    </p:animEffect>
                                    <p:animScale>
                                      <p:cBhvr>
                                        <p:cTn id="62" dur="500" autoRev="1" fill="hold"/>
                                        <p:tgtEl>
                                          <p:spTgt spid="482"/>
                                        </p:tgtEl>
                                      </p:cBhvr>
                                      <p:by x="105000" y="105000"/>
                                    </p:animScale>
                                  </p:childTnLst>
                                </p:cTn>
                              </p:par>
                              <p:par>
                                <p:cTn id="63" presetID="6" presetClass="emph" presetSubtype="0" repeatCount="indefinite" fill="hold" grpId="1" nodeType="withEffect">
                                  <p:stCondLst>
                                    <p:cond delay="0"/>
                                  </p:stCondLst>
                                  <p:childTnLst>
                                    <p:animScale>
                                      <p:cBhvr>
                                        <p:cTn id="64" dur="7000" fill="hold"/>
                                        <p:tgtEl>
                                          <p:spTgt spid="482"/>
                                        </p:tgtEl>
                                      </p:cBhvr>
                                      <p:by x="150000" y="150000"/>
                                    </p:animScale>
                                  </p:childTnLst>
                                </p:cTn>
                              </p:par>
                              <p:par>
                                <p:cTn id="65" presetID="6" presetClass="emph" presetSubtype="0" repeatCount="indefinite" fill="hold" grpId="0" nodeType="withEffect">
                                  <p:stCondLst>
                                    <p:cond delay="0"/>
                                  </p:stCondLst>
                                  <p:childTnLst>
                                    <p:animScale>
                                      <p:cBhvr>
                                        <p:cTn id="66" dur="7000" fill="hold"/>
                                        <p:tgtEl>
                                          <p:spTgt spid="481"/>
                                        </p:tgtEl>
                                      </p:cBhvr>
                                      <p:by x="150000" y="150000"/>
                                    </p:animScale>
                                  </p:childTnLst>
                                </p:cTn>
                              </p:par>
                              <p:par>
                                <p:cTn id="67" presetID="42" presetClass="path" presetSubtype="0" repeatCount="indefinite" accel="50000" decel="50000" fill="hold" grpId="2" nodeType="withEffect">
                                  <p:stCondLst>
                                    <p:cond delay="0"/>
                                  </p:stCondLst>
                                  <p:childTnLst>
                                    <p:animMotion origin="layout" path="M 1.38889E-6 -3.45679E-6 L 1.38889E-6 0.58025 " pathEditMode="relative" rAng="0" ptsTypes="AA">
                                      <p:cBhvr>
                                        <p:cTn id="68" dur="7000" fill="hold"/>
                                        <p:tgtEl>
                                          <p:spTgt spid="482"/>
                                        </p:tgtEl>
                                        <p:attrNameLst>
                                          <p:attrName>ppt_x</p:attrName>
                                          <p:attrName>ppt_y</p:attrName>
                                        </p:attrNameLst>
                                      </p:cBhvr>
                                      <p:rCtr x="0" y="29012"/>
                                    </p:animMotion>
                                  </p:childTnLst>
                                </p:cTn>
                              </p:par>
                              <p:par>
                                <p:cTn id="69" presetID="42" presetClass="path" presetSubtype="0" repeatCount="indefinite" accel="50000" decel="50000" fill="hold" grpId="1" nodeType="withEffect">
                                  <p:stCondLst>
                                    <p:cond delay="0"/>
                                  </p:stCondLst>
                                  <p:childTnLst>
                                    <p:animMotion origin="layout" path="M 1.38889E-6 -7.40741E-7 L 1.38889E-6 0.57963 " pathEditMode="relative" rAng="0" ptsTypes="AA">
                                      <p:cBhvr>
                                        <p:cTn id="70" dur="7000" fill="hold"/>
                                        <p:tgtEl>
                                          <p:spTgt spid="481"/>
                                        </p:tgtEl>
                                        <p:attrNameLst>
                                          <p:attrName>ppt_x</p:attrName>
                                          <p:attrName>ppt_y</p:attrName>
                                        </p:attrNameLst>
                                      </p:cBhvr>
                                      <p:rCtr x="0" y="28981"/>
                                    </p:animMotion>
                                  </p:childTnLst>
                                </p:cTn>
                              </p:par>
                              <p:par>
                                <p:cTn id="71" presetID="26" presetClass="emph" presetSubtype="0" repeatCount="indefinite" fill="hold" grpId="0" nodeType="withEffect">
                                  <p:stCondLst>
                                    <p:cond delay="0"/>
                                  </p:stCondLst>
                                  <p:childTnLst>
                                    <p:animEffect transition="out" filter="fade">
                                      <p:cBhvr>
                                        <p:cTn id="72" dur="1000" tmFilter="0, 0; .2, .5; .8, .5; 1, 0"/>
                                        <p:tgtEl>
                                          <p:spTgt spid="484"/>
                                        </p:tgtEl>
                                      </p:cBhvr>
                                    </p:animEffect>
                                    <p:animScale>
                                      <p:cBhvr>
                                        <p:cTn id="73" dur="500" autoRev="1" fill="hold"/>
                                        <p:tgtEl>
                                          <p:spTgt spid="484"/>
                                        </p:tgtEl>
                                      </p:cBhvr>
                                      <p:by x="105000" y="105000"/>
                                    </p:animScale>
                                  </p:childTnLst>
                                </p:cTn>
                              </p:par>
                              <p:par>
                                <p:cTn id="74" presetID="6" presetClass="emph" presetSubtype="0" repeatCount="indefinite" fill="hold" grpId="1" nodeType="withEffect">
                                  <p:stCondLst>
                                    <p:cond delay="0"/>
                                  </p:stCondLst>
                                  <p:childTnLst>
                                    <p:animScale>
                                      <p:cBhvr>
                                        <p:cTn id="75" dur="7000" fill="hold"/>
                                        <p:tgtEl>
                                          <p:spTgt spid="484"/>
                                        </p:tgtEl>
                                      </p:cBhvr>
                                      <p:by x="150000" y="150000"/>
                                    </p:animScale>
                                  </p:childTnLst>
                                </p:cTn>
                              </p:par>
                              <p:par>
                                <p:cTn id="76" presetID="6" presetClass="emph" presetSubtype="0" repeatCount="indefinite" fill="hold" grpId="0" nodeType="withEffect">
                                  <p:stCondLst>
                                    <p:cond delay="0"/>
                                  </p:stCondLst>
                                  <p:childTnLst>
                                    <p:animScale>
                                      <p:cBhvr>
                                        <p:cTn id="77" dur="7000" fill="hold"/>
                                        <p:tgtEl>
                                          <p:spTgt spid="483"/>
                                        </p:tgtEl>
                                      </p:cBhvr>
                                      <p:by x="150000" y="150000"/>
                                    </p:animScale>
                                  </p:childTnLst>
                                </p:cTn>
                              </p:par>
                              <p:par>
                                <p:cTn id="78" presetID="42" presetClass="path" presetSubtype="0" repeatCount="indefinite" accel="50000" decel="50000" fill="hold" grpId="2" nodeType="withEffect">
                                  <p:stCondLst>
                                    <p:cond delay="0"/>
                                  </p:stCondLst>
                                  <p:childTnLst>
                                    <p:animMotion origin="layout" path="M 1.38889E-6 -3.45679E-6 L 1.38889E-6 0.58025 " pathEditMode="relative" rAng="0" ptsTypes="AA">
                                      <p:cBhvr>
                                        <p:cTn id="79" dur="7000" fill="hold"/>
                                        <p:tgtEl>
                                          <p:spTgt spid="484"/>
                                        </p:tgtEl>
                                        <p:attrNameLst>
                                          <p:attrName>ppt_x</p:attrName>
                                          <p:attrName>ppt_y</p:attrName>
                                        </p:attrNameLst>
                                      </p:cBhvr>
                                      <p:rCtr x="0" y="29012"/>
                                    </p:animMotion>
                                  </p:childTnLst>
                                </p:cTn>
                              </p:par>
                              <p:par>
                                <p:cTn id="80" presetID="42" presetClass="path" presetSubtype="0" repeatCount="indefinite" accel="50000" decel="50000" fill="hold" grpId="1" nodeType="withEffect">
                                  <p:stCondLst>
                                    <p:cond delay="0"/>
                                  </p:stCondLst>
                                  <p:childTnLst>
                                    <p:animMotion origin="layout" path="M 1.38889E-6 -7.40741E-7 L 1.38889E-6 0.57963 " pathEditMode="relative" rAng="0" ptsTypes="AA">
                                      <p:cBhvr>
                                        <p:cTn id="81" dur="7000" fill="hold"/>
                                        <p:tgtEl>
                                          <p:spTgt spid="483"/>
                                        </p:tgtEl>
                                        <p:attrNameLst>
                                          <p:attrName>ppt_x</p:attrName>
                                          <p:attrName>ppt_y</p:attrName>
                                        </p:attrNameLst>
                                      </p:cBhvr>
                                      <p:rCtr x="0" y="28981"/>
                                    </p:animMotion>
                                  </p:childTnLst>
                                </p:cTn>
                              </p:par>
                              <p:par>
                                <p:cTn id="82" presetID="26" presetClass="emph" presetSubtype="0" repeatCount="indefinite" fill="hold" grpId="0" nodeType="withEffect">
                                  <p:stCondLst>
                                    <p:cond delay="0"/>
                                  </p:stCondLst>
                                  <p:childTnLst>
                                    <p:animEffect transition="out" filter="fade">
                                      <p:cBhvr>
                                        <p:cTn id="83" dur="1000" tmFilter="0, 0; .2, .5; .8, .5; 1, 0"/>
                                        <p:tgtEl>
                                          <p:spTgt spid="486"/>
                                        </p:tgtEl>
                                      </p:cBhvr>
                                    </p:animEffect>
                                    <p:animScale>
                                      <p:cBhvr>
                                        <p:cTn id="84" dur="500" autoRev="1" fill="hold"/>
                                        <p:tgtEl>
                                          <p:spTgt spid="486"/>
                                        </p:tgtEl>
                                      </p:cBhvr>
                                      <p:by x="105000" y="105000"/>
                                    </p:animScale>
                                  </p:childTnLst>
                                </p:cTn>
                              </p:par>
                              <p:par>
                                <p:cTn id="85" presetID="6" presetClass="emph" presetSubtype="0" repeatCount="indefinite" fill="hold" grpId="1" nodeType="withEffect">
                                  <p:stCondLst>
                                    <p:cond delay="0"/>
                                  </p:stCondLst>
                                  <p:childTnLst>
                                    <p:animScale>
                                      <p:cBhvr>
                                        <p:cTn id="86" dur="7000" fill="hold"/>
                                        <p:tgtEl>
                                          <p:spTgt spid="486"/>
                                        </p:tgtEl>
                                      </p:cBhvr>
                                      <p:by x="150000" y="150000"/>
                                    </p:animScale>
                                  </p:childTnLst>
                                </p:cTn>
                              </p:par>
                              <p:par>
                                <p:cTn id="87" presetID="6" presetClass="emph" presetSubtype="0" repeatCount="indefinite" fill="hold" grpId="0" nodeType="withEffect">
                                  <p:stCondLst>
                                    <p:cond delay="0"/>
                                  </p:stCondLst>
                                  <p:childTnLst>
                                    <p:animScale>
                                      <p:cBhvr>
                                        <p:cTn id="88" dur="7000" fill="hold"/>
                                        <p:tgtEl>
                                          <p:spTgt spid="485"/>
                                        </p:tgtEl>
                                      </p:cBhvr>
                                      <p:by x="150000" y="150000"/>
                                    </p:animScale>
                                  </p:childTnLst>
                                </p:cTn>
                              </p:par>
                              <p:par>
                                <p:cTn id="89" presetID="42" presetClass="path" presetSubtype="0" repeatCount="indefinite" accel="50000" decel="50000" fill="hold" grpId="2" nodeType="withEffect">
                                  <p:stCondLst>
                                    <p:cond delay="0"/>
                                  </p:stCondLst>
                                  <p:childTnLst>
                                    <p:animMotion origin="layout" path="M 1.38889E-6 -3.45679E-6 L 1.38889E-6 0.58025 " pathEditMode="relative" rAng="0" ptsTypes="AA">
                                      <p:cBhvr>
                                        <p:cTn id="90" dur="7000" fill="hold"/>
                                        <p:tgtEl>
                                          <p:spTgt spid="486"/>
                                        </p:tgtEl>
                                        <p:attrNameLst>
                                          <p:attrName>ppt_x</p:attrName>
                                          <p:attrName>ppt_y</p:attrName>
                                        </p:attrNameLst>
                                      </p:cBhvr>
                                      <p:rCtr x="0" y="29012"/>
                                    </p:animMotion>
                                  </p:childTnLst>
                                </p:cTn>
                              </p:par>
                              <p:par>
                                <p:cTn id="91" presetID="42" presetClass="path" presetSubtype="0" repeatCount="indefinite" accel="50000" decel="50000" fill="hold" grpId="1" nodeType="withEffect">
                                  <p:stCondLst>
                                    <p:cond delay="0"/>
                                  </p:stCondLst>
                                  <p:childTnLst>
                                    <p:animMotion origin="layout" path="M 1.38889E-6 -7.40741E-7 L 1.38889E-6 0.57963 " pathEditMode="relative" rAng="0" ptsTypes="AA">
                                      <p:cBhvr>
                                        <p:cTn id="92" dur="7000" fill="hold"/>
                                        <p:tgtEl>
                                          <p:spTgt spid="485"/>
                                        </p:tgtEl>
                                        <p:attrNameLst>
                                          <p:attrName>ppt_x</p:attrName>
                                          <p:attrName>ppt_y</p:attrName>
                                        </p:attrNameLst>
                                      </p:cBhvr>
                                      <p:rCtr x="0" y="28981"/>
                                    </p:animMotion>
                                  </p:childTnLst>
                                </p:cTn>
                              </p:par>
                              <p:par>
                                <p:cTn id="93" presetID="26" presetClass="emph" presetSubtype="0" repeatCount="indefinite" fill="hold" grpId="0" nodeType="withEffect">
                                  <p:stCondLst>
                                    <p:cond delay="0"/>
                                  </p:stCondLst>
                                  <p:childTnLst>
                                    <p:animEffect transition="out" filter="fade">
                                      <p:cBhvr>
                                        <p:cTn id="94" dur="1000" tmFilter="0, 0; .2, .5; .8, .5; 1, 0"/>
                                        <p:tgtEl>
                                          <p:spTgt spid="488"/>
                                        </p:tgtEl>
                                      </p:cBhvr>
                                    </p:animEffect>
                                    <p:animScale>
                                      <p:cBhvr>
                                        <p:cTn id="95" dur="500" autoRev="1" fill="hold"/>
                                        <p:tgtEl>
                                          <p:spTgt spid="488"/>
                                        </p:tgtEl>
                                      </p:cBhvr>
                                      <p:by x="105000" y="105000"/>
                                    </p:animScale>
                                  </p:childTnLst>
                                </p:cTn>
                              </p:par>
                              <p:par>
                                <p:cTn id="96" presetID="6" presetClass="emph" presetSubtype="0" repeatCount="indefinite" fill="hold" grpId="1" nodeType="withEffect">
                                  <p:stCondLst>
                                    <p:cond delay="0"/>
                                  </p:stCondLst>
                                  <p:childTnLst>
                                    <p:animScale>
                                      <p:cBhvr>
                                        <p:cTn id="97" dur="7000" fill="hold"/>
                                        <p:tgtEl>
                                          <p:spTgt spid="488"/>
                                        </p:tgtEl>
                                      </p:cBhvr>
                                      <p:by x="150000" y="150000"/>
                                    </p:animScale>
                                  </p:childTnLst>
                                </p:cTn>
                              </p:par>
                              <p:par>
                                <p:cTn id="98" presetID="6" presetClass="emph" presetSubtype="0" repeatCount="indefinite" fill="hold" grpId="0" nodeType="withEffect">
                                  <p:stCondLst>
                                    <p:cond delay="0"/>
                                  </p:stCondLst>
                                  <p:childTnLst>
                                    <p:animScale>
                                      <p:cBhvr>
                                        <p:cTn id="99" dur="7000" fill="hold"/>
                                        <p:tgtEl>
                                          <p:spTgt spid="487"/>
                                        </p:tgtEl>
                                      </p:cBhvr>
                                      <p:by x="150000" y="150000"/>
                                    </p:animScale>
                                  </p:childTnLst>
                                </p:cTn>
                              </p:par>
                              <p:par>
                                <p:cTn id="100" presetID="42" presetClass="path" presetSubtype="0" repeatCount="indefinite" accel="50000" decel="50000" fill="hold" grpId="2" nodeType="withEffect">
                                  <p:stCondLst>
                                    <p:cond delay="0"/>
                                  </p:stCondLst>
                                  <p:childTnLst>
                                    <p:animMotion origin="layout" path="M 1.38889E-6 -3.45679E-6 L 1.38889E-6 0.58025 " pathEditMode="relative" rAng="0" ptsTypes="AA">
                                      <p:cBhvr>
                                        <p:cTn id="101" dur="7000" fill="hold"/>
                                        <p:tgtEl>
                                          <p:spTgt spid="488"/>
                                        </p:tgtEl>
                                        <p:attrNameLst>
                                          <p:attrName>ppt_x</p:attrName>
                                          <p:attrName>ppt_y</p:attrName>
                                        </p:attrNameLst>
                                      </p:cBhvr>
                                      <p:rCtr x="0" y="29012"/>
                                    </p:animMotion>
                                  </p:childTnLst>
                                </p:cTn>
                              </p:par>
                              <p:par>
                                <p:cTn id="102" presetID="42" presetClass="path" presetSubtype="0" repeatCount="indefinite" accel="50000" decel="50000" fill="hold" grpId="1" nodeType="withEffect">
                                  <p:stCondLst>
                                    <p:cond delay="0"/>
                                  </p:stCondLst>
                                  <p:childTnLst>
                                    <p:animMotion origin="layout" path="M 1.38889E-6 -7.40741E-7 L 1.38889E-6 0.57963 " pathEditMode="relative" rAng="0" ptsTypes="AA">
                                      <p:cBhvr>
                                        <p:cTn id="103" dur="7000" fill="hold"/>
                                        <p:tgtEl>
                                          <p:spTgt spid="487"/>
                                        </p:tgtEl>
                                        <p:attrNameLst>
                                          <p:attrName>ppt_x</p:attrName>
                                          <p:attrName>ppt_y</p:attrName>
                                        </p:attrNameLst>
                                      </p:cBhvr>
                                      <p:rCtr x="0" y="28981"/>
                                    </p:animMotion>
                                  </p:childTnLst>
                                </p:cTn>
                              </p:par>
                              <p:par>
                                <p:cTn id="104" presetID="26" presetClass="emph" presetSubtype="0" repeatCount="indefinite" fill="hold" grpId="0" nodeType="withEffect">
                                  <p:stCondLst>
                                    <p:cond delay="0"/>
                                  </p:stCondLst>
                                  <p:childTnLst>
                                    <p:animEffect transition="out" filter="fade">
                                      <p:cBhvr>
                                        <p:cTn id="105" dur="1000" tmFilter="0, 0; .2, .5; .8, .5; 1, 0"/>
                                        <p:tgtEl>
                                          <p:spTgt spid="490"/>
                                        </p:tgtEl>
                                      </p:cBhvr>
                                    </p:animEffect>
                                    <p:animScale>
                                      <p:cBhvr>
                                        <p:cTn id="106" dur="500" autoRev="1" fill="hold"/>
                                        <p:tgtEl>
                                          <p:spTgt spid="490"/>
                                        </p:tgtEl>
                                      </p:cBhvr>
                                      <p:by x="105000" y="105000"/>
                                    </p:animScale>
                                  </p:childTnLst>
                                </p:cTn>
                              </p:par>
                              <p:par>
                                <p:cTn id="107" presetID="6" presetClass="emph" presetSubtype="0" repeatCount="indefinite" fill="hold" grpId="1" nodeType="withEffect">
                                  <p:stCondLst>
                                    <p:cond delay="0"/>
                                  </p:stCondLst>
                                  <p:childTnLst>
                                    <p:animScale>
                                      <p:cBhvr>
                                        <p:cTn id="108" dur="7000" fill="hold"/>
                                        <p:tgtEl>
                                          <p:spTgt spid="490"/>
                                        </p:tgtEl>
                                      </p:cBhvr>
                                      <p:by x="150000" y="150000"/>
                                    </p:animScale>
                                  </p:childTnLst>
                                </p:cTn>
                              </p:par>
                              <p:par>
                                <p:cTn id="109" presetID="6" presetClass="emph" presetSubtype="0" repeatCount="indefinite" fill="hold" grpId="0" nodeType="withEffect">
                                  <p:stCondLst>
                                    <p:cond delay="0"/>
                                  </p:stCondLst>
                                  <p:childTnLst>
                                    <p:animScale>
                                      <p:cBhvr>
                                        <p:cTn id="110" dur="7000" fill="hold"/>
                                        <p:tgtEl>
                                          <p:spTgt spid="489"/>
                                        </p:tgtEl>
                                      </p:cBhvr>
                                      <p:by x="150000" y="150000"/>
                                    </p:animScale>
                                  </p:childTnLst>
                                </p:cTn>
                              </p:par>
                              <p:par>
                                <p:cTn id="111" presetID="42" presetClass="path" presetSubtype="0" repeatCount="indefinite" accel="50000" decel="50000" fill="hold" grpId="2" nodeType="withEffect">
                                  <p:stCondLst>
                                    <p:cond delay="0"/>
                                  </p:stCondLst>
                                  <p:childTnLst>
                                    <p:animMotion origin="layout" path="M 1.38889E-6 -3.45679E-6 L 1.38889E-6 0.58025 " pathEditMode="relative" rAng="0" ptsTypes="AA">
                                      <p:cBhvr>
                                        <p:cTn id="112" dur="7000" fill="hold"/>
                                        <p:tgtEl>
                                          <p:spTgt spid="490"/>
                                        </p:tgtEl>
                                        <p:attrNameLst>
                                          <p:attrName>ppt_x</p:attrName>
                                          <p:attrName>ppt_y</p:attrName>
                                        </p:attrNameLst>
                                      </p:cBhvr>
                                      <p:rCtr x="0" y="29012"/>
                                    </p:animMotion>
                                  </p:childTnLst>
                                </p:cTn>
                              </p:par>
                              <p:par>
                                <p:cTn id="113" presetID="42" presetClass="path" presetSubtype="0" repeatCount="indefinite" accel="50000" decel="50000" fill="hold" grpId="1" nodeType="withEffect">
                                  <p:stCondLst>
                                    <p:cond delay="0"/>
                                  </p:stCondLst>
                                  <p:childTnLst>
                                    <p:animMotion origin="layout" path="M 1.38889E-6 -7.40741E-7 L 1.38889E-6 0.57963 " pathEditMode="relative" rAng="0" ptsTypes="AA">
                                      <p:cBhvr>
                                        <p:cTn id="114" dur="7000" fill="hold"/>
                                        <p:tgtEl>
                                          <p:spTgt spid="489"/>
                                        </p:tgtEl>
                                        <p:attrNameLst>
                                          <p:attrName>ppt_x</p:attrName>
                                          <p:attrName>ppt_y</p:attrName>
                                        </p:attrNameLst>
                                      </p:cBhvr>
                                      <p:rCtr x="0" y="28981"/>
                                    </p:animMotion>
                                  </p:childTnLst>
                                </p:cTn>
                              </p:par>
                              <p:par>
                                <p:cTn id="115" presetID="26" presetClass="emph" presetSubtype="0" repeatCount="indefinite" fill="hold" grpId="0" nodeType="withEffect">
                                  <p:stCondLst>
                                    <p:cond delay="0"/>
                                  </p:stCondLst>
                                  <p:childTnLst>
                                    <p:animEffect transition="out" filter="fade">
                                      <p:cBhvr>
                                        <p:cTn id="116" dur="1000" tmFilter="0, 0; .2, .5; .8, .5; 1, 0"/>
                                        <p:tgtEl>
                                          <p:spTgt spid="492"/>
                                        </p:tgtEl>
                                      </p:cBhvr>
                                    </p:animEffect>
                                    <p:animScale>
                                      <p:cBhvr>
                                        <p:cTn id="117" dur="500" autoRev="1" fill="hold"/>
                                        <p:tgtEl>
                                          <p:spTgt spid="492"/>
                                        </p:tgtEl>
                                      </p:cBhvr>
                                      <p:by x="105000" y="105000"/>
                                    </p:animScale>
                                  </p:childTnLst>
                                </p:cTn>
                              </p:par>
                              <p:par>
                                <p:cTn id="118" presetID="6" presetClass="emph" presetSubtype="0" repeatCount="indefinite" fill="hold" grpId="1" nodeType="withEffect">
                                  <p:stCondLst>
                                    <p:cond delay="0"/>
                                  </p:stCondLst>
                                  <p:childTnLst>
                                    <p:animScale>
                                      <p:cBhvr>
                                        <p:cTn id="119" dur="7000" fill="hold"/>
                                        <p:tgtEl>
                                          <p:spTgt spid="492"/>
                                        </p:tgtEl>
                                      </p:cBhvr>
                                      <p:by x="150000" y="150000"/>
                                    </p:animScale>
                                  </p:childTnLst>
                                </p:cTn>
                              </p:par>
                              <p:par>
                                <p:cTn id="120" presetID="6" presetClass="emph" presetSubtype="0" repeatCount="indefinite" fill="hold" grpId="0" nodeType="withEffect">
                                  <p:stCondLst>
                                    <p:cond delay="0"/>
                                  </p:stCondLst>
                                  <p:childTnLst>
                                    <p:animScale>
                                      <p:cBhvr>
                                        <p:cTn id="121" dur="7000" fill="hold"/>
                                        <p:tgtEl>
                                          <p:spTgt spid="491"/>
                                        </p:tgtEl>
                                      </p:cBhvr>
                                      <p:by x="150000" y="150000"/>
                                    </p:animScale>
                                  </p:childTnLst>
                                </p:cTn>
                              </p:par>
                              <p:par>
                                <p:cTn id="122" presetID="42" presetClass="path" presetSubtype="0" repeatCount="indefinite" accel="50000" decel="50000" fill="hold" grpId="2" nodeType="withEffect">
                                  <p:stCondLst>
                                    <p:cond delay="0"/>
                                  </p:stCondLst>
                                  <p:childTnLst>
                                    <p:animMotion origin="layout" path="M 1.38889E-6 -3.45679E-6 L 1.38889E-6 0.58025 " pathEditMode="relative" rAng="0" ptsTypes="AA">
                                      <p:cBhvr>
                                        <p:cTn id="123" dur="7000" fill="hold"/>
                                        <p:tgtEl>
                                          <p:spTgt spid="492"/>
                                        </p:tgtEl>
                                        <p:attrNameLst>
                                          <p:attrName>ppt_x</p:attrName>
                                          <p:attrName>ppt_y</p:attrName>
                                        </p:attrNameLst>
                                      </p:cBhvr>
                                      <p:rCtr x="0" y="29012"/>
                                    </p:animMotion>
                                  </p:childTnLst>
                                </p:cTn>
                              </p:par>
                              <p:par>
                                <p:cTn id="124" presetID="42" presetClass="path" presetSubtype="0" repeatCount="indefinite" accel="50000" decel="50000" fill="hold" grpId="1" nodeType="withEffect">
                                  <p:stCondLst>
                                    <p:cond delay="0"/>
                                  </p:stCondLst>
                                  <p:childTnLst>
                                    <p:animMotion origin="layout" path="M 1.38889E-6 -7.40741E-7 L 1.38889E-6 0.57963 " pathEditMode="relative" rAng="0" ptsTypes="AA">
                                      <p:cBhvr>
                                        <p:cTn id="125" dur="7000" fill="hold"/>
                                        <p:tgtEl>
                                          <p:spTgt spid="491"/>
                                        </p:tgtEl>
                                        <p:attrNameLst>
                                          <p:attrName>ppt_x</p:attrName>
                                          <p:attrName>ppt_y</p:attrName>
                                        </p:attrNameLst>
                                      </p:cBhvr>
                                      <p:rCtr x="0" y="28981"/>
                                    </p:animMotion>
                                  </p:childTnLst>
                                </p:cTn>
                              </p:par>
                              <p:par>
                                <p:cTn id="126" presetID="26" presetClass="emph" presetSubtype="0" repeatCount="indefinite" fill="hold" grpId="0" nodeType="withEffect">
                                  <p:stCondLst>
                                    <p:cond delay="0"/>
                                  </p:stCondLst>
                                  <p:childTnLst>
                                    <p:animEffect transition="out" filter="fade">
                                      <p:cBhvr>
                                        <p:cTn id="127" dur="1000" tmFilter="0, 0; .2, .5; .8, .5; 1, 0"/>
                                        <p:tgtEl>
                                          <p:spTgt spid="494"/>
                                        </p:tgtEl>
                                      </p:cBhvr>
                                    </p:animEffect>
                                    <p:animScale>
                                      <p:cBhvr>
                                        <p:cTn id="128" dur="500" autoRev="1" fill="hold"/>
                                        <p:tgtEl>
                                          <p:spTgt spid="494"/>
                                        </p:tgtEl>
                                      </p:cBhvr>
                                      <p:by x="105000" y="105000"/>
                                    </p:animScale>
                                  </p:childTnLst>
                                </p:cTn>
                              </p:par>
                              <p:par>
                                <p:cTn id="129" presetID="6" presetClass="emph" presetSubtype="0" repeatCount="indefinite" fill="hold" grpId="1" nodeType="withEffect">
                                  <p:stCondLst>
                                    <p:cond delay="0"/>
                                  </p:stCondLst>
                                  <p:childTnLst>
                                    <p:animScale>
                                      <p:cBhvr>
                                        <p:cTn id="130" dur="7000" fill="hold"/>
                                        <p:tgtEl>
                                          <p:spTgt spid="494"/>
                                        </p:tgtEl>
                                      </p:cBhvr>
                                      <p:by x="150000" y="150000"/>
                                    </p:animScale>
                                  </p:childTnLst>
                                </p:cTn>
                              </p:par>
                              <p:par>
                                <p:cTn id="131" presetID="6" presetClass="emph" presetSubtype="0" repeatCount="indefinite" fill="hold" grpId="0" nodeType="withEffect">
                                  <p:stCondLst>
                                    <p:cond delay="0"/>
                                  </p:stCondLst>
                                  <p:childTnLst>
                                    <p:animScale>
                                      <p:cBhvr>
                                        <p:cTn id="132" dur="7000" fill="hold"/>
                                        <p:tgtEl>
                                          <p:spTgt spid="493"/>
                                        </p:tgtEl>
                                      </p:cBhvr>
                                      <p:by x="150000" y="150000"/>
                                    </p:animScale>
                                  </p:childTnLst>
                                </p:cTn>
                              </p:par>
                              <p:par>
                                <p:cTn id="133" presetID="42" presetClass="path" presetSubtype="0" repeatCount="indefinite" accel="50000" decel="50000" fill="hold" grpId="2" nodeType="withEffect">
                                  <p:stCondLst>
                                    <p:cond delay="0"/>
                                  </p:stCondLst>
                                  <p:childTnLst>
                                    <p:animMotion origin="layout" path="M 1.38889E-6 -3.45679E-6 L 1.38889E-6 0.58025 " pathEditMode="relative" rAng="0" ptsTypes="AA">
                                      <p:cBhvr>
                                        <p:cTn id="134" dur="7000" fill="hold"/>
                                        <p:tgtEl>
                                          <p:spTgt spid="494"/>
                                        </p:tgtEl>
                                        <p:attrNameLst>
                                          <p:attrName>ppt_x</p:attrName>
                                          <p:attrName>ppt_y</p:attrName>
                                        </p:attrNameLst>
                                      </p:cBhvr>
                                      <p:rCtr x="0" y="29012"/>
                                    </p:animMotion>
                                  </p:childTnLst>
                                </p:cTn>
                              </p:par>
                              <p:par>
                                <p:cTn id="135" presetID="42" presetClass="path" presetSubtype="0" repeatCount="indefinite" accel="50000" decel="50000" fill="hold" grpId="1" nodeType="withEffect">
                                  <p:stCondLst>
                                    <p:cond delay="0"/>
                                  </p:stCondLst>
                                  <p:childTnLst>
                                    <p:animMotion origin="layout" path="M 1.38889E-6 -7.40741E-7 L 1.38889E-6 0.57963 " pathEditMode="relative" rAng="0" ptsTypes="AA">
                                      <p:cBhvr>
                                        <p:cTn id="136" dur="7000" fill="hold"/>
                                        <p:tgtEl>
                                          <p:spTgt spid="493"/>
                                        </p:tgtEl>
                                        <p:attrNameLst>
                                          <p:attrName>ppt_x</p:attrName>
                                          <p:attrName>ppt_y</p:attrName>
                                        </p:attrNameLst>
                                      </p:cBhvr>
                                      <p:rCtr x="0" y="28981"/>
                                    </p:animMotion>
                                  </p:childTnLst>
                                </p:cTn>
                              </p:par>
                              <p:par>
                                <p:cTn id="137" presetID="26" presetClass="emph" presetSubtype="0" repeatCount="indefinite" fill="hold" grpId="0" nodeType="withEffect">
                                  <p:stCondLst>
                                    <p:cond delay="1000"/>
                                  </p:stCondLst>
                                  <p:childTnLst>
                                    <p:animEffect transition="out" filter="fade">
                                      <p:cBhvr>
                                        <p:cTn id="138" dur="1000" tmFilter="0, 0; .2, .5; .8, .5; 1, 0"/>
                                        <p:tgtEl>
                                          <p:spTgt spid="496"/>
                                        </p:tgtEl>
                                      </p:cBhvr>
                                    </p:animEffect>
                                    <p:animScale>
                                      <p:cBhvr>
                                        <p:cTn id="139" dur="500" autoRev="1" fill="hold"/>
                                        <p:tgtEl>
                                          <p:spTgt spid="496"/>
                                        </p:tgtEl>
                                      </p:cBhvr>
                                      <p:by x="105000" y="105000"/>
                                    </p:animScale>
                                  </p:childTnLst>
                                </p:cTn>
                              </p:par>
                              <p:par>
                                <p:cTn id="140" presetID="6" presetClass="emph" presetSubtype="0" repeatCount="indefinite" fill="hold" grpId="1" nodeType="withEffect">
                                  <p:stCondLst>
                                    <p:cond delay="1000"/>
                                  </p:stCondLst>
                                  <p:childTnLst>
                                    <p:animScale>
                                      <p:cBhvr>
                                        <p:cTn id="141" dur="7000" fill="hold"/>
                                        <p:tgtEl>
                                          <p:spTgt spid="496"/>
                                        </p:tgtEl>
                                      </p:cBhvr>
                                      <p:by x="150000" y="150000"/>
                                    </p:animScale>
                                  </p:childTnLst>
                                </p:cTn>
                              </p:par>
                              <p:par>
                                <p:cTn id="142" presetID="6" presetClass="emph" presetSubtype="0" repeatCount="indefinite" fill="hold" grpId="0" nodeType="withEffect">
                                  <p:stCondLst>
                                    <p:cond delay="1000"/>
                                  </p:stCondLst>
                                  <p:childTnLst>
                                    <p:animScale>
                                      <p:cBhvr>
                                        <p:cTn id="143" dur="7000" fill="hold"/>
                                        <p:tgtEl>
                                          <p:spTgt spid="495"/>
                                        </p:tgtEl>
                                      </p:cBhvr>
                                      <p:by x="150000" y="150000"/>
                                    </p:animScale>
                                  </p:childTnLst>
                                </p:cTn>
                              </p:par>
                              <p:par>
                                <p:cTn id="144" presetID="42" presetClass="path" presetSubtype="0" repeatCount="indefinite" accel="50000" decel="50000" fill="hold" grpId="2" nodeType="withEffect">
                                  <p:stCondLst>
                                    <p:cond delay="1000"/>
                                  </p:stCondLst>
                                  <p:childTnLst>
                                    <p:animMotion origin="layout" path="M 1.38889E-6 -3.45679E-6 L 1.38889E-6 0.58025 " pathEditMode="relative" rAng="0" ptsTypes="AA">
                                      <p:cBhvr>
                                        <p:cTn id="145" dur="7000" fill="hold"/>
                                        <p:tgtEl>
                                          <p:spTgt spid="496"/>
                                        </p:tgtEl>
                                        <p:attrNameLst>
                                          <p:attrName>ppt_x</p:attrName>
                                          <p:attrName>ppt_y</p:attrName>
                                        </p:attrNameLst>
                                      </p:cBhvr>
                                      <p:rCtr x="0" y="29012"/>
                                    </p:animMotion>
                                  </p:childTnLst>
                                </p:cTn>
                              </p:par>
                              <p:par>
                                <p:cTn id="146" presetID="42" presetClass="path" presetSubtype="0" repeatCount="indefinite" accel="50000" decel="50000" fill="hold" grpId="1" nodeType="withEffect">
                                  <p:stCondLst>
                                    <p:cond delay="1000"/>
                                  </p:stCondLst>
                                  <p:childTnLst>
                                    <p:animMotion origin="layout" path="M 1.38889E-6 -7.40741E-7 L 1.38889E-6 0.57963 " pathEditMode="relative" rAng="0" ptsTypes="AA">
                                      <p:cBhvr>
                                        <p:cTn id="147" dur="7000" fill="hold"/>
                                        <p:tgtEl>
                                          <p:spTgt spid="495"/>
                                        </p:tgtEl>
                                        <p:attrNameLst>
                                          <p:attrName>ppt_x</p:attrName>
                                          <p:attrName>ppt_y</p:attrName>
                                        </p:attrNameLst>
                                      </p:cBhvr>
                                      <p:rCtr x="0" y="28981"/>
                                    </p:animMotion>
                                  </p:childTnLst>
                                </p:cTn>
                              </p:par>
                              <p:par>
                                <p:cTn id="148" presetID="26" presetClass="emph" presetSubtype="0" repeatCount="indefinite" fill="hold" grpId="0" nodeType="withEffect">
                                  <p:stCondLst>
                                    <p:cond delay="1000"/>
                                  </p:stCondLst>
                                  <p:childTnLst>
                                    <p:animEffect transition="out" filter="fade">
                                      <p:cBhvr>
                                        <p:cTn id="149" dur="1000" tmFilter="0, 0; .2, .5; .8, .5; 1, 0"/>
                                        <p:tgtEl>
                                          <p:spTgt spid="498"/>
                                        </p:tgtEl>
                                      </p:cBhvr>
                                    </p:animEffect>
                                    <p:animScale>
                                      <p:cBhvr>
                                        <p:cTn id="150" dur="500" autoRev="1" fill="hold"/>
                                        <p:tgtEl>
                                          <p:spTgt spid="498"/>
                                        </p:tgtEl>
                                      </p:cBhvr>
                                      <p:by x="105000" y="105000"/>
                                    </p:animScale>
                                  </p:childTnLst>
                                </p:cTn>
                              </p:par>
                              <p:par>
                                <p:cTn id="151" presetID="6" presetClass="emph" presetSubtype="0" repeatCount="indefinite" fill="hold" grpId="1" nodeType="withEffect">
                                  <p:stCondLst>
                                    <p:cond delay="1000"/>
                                  </p:stCondLst>
                                  <p:childTnLst>
                                    <p:animScale>
                                      <p:cBhvr>
                                        <p:cTn id="152" dur="7000" fill="hold"/>
                                        <p:tgtEl>
                                          <p:spTgt spid="498"/>
                                        </p:tgtEl>
                                      </p:cBhvr>
                                      <p:by x="150000" y="150000"/>
                                    </p:animScale>
                                  </p:childTnLst>
                                </p:cTn>
                              </p:par>
                              <p:par>
                                <p:cTn id="153" presetID="6" presetClass="emph" presetSubtype="0" repeatCount="indefinite" fill="hold" grpId="0" nodeType="withEffect">
                                  <p:stCondLst>
                                    <p:cond delay="1000"/>
                                  </p:stCondLst>
                                  <p:childTnLst>
                                    <p:animScale>
                                      <p:cBhvr>
                                        <p:cTn id="154" dur="7000" fill="hold"/>
                                        <p:tgtEl>
                                          <p:spTgt spid="497"/>
                                        </p:tgtEl>
                                      </p:cBhvr>
                                      <p:by x="150000" y="150000"/>
                                    </p:animScale>
                                  </p:childTnLst>
                                </p:cTn>
                              </p:par>
                              <p:par>
                                <p:cTn id="155" presetID="42" presetClass="path" presetSubtype="0" repeatCount="indefinite" accel="50000" decel="50000" fill="hold" grpId="2" nodeType="withEffect">
                                  <p:stCondLst>
                                    <p:cond delay="1000"/>
                                  </p:stCondLst>
                                  <p:childTnLst>
                                    <p:animMotion origin="layout" path="M 1.38889E-6 -3.45679E-6 L 1.38889E-6 0.58025 " pathEditMode="relative" rAng="0" ptsTypes="AA">
                                      <p:cBhvr>
                                        <p:cTn id="156" dur="7000" fill="hold"/>
                                        <p:tgtEl>
                                          <p:spTgt spid="498"/>
                                        </p:tgtEl>
                                        <p:attrNameLst>
                                          <p:attrName>ppt_x</p:attrName>
                                          <p:attrName>ppt_y</p:attrName>
                                        </p:attrNameLst>
                                      </p:cBhvr>
                                      <p:rCtr x="0" y="29012"/>
                                    </p:animMotion>
                                  </p:childTnLst>
                                </p:cTn>
                              </p:par>
                              <p:par>
                                <p:cTn id="157" presetID="42" presetClass="path" presetSubtype="0" repeatCount="indefinite" accel="50000" decel="50000" fill="hold" grpId="1" nodeType="withEffect">
                                  <p:stCondLst>
                                    <p:cond delay="1000"/>
                                  </p:stCondLst>
                                  <p:childTnLst>
                                    <p:animMotion origin="layout" path="M 1.38889E-6 -7.40741E-7 L 1.38889E-6 0.57963 " pathEditMode="relative" rAng="0" ptsTypes="AA">
                                      <p:cBhvr>
                                        <p:cTn id="158" dur="7000" fill="hold"/>
                                        <p:tgtEl>
                                          <p:spTgt spid="497"/>
                                        </p:tgtEl>
                                        <p:attrNameLst>
                                          <p:attrName>ppt_x</p:attrName>
                                          <p:attrName>ppt_y</p:attrName>
                                        </p:attrNameLst>
                                      </p:cBhvr>
                                      <p:rCtr x="0" y="28981"/>
                                    </p:animMotion>
                                  </p:childTnLst>
                                </p:cTn>
                              </p:par>
                              <p:par>
                                <p:cTn id="159" presetID="26" presetClass="emph" presetSubtype="0" repeatCount="indefinite" fill="hold" grpId="0" nodeType="withEffect">
                                  <p:stCondLst>
                                    <p:cond delay="1000"/>
                                  </p:stCondLst>
                                  <p:childTnLst>
                                    <p:animEffect transition="out" filter="fade">
                                      <p:cBhvr>
                                        <p:cTn id="160" dur="1000" tmFilter="0, 0; .2, .5; .8, .5; 1, 0"/>
                                        <p:tgtEl>
                                          <p:spTgt spid="500"/>
                                        </p:tgtEl>
                                      </p:cBhvr>
                                    </p:animEffect>
                                    <p:animScale>
                                      <p:cBhvr>
                                        <p:cTn id="161" dur="500" autoRev="1" fill="hold"/>
                                        <p:tgtEl>
                                          <p:spTgt spid="500"/>
                                        </p:tgtEl>
                                      </p:cBhvr>
                                      <p:by x="105000" y="105000"/>
                                    </p:animScale>
                                  </p:childTnLst>
                                </p:cTn>
                              </p:par>
                              <p:par>
                                <p:cTn id="162" presetID="6" presetClass="emph" presetSubtype="0" repeatCount="indefinite" fill="hold" grpId="1" nodeType="withEffect">
                                  <p:stCondLst>
                                    <p:cond delay="1000"/>
                                  </p:stCondLst>
                                  <p:childTnLst>
                                    <p:animScale>
                                      <p:cBhvr>
                                        <p:cTn id="163" dur="7000" fill="hold"/>
                                        <p:tgtEl>
                                          <p:spTgt spid="500"/>
                                        </p:tgtEl>
                                      </p:cBhvr>
                                      <p:by x="150000" y="150000"/>
                                    </p:animScale>
                                  </p:childTnLst>
                                </p:cTn>
                              </p:par>
                              <p:par>
                                <p:cTn id="164" presetID="6" presetClass="emph" presetSubtype="0" repeatCount="indefinite" fill="hold" grpId="0" nodeType="withEffect">
                                  <p:stCondLst>
                                    <p:cond delay="1000"/>
                                  </p:stCondLst>
                                  <p:childTnLst>
                                    <p:animScale>
                                      <p:cBhvr>
                                        <p:cTn id="165" dur="7000" fill="hold"/>
                                        <p:tgtEl>
                                          <p:spTgt spid="499"/>
                                        </p:tgtEl>
                                      </p:cBhvr>
                                      <p:by x="150000" y="150000"/>
                                    </p:animScale>
                                  </p:childTnLst>
                                </p:cTn>
                              </p:par>
                              <p:par>
                                <p:cTn id="166" presetID="42" presetClass="path" presetSubtype="0" repeatCount="indefinite" accel="50000" decel="50000" fill="hold" grpId="2" nodeType="withEffect">
                                  <p:stCondLst>
                                    <p:cond delay="1000"/>
                                  </p:stCondLst>
                                  <p:childTnLst>
                                    <p:animMotion origin="layout" path="M 1.38889E-6 -3.45679E-6 L 1.38889E-6 0.58025 " pathEditMode="relative" rAng="0" ptsTypes="AA">
                                      <p:cBhvr>
                                        <p:cTn id="167" dur="7000" fill="hold"/>
                                        <p:tgtEl>
                                          <p:spTgt spid="500"/>
                                        </p:tgtEl>
                                        <p:attrNameLst>
                                          <p:attrName>ppt_x</p:attrName>
                                          <p:attrName>ppt_y</p:attrName>
                                        </p:attrNameLst>
                                      </p:cBhvr>
                                      <p:rCtr x="0" y="29012"/>
                                    </p:animMotion>
                                  </p:childTnLst>
                                </p:cTn>
                              </p:par>
                              <p:par>
                                <p:cTn id="168" presetID="42" presetClass="path" presetSubtype="0" repeatCount="indefinite" accel="50000" decel="50000" fill="hold" grpId="1" nodeType="withEffect">
                                  <p:stCondLst>
                                    <p:cond delay="1000"/>
                                  </p:stCondLst>
                                  <p:childTnLst>
                                    <p:animMotion origin="layout" path="M 1.38889E-6 -7.40741E-7 L 1.38889E-6 0.57963 " pathEditMode="relative" rAng="0" ptsTypes="AA">
                                      <p:cBhvr>
                                        <p:cTn id="169" dur="7000" fill="hold"/>
                                        <p:tgtEl>
                                          <p:spTgt spid="499"/>
                                        </p:tgtEl>
                                        <p:attrNameLst>
                                          <p:attrName>ppt_x</p:attrName>
                                          <p:attrName>ppt_y</p:attrName>
                                        </p:attrNameLst>
                                      </p:cBhvr>
                                      <p:rCtr x="0" y="28981"/>
                                    </p:animMotion>
                                  </p:childTnLst>
                                </p:cTn>
                              </p:par>
                              <p:par>
                                <p:cTn id="170" presetID="26" presetClass="emph" presetSubtype="0" repeatCount="indefinite" fill="hold" grpId="0" nodeType="withEffect">
                                  <p:stCondLst>
                                    <p:cond delay="1000"/>
                                  </p:stCondLst>
                                  <p:childTnLst>
                                    <p:animEffect transition="out" filter="fade">
                                      <p:cBhvr>
                                        <p:cTn id="171" dur="1000" tmFilter="0, 0; .2, .5; .8, .5; 1, 0"/>
                                        <p:tgtEl>
                                          <p:spTgt spid="502"/>
                                        </p:tgtEl>
                                      </p:cBhvr>
                                    </p:animEffect>
                                    <p:animScale>
                                      <p:cBhvr>
                                        <p:cTn id="172" dur="500" autoRev="1" fill="hold"/>
                                        <p:tgtEl>
                                          <p:spTgt spid="502"/>
                                        </p:tgtEl>
                                      </p:cBhvr>
                                      <p:by x="105000" y="105000"/>
                                    </p:animScale>
                                  </p:childTnLst>
                                </p:cTn>
                              </p:par>
                              <p:par>
                                <p:cTn id="173" presetID="6" presetClass="emph" presetSubtype="0" repeatCount="indefinite" fill="hold" grpId="1" nodeType="withEffect">
                                  <p:stCondLst>
                                    <p:cond delay="1000"/>
                                  </p:stCondLst>
                                  <p:childTnLst>
                                    <p:animScale>
                                      <p:cBhvr>
                                        <p:cTn id="174" dur="7000" fill="hold"/>
                                        <p:tgtEl>
                                          <p:spTgt spid="502"/>
                                        </p:tgtEl>
                                      </p:cBhvr>
                                      <p:by x="150000" y="150000"/>
                                    </p:animScale>
                                  </p:childTnLst>
                                </p:cTn>
                              </p:par>
                              <p:par>
                                <p:cTn id="175" presetID="6" presetClass="emph" presetSubtype="0" repeatCount="indefinite" fill="hold" grpId="0" nodeType="withEffect">
                                  <p:stCondLst>
                                    <p:cond delay="1000"/>
                                  </p:stCondLst>
                                  <p:childTnLst>
                                    <p:animScale>
                                      <p:cBhvr>
                                        <p:cTn id="176" dur="7000" fill="hold"/>
                                        <p:tgtEl>
                                          <p:spTgt spid="501"/>
                                        </p:tgtEl>
                                      </p:cBhvr>
                                      <p:by x="150000" y="150000"/>
                                    </p:animScale>
                                  </p:childTnLst>
                                </p:cTn>
                              </p:par>
                              <p:par>
                                <p:cTn id="177" presetID="42" presetClass="path" presetSubtype="0" repeatCount="indefinite" accel="50000" decel="50000" fill="hold" grpId="2" nodeType="withEffect">
                                  <p:stCondLst>
                                    <p:cond delay="1000"/>
                                  </p:stCondLst>
                                  <p:childTnLst>
                                    <p:animMotion origin="layout" path="M 1.38889E-6 -3.45679E-6 L 1.38889E-6 0.58025 " pathEditMode="relative" rAng="0" ptsTypes="AA">
                                      <p:cBhvr>
                                        <p:cTn id="178" dur="7000" fill="hold"/>
                                        <p:tgtEl>
                                          <p:spTgt spid="502"/>
                                        </p:tgtEl>
                                        <p:attrNameLst>
                                          <p:attrName>ppt_x</p:attrName>
                                          <p:attrName>ppt_y</p:attrName>
                                        </p:attrNameLst>
                                      </p:cBhvr>
                                      <p:rCtr x="0" y="29012"/>
                                    </p:animMotion>
                                  </p:childTnLst>
                                </p:cTn>
                              </p:par>
                              <p:par>
                                <p:cTn id="179" presetID="42" presetClass="path" presetSubtype="0" repeatCount="indefinite" accel="50000" decel="50000" fill="hold" grpId="1" nodeType="withEffect">
                                  <p:stCondLst>
                                    <p:cond delay="1000"/>
                                  </p:stCondLst>
                                  <p:childTnLst>
                                    <p:animMotion origin="layout" path="M 1.38889E-6 -7.40741E-7 L 1.38889E-6 0.57963 " pathEditMode="relative" rAng="0" ptsTypes="AA">
                                      <p:cBhvr>
                                        <p:cTn id="180" dur="7000" fill="hold"/>
                                        <p:tgtEl>
                                          <p:spTgt spid="501"/>
                                        </p:tgtEl>
                                        <p:attrNameLst>
                                          <p:attrName>ppt_x</p:attrName>
                                          <p:attrName>ppt_y</p:attrName>
                                        </p:attrNameLst>
                                      </p:cBhvr>
                                      <p:rCtr x="0" y="28981"/>
                                    </p:animMotion>
                                  </p:childTnLst>
                                </p:cTn>
                              </p:par>
                              <p:par>
                                <p:cTn id="181" presetID="26" presetClass="emph" presetSubtype="0" repeatCount="indefinite" fill="hold" grpId="0" nodeType="withEffect">
                                  <p:stCondLst>
                                    <p:cond delay="1000"/>
                                  </p:stCondLst>
                                  <p:childTnLst>
                                    <p:animEffect transition="out" filter="fade">
                                      <p:cBhvr>
                                        <p:cTn id="182" dur="1000" tmFilter="0, 0; .2, .5; .8, .5; 1, 0"/>
                                        <p:tgtEl>
                                          <p:spTgt spid="504"/>
                                        </p:tgtEl>
                                      </p:cBhvr>
                                    </p:animEffect>
                                    <p:animScale>
                                      <p:cBhvr>
                                        <p:cTn id="183" dur="500" autoRev="1" fill="hold"/>
                                        <p:tgtEl>
                                          <p:spTgt spid="504"/>
                                        </p:tgtEl>
                                      </p:cBhvr>
                                      <p:by x="105000" y="105000"/>
                                    </p:animScale>
                                  </p:childTnLst>
                                </p:cTn>
                              </p:par>
                              <p:par>
                                <p:cTn id="184" presetID="6" presetClass="emph" presetSubtype="0" repeatCount="indefinite" fill="hold" grpId="1" nodeType="withEffect">
                                  <p:stCondLst>
                                    <p:cond delay="1000"/>
                                  </p:stCondLst>
                                  <p:childTnLst>
                                    <p:animScale>
                                      <p:cBhvr>
                                        <p:cTn id="185" dur="7000" fill="hold"/>
                                        <p:tgtEl>
                                          <p:spTgt spid="504"/>
                                        </p:tgtEl>
                                      </p:cBhvr>
                                      <p:by x="150000" y="150000"/>
                                    </p:animScale>
                                  </p:childTnLst>
                                </p:cTn>
                              </p:par>
                              <p:par>
                                <p:cTn id="186" presetID="6" presetClass="emph" presetSubtype="0" repeatCount="indefinite" fill="hold" grpId="0" nodeType="withEffect">
                                  <p:stCondLst>
                                    <p:cond delay="1000"/>
                                  </p:stCondLst>
                                  <p:childTnLst>
                                    <p:animScale>
                                      <p:cBhvr>
                                        <p:cTn id="187" dur="7000" fill="hold"/>
                                        <p:tgtEl>
                                          <p:spTgt spid="503"/>
                                        </p:tgtEl>
                                      </p:cBhvr>
                                      <p:by x="150000" y="150000"/>
                                    </p:animScale>
                                  </p:childTnLst>
                                </p:cTn>
                              </p:par>
                              <p:par>
                                <p:cTn id="188" presetID="42" presetClass="path" presetSubtype="0" repeatCount="indefinite" accel="50000" decel="50000" fill="hold" grpId="2" nodeType="withEffect">
                                  <p:stCondLst>
                                    <p:cond delay="1000"/>
                                  </p:stCondLst>
                                  <p:childTnLst>
                                    <p:animMotion origin="layout" path="M 1.38889E-6 -3.45679E-6 L 1.38889E-6 0.58025 " pathEditMode="relative" rAng="0" ptsTypes="AA">
                                      <p:cBhvr>
                                        <p:cTn id="189" dur="7000" fill="hold"/>
                                        <p:tgtEl>
                                          <p:spTgt spid="504"/>
                                        </p:tgtEl>
                                        <p:attrNameLst>
                                          <p:attrName>ppt_x</p:attrName>
                                          <p:attrName>ppt_y</p:attrName>
                                        </p:attrNameLst>
                                      </p:cBhvr>
                                      <p:rCtr x="0" y="29012"/>
                                    </p:animMotion>
                                  </p:childTnLst>
                                </p:cTn>
                              </p:par>
                              <p:par>
                                <p:cTn id="190" presetID="42" presetClass="path" presetSubtype="0" repeatCount="indefinite" accel="50000" decel="50000" fill="hold" grpId="1" nodeType="withEffect">
                                  <p:stCondLst>
                                    <p:cond delay="1000"/>
                                  </p:stCondLst>
                                  <p:childTnLst>
                                    <p:animMotion origin="layout" path="M 1.38889E-6 -7.40741E-7 L 1.38889E-6 0.57963 " pathEditMode="relative" rAng="0" ptsTypes="AA">
                                      <p:cBhvr>
                                        <p:cTn id="191" dur="7000" fill="hold"/>
                                        <p:tgtEl>
                                          <p:spTgt spid="503"/>
                                        </p:tgtEl>
                                        <p:attrNameLst>
                                          <p:attrName>ppt_x</p:attrName>
                                          <p:attrName>ppt_y</p:attrName>
                                        </p:attrNameLst>
                                      </p:cBhvr>
                                      <p:rCtr x="0" y="28981"/>
                                    </p:animMotion>
                                  </p:childTnLst>
                                </p:cTn>
                              </p:par>
                              <p:par>
                                <p:cTn id="192" presetID="26" presetClass="emph" presetSubtype="0" repeatCount="indefinite" fill="hold" grpId="0" nodeType="withEffect">
                                  <p:stCondLst>
                                    <p:cond delay="1000"/>
                                  </p:stCondLst>
                                  <p:childTnLst>
                                    <p:animEffect transition="out" filter="fade">
                                      <p:cBhvr>
                                        <p:cTn id="193" dur="1000" tmFilter="0, 0; .2, .5; .8, .5; 1, 0"/>
                                        <p:tgtEl>
                                          <p:spTgt spid="506"/>
                                        </p:tgtEl>
                                      </p:cBhvr>
                                    </p:animEffect>
                                    <p:animScale>
                                      <p:cBhvr>
                                        <p:cTn id="194" dur="500" autoRev="1" fill="hold"/>
                                        <p:tgtEl>
                                          <p:spTgt spid="506"/>
                                        </p:tgtEl>
                                      </p:cBhvr>
                                      <p:by x="105000" y="105000"/>
                                    </p:animScale>
                                  </p:childTnLst>
                                </p:cTn>
                              </p:par>
                              <p:par>
                                <p:cTn id="195" presetID="6" presetClass="emph" presetSubtype="0" repeatCount="indefinite" fill="hold" grpId="1" nodeType="withEffect">
                                  <p:stCondLst>
                                    <p:cond delay="1000"/>
                                  </p:stCondLst>
                                  <p:childTnLst>
                                    <p:animScale>
                                      <p:cBhvr>
                                        <p:cTn id="196" dur="7000" fill="hold"/>
                                        <p:tgtEl>
                                          <p:spTgt spid="506"/>
                                        </p:tgtEl>
                                      </p:cBhvr>
                                      <p:by x="150000" y="150000"/>
                                    </p:animScale>
                                  </p:childTnLst>
                                </p:cTn>
                              </p:par>
                              <p:par>
                                <p:cTn id="197" presetID="6" presetClass="emph" presetSubtype="0" repeatCount="indefinite" fill="hold" grpId="0" nodeType="withEffect">
                                  <p:stCondLst>
                                    <p:cond delay="1000"/>
                                  </p:stCondLst>
                                  <p:childTnLst>
                                    <p:animScale>
                                      <p:cBhvr>
                                        <p:cTn id="198" dur="7000" fill="hold"/>
                                        <p:tgtEl>
                                          <p:spTgt spid="505"/>
                                        </p:tgtEl>
                                      </p:cBhvr>
                                      <p:by x="150000" y="150000"/>
                                    </p:animScale>
                                  </p:childTnLst>
                                </p:cTn>
                              </p:par>
                              <p:par>
                                <p:cTn id="199" presetID="42" presetClass="path" presetSubtype="0" repeatCount="indefinite" accel="50000" decel="50000" fill="hold" grpId="2" nodeType="withEffect">
                                  <p:stCondLst>
                                    <p:cond delay="1000"/>
                                  </p:stCondLst>
                                  <p:childTnLst>
                                    <p:animMotion origin="layout" path="M 1.38889E-6 -3.45679E-6 L 1.38889E-6 0.58025 " pathEditMode="relative" rAng="0" ptsTypes="AA">
                                      <p:cBhvr>
                                        <p:cTn id="200" dur="7000" fill="hold"/>
                                        <p:tgtEl>
                                          <p:spTgt spid="506"/>
                                        </p:tgtEl>
                                        <p:attrNameLst>
                                          <p:attrName>ppt_x</p:attrName>
                                          <p:attrName>ppt_y</p:attrName>
                                        </p:attrNameLst>
                                      </p:cBhvr>
                                      <p:rCtr x="0" y="29012"/>
                                    </p:animMotion>
                                  </p:childTnLst>
                                </p:cTn>
                              </p:par>
                              <p:par>
                                <p:cTn id="201" presetID="42" presetClass="path" presetSubtype="0" repeatCount="indefinite" accel="50000" decel="50000" fill="hold" grpId="1" nodeType="withEffect">
                                  <p:stCondLst>
                                    <p:cond delay="1000"/>
                                  </p:stCondLst>
                                  <p:childTnLst>
                                    <p:animMotion origin="layout" path="M 1.38889E-6 -7.40741E-7 L 1.38889E-6 0.57963 " pathEditMode="relative" rAng="0" ptsTypes="AA">
                                      <p:cBhvr>
                                        <p:cTn id="202" dur="7000" fill="hold"/>
                                        <p:tgtEl>
                                          <p:spTgt spid="505"/>
                                        </p:tgtEl>
                                        <p:attrNameLst>
                                          <p:attrName>ppt_x</p:attrName>
                                          <p:attrName>ppt_y</p:attrName>
                                        </p:attrNameLst>
                                      </p:cBhvr>
                                      <p:rCtr x="0" y="28981"/>
                                    </p:animMotion>
                                  </p:childTnLst>
                                </p:cTn>
                              </p:par>
                              <p:par>
                                <p:cTn id="203" presetID="26" presetClass="emph" presetSubtype="0" repeatCount="indefinite" fill="hold" grpId="0" nodeType="withEffect">
                                  <p:stCondLst>
                                    <p:cond delay="1000"/>
                                  </p:stCondLst>
                                  <p:childTnLst>
                                    <p:animEffect transition="out" filter="fade">
                                      <p:cBhvr>
                                        <p:cTn id="204" dur="1000" tmFilter="0, 0; .2, .5; .8, .5; 1, 0"/>
                                        <p:tgtEl>
                                          <p:spTgt spid="508"/>
                                        </p:tgtEl>
                                      </p:cBhvr>
                                    </p:animEffect>
                                    <p:animScale>
                                      <p:cBhvr>
                                        <p:cTn id="205" dur="500" autoRev="1" fill="hold"/>
                                        <p:tgtEl>
                                          <p:spTgt spid="508"/>
                                        </p:tgtEl>
                                      </p:cBhvr>
                                      <p:by x="105000" y="105000"/>
                                    </p:animScale>
                                  </p:childTnLst>
                                </p:cTn>
                              </p:par>
                              <p:par>
                                <p:cTn id="206" presetID="6" presetClass="emph" presetSubtype="0" repeatCount="indefinite" fill="hold" grpId="1" nodeType="withEffect">
                                  <p:stCondLst>
                                    <p:cond delay="1000"/>
                                  </p:stCondLst>
                                  <p:childTnLst>
                                    <p:animScale>
                                      <p:cBhvr>
                                        <p:cTn id="207" dur="7000" fill="hold"/>
                                        <p:tgtEl>
                                          <p:spTgt spid="508"/>
                                        </p:tgtEl>
                                      </p:cBhvr>
                                      <p:by x="150000" y="150000"/>
                                    </p:animScale>
                                  </p:childTnLst>
                                </p:cTn>
                              </p:par>
                              <p:par>
                                <p:cTn id="208" presetID="6" presetClass="emph" presetSubtype="0" repeatCount="indefinite" fill="hold" grpId="0" nodeType="withEffect">
                                  <p:stCondLst>
                                    <p:cond delay="1000"/>
                                  </p:stCondLst>
                                  <p:childTnLst>
                                    <p:animScale>
                                      <p:cBhvr>
                                        <p:cTn id="209" dur="7000" fill="hold"/>
                                        <p:tgtEl>
                                          <p:spTgt spid="507"/>
                                        </p:tgtEl>
                                      </p:cBhvr>
                                      <p:by x="150000" y="150000"/>
                                    </p:animScale>
                                  </p:childTnLst>
                                </p:cTn>
                              </p:par>
                              <p:par>
                                <p:cTn id="210" presetID="42" presetClass="path" presetSubtype="0" repeatCount="indefinite" accel="50000" decel="50000" fill="hold" grpId="2" nodeType="withEffect">
                                  <p:stCondLst>
                                    <p:cond delay="1000"/>
                                  </p:stCondLst>
                                  <p:childTnLst>
                                    <p:animMotion origin="layout" path="M 1.38889E-6 -3.45679E-6 L 1.38889E-6 0.58025 " pathEditMode="relative" rAng="0" ptsTypes="AA">
                                      <p:cBhvr>
                                        <p:cTn id="211" dur="7000" fill="hold"/>
                                        <p:tgtEl>
                                          <p:spTgt spid="508"/>
                                        </p:tgtEl>
                                        <p:attrNameLst>
                                          <p:attrName>ppt_x</p:attrName>
                                          <p:attrName>ppt_y</p:attrName>
                                        </p:attrNameLst>
                                      </p:cBhvr>
                                      <p:rCtr x="0" y="29012"/>
                                    </p:animMotion>
                                  </p:childTnLst>
                                </p:cTn>
                              </p:par>
                              <p:par>
                                <p:cTn id="212" presetID="42" presetClass="path" presetSubtype="0" repeatCount="indefinite" accel="50000" decel="50000" fill="hold" grpId="1" nodeType="withEffect">
                                  <p:stCondLst>
                                    <p:cond delay="1000"/>
                                  </p:stCondLst>
                                  <p:childTnLst>
                                    <p:animMotion origin="layout" path="M 1.38889E-6 -7.40741E-7 L 1.38889E-6 0.57963 " pathEditMode="relative" rAng="0" ptsTypes="AA">
                                      <p:cBhvr>
                                        <p:cTn id="213" dur="7000" fill="hold"/>
                                        <p:tgtEl>
                                          <p:spTgt spid="507"/>
                                        </p:tgtEl>
                                        <p:attrNameLst>
                                          <p:attrName>ppt_x</p:attrName>
                                          <p:attrName>ppt_y</p:attrName>
                                        </p:attrNameLst>
                                      </p:cBhvr>
                                      <p:rCtr x="0" y="28981"/>
                                    </p:animMotion>
                                  </p:childTnLst>
                                </p:cTn>
                              </p:par>
                              <p:par>
                                <p:cTn id="214" presetID="26" presetClass="emph" presetSubtype="0" repeatCount="indefinite" fill="hold" grpId="0" nodeType="withEffect">
                                  <p:stCondLst>
                                    <p:cond delay="1000"/>
                                  </p:stCondLst>
                                  <p:childTnLst>
                                    <p:animEffect transition="out" filter="fade">
                                      <p:cBhvr>
                                        <p:cTn id="215" dur="1000" tmFilter="0, 0; .2, .5; .8, .5; 1, 0"/>
                                        <p:tgtEl>
                                          <p:spTgt spid="510"/>
                                        </p:tgtEl>
                                      </p:cBhvr>
                                    </p:animEffect>
                                    <p:animScale>
                                      <p:cBhvr>
                                        <p:cTn id="216" dur="500" autoRev="1" fill="hold"/>
                                        <p:tgtEl>
                                          <p:spTgt spid="510"/>
                                        </p:tgtEl>
                                      </p:cBhvr>
                                      <p:by x="105000" y="105000"/>
                                    </p:animScale>
                                  </p:childTnLst>
                                </p:cTn>
                              </p:par>
                              <p:par>
                                <p:cTn id="217" presetID="6" presetClass="emph" presetSubtype="0" repeatCount="indefinite" fill="hold" grpId="1" nodeType="withEffect">
                                  <p:stCondLst>
                                    <p:cond delay="1000"/>
                                  </p:stCondLst>
                                  <p:childTnLst>
                                    <p:animScale>
                                      <p:cBhvr>
                                        <p:cTn id="218" dur="7000" fill="hold"/>
                                        <p:tgtEl>
                                          <p:spTgt spid="510"/>
                                        </p:tgtEl>
                                      </p:cBhvr>
                                      <p:by x="150000" y="150000"/>
                                    </p:animScale>
                                  </p:childTnLst>
                                </p:cTn>
                              </p:par>
                              <p:par>
                                <p:cTn id="219" presetID="6" presetClass="emph" presetSubtype="0" repeatCount="indefinite" fill="hold" grpId="0" nodeType="withEffect">
                                  <p:stCondLst>
                                    <p:cond delay="1000"/>
                                  </p:stCondLst>
                                  <p:childTnLst>
                                    <p:animScale>
                                      <p:cBhvr>
                                        <p:cTn id="220" dur="7000" fill="hold"/>
                                        <p:tgtEl>
                                          <p:spTgt spid="509"/>
                                        </p:tgtEl>
                                      </p:cBhvr>
                                      <p:by x="150000" y="150000"/>
                                    </p:animScale>
                                  </p:childTnLst>
                                </p:cTn>
                              </p:par>
                              <p:par>
                                <p:cTn id="221" presetID="42" presetClass="path" presetSubtype="0" repeatCount="indefinite" accel="50000" decel="50000" fill="hold" grpId="2" nodeType="withEffect">
                                  <p:stCondLst>
                                    <p:cond delay="1000"/>
                                  </p:stCondLst>
                                  <p:childTnLst>
                                    <p:animMotion origin="layout" path="M 1.38889E-6 -3.45679E-6 L 1.38889E-6 0.58025 " pathEditMode="relative" rAng="0" ptsTypes="AA">
                                      <p:cBhvr>
                                        <p:cTn id="222" dur="7000" fill="hold"/>
                                        <p:tgtEl>
                                          <p:spTgt spid="510"/>
                                        </p:tgtEl>
                                        <p:attrNameLst>
                                          <p:attrName>ppt_x</p:attrName>
                                          <p:attrName>ppt_y</p:attrName>
                                        </p:attrNameLst>
                                      </p:cBhvr>
                                      <p:rCtr x="0" y="29012"/>
                                    </p:animMotion>
                                  </p:childTnLst>
                                </p:cTn>
                              </p:par>
                              <p:par>
                                <p:cTn id="223" presetID="42" presetClass="path" presetSubtype="0" repeatCount="indefinite" accel="50000" decel="50000" fill="hold" grpId="1" nodeType="withEffect">
                                  <p:stCondLst>
                                    <p:cond delay="1000"/>
                                  </p:stCondLst>
                                  <p:childTnLst>
                                    <p:animMotion origin="layout" path="M 1.38889E-6 -7.40741E-7 L 1.38889E-6 0.57963 " pathEditMode="relative" rAng="0" ptsTypes="AA">
                                      <p:cBhvr>
                                        <p:cTn id="224" dur="7000" fill="hold"/>
                                        <p:tgtEl>
                                          <p:spTgt spid="509"/>
                                        </p:tgtEl>
                                        <p:attrNameLst>
                                          <p:attrName>ppt_x</p:attrName>
                                          <p:attrName>ppt_y</p:attrName>
                                        </p:attrNameLst>
                                      </p:cBhvr>
                                      <p:rCtr x="0" y="28981"/>
                                    </p:animMotion>
                                  </p:childTnLst>
                                </p:cTn>
                              </p:par>
                              <p:par>
                                <p:cTn id="225" presetID="26" presetClass="emph" presetSubtype="0" repeatCount="indefinite" fill="hold" grpId="0" nodeType="withEffect">
                                  <p:stCondLst>
                                    <p:cond delay="1000"/>
                                  </p:stCondLst>
                                  <p:childTnLst>
                                    <p:animEffect transition="out" filter="fade">
                                      <p:cBhvr>
                                        <p:cTn id="226" dur="1000" tmFilter="0, 0; .2, .5; .8, .5; 1, 0"/>
                                        <p:tgtEl>
                                          <p:spTgt spid="512"/>
                                        </p:tgtEl>
                                      </p:cBhvr>
                                    </p:animEffect>
                                    <p:animScale>
                                      <p:cBhvr>
                                        <p:cTn id="227" dur="500" autoRev="1" fill="hold"/>
                                        <p:tgtEl>
                                          <p:spTgt spid="512"/>
                                        </p:tgtEl>
                                      </p:cBhvr>
                                      <p:by x="105000" y="105000"/>
                                    </p:animScale>
                                  </p:childTnLst>
                                </p:cTn>
                              </p:par>
                              <p:par>
                                <p:cTn id="228" presetID="6" presetClass="emph" presetSubtype="0" repeatCount="indefinite" fill="hold" grpId="1" nodeType="withEffect">
                                  <p:stCondLst>
                                    <p:cond delay="1000"/>
                                  </p:stCondLst>
                                  <p:childTnLst>
                                    <p:animScale>
                                      <p:cBhvr>
                                        <p:cTn id="229" dur="7000" fill="hold"/>
                                        <p:tgtEl>
                                          <p:spTgt spid="512"/>
                                        </p:tgtEl>
                                      </p:cBhvr>
                                      <p:by x="150000" y="150000"/>
                                    </p:animScale>
                                  </p:childTnLst>
                                </p:cTn>
                              </p:par>
                              <p:par>
                                <p:cTn id="230" presetID="6" presetClass="emph" presetSubtype="0" repeatCount="indefinite" fill="hold" grpId="0" nodeType="withEffect">
                                  <p:stCondLst>
                                    <p:cond delay="1000"/>
                                  </p:stCondLst>
                                  <p:childTnLst>
                                    <p:animScale>
                                      <p:cBhvr>
                                        <p:cTn id="231" dur="7000" fill="hold"/>
                                        <p:tgtEl>
                                          <p:spTgt spid="511"/>
                                        </p:tgtEl>
                                      </p:cBhvr>
                                      <p:by x="150000" y="150000"/>
                                    </p:animScale>
                                  </p:childTnLst>
                                </p:cTn>
                              </p:par>
                              <p:par>
                                <p:cTn id="232" presetID="42" presetClass="path" presetSubtype="0" repeatCount="indefinite" accel="50000" decel="50000" fill="hold" grpId="2" nodeType="withEffect">
                                  <p:stCondLst>
                                    <p:cond delay="1000"/>
                                  </p:stCondLst>
                                  <p:childTnLst>
                                    <p:animMotion origin="layout" path="M 1.38889E-6 -3.45679E-6 L 1.38889E-6 0.58025 " pathEditMode="relative" rAng="0" ptsTypes="AA">
                                      <p:cBhvr>
                                        <p:cTn id="233" dur="7000" fill="hold"/>
                                        <p:tgtEl>
                                          <p:spTgt spid="512"/>
                                        </p:tgtEl>
                                        <p:attrNameLst>
                                          <p:attrName>ppt_x</p:attrName>
                                          <p:attrName>ppt_y</p:attrName>
                                        </p:attrNameLst>
                                      </p:cBhvr>
                                      <p:rCtr x="0" y="29012"/>
                                    </p:animMotion>
                                  </p:childTnLst>
                                </p:cTn>
                              </p:par>
                              <p:par>
                                <p:cTn id="234" presetID="42" presetClass="path" presetSubtype="0" repeatCount="indefinite" accel="50000" decel="50000" fill="hold" grpId="1" nodeType="withEffect">
                                  <p:stCondLst>
                                    <p:cond delay="1000"/>
                                  </p:stCondLst>
                                  <p:childTnLst>
                                    <p:animMotion origin="layout" path="M 1.38889E-6 -7.40741E-7 L 1.38889E-6 0.57963 " pathEditMode="relative" rAng="0" ptsTypes="AA">
                                      <p:cBhvr>
                                        <p:cTn id="235" dur="7000" fill="hold"/>
                                        <p:tgtEl>
                                          <p:spTgt spid="511"/>
                                        </p:tgtEl>
                                        <p:attrNameLst>
                                          <p:attrName>ppt_x</p:attrName>
                                          <p:attrName>ppt_y</p:attrName>
                                        </p:attrNameLst>
                                      </p:cBhvr>
                                      <p:rCtr x="0" y="28981"/>
                                    </p:animMotion>
                                  </p:childTnLst>
                                </p:cTn>
                              </p:par>
                              <p:par>
                                <p:cTn id="236" presetID="26" presetClass="emph" presetSubtype="0" repeatCount="indefinite" fill="hold" grpId="0" nodeType="withEffect">
                                  <p:stCondLst>
                                    <p:cond delay="1000"/>
                                  </p:stCondLst>
                                  <p:childTnLst>
                                    <p:animEffect transition="out" filter="fade">
                                      <p:cBhvr>
                                        <p:cTn id="237" dur="1000" tmFilter="0, 0; .2, .5; .8, .5; 1, 0"/>
                                        <p:tgtEl>
                                          <p:spTgt spid="514"/>
                                        </p:tgtEl>
                                      </p:cBhvr>
                                    </p:animEffect>
                                    <p:animScale>
                                      <p:cBhvr>
                                        <p:cTn id="238" dur="500" autoRev="1" fill="hold"/>
                                        <p:tgtEl>
                                          <p:spTgt spid="514"/>
                                        </p:tgtEl>
                                      </p:cBhvr>
                                      <p:by x="105000" y="105000"/>
                                    </p:animScale>
                                  </p:childTnLst>
                                </p:cTn>
                              </p:par>
                              <p:par>
                                <p:cTn id="239" presetID="6" presetClass="emph" presetSubtype="0" repeatCount="indefinite" fill="hold" grpId="1" nodeType="withEffect">
                                  <p:stCondLst>
                                    <p:cond delay="1000"/>
                                  </p:stCondLst>
                                  <p:childTnLst>
                                    <p:animScale>
                                      <p:cBhvr>
                                        <p:cTn id="240" dur="7000" fill="hold"/>
                                        <p:tgtEl>
                                          <p:spTgt spid="514"/>
                                        </p:tgtEl>
                                      </p:cBhvr>
                                      <p:by x="150000" y="150000"/>
                                    </p:animScale>
                                  </p:childTnLst>
                                </p:cTn>
                              </p:par>
                              <p:par>
                                <p:cTn id="241" presetID="6" presetClass="emph" presetSubtype="0" repeatCount="indefinite" fill="hold" grpId="0" nodeType="withEffect">
                                  <p:stCondLst>
                                    <p:cond delay="1000"/>
                                  </p:stCondLst>
                                  <p:childTnLst>
                                    <p:animScale>
                                      <p:cBhvr>
                                        <p:cTn id="242" dur="7000" fill="hold"/>
                                        <p:tgtEl>
                                          <p:spTgt spid="513"/>
                                        </p:tgtEl>
                                      </p:cBhvr>
                                      <p:by x="150000" y="150000"/>
                                    </p:animScale>
                                  </p:childTnLst>
                                </p:cTn>
                              </p:par>
                              <p:par>
                                <p:cTn id="243" presetID="42" presetClass="path" presetSubtype="0" repeatCount="indefinite" accel="50000" decel="50000" fill="hold" grpId="2" nodeType="withEffect">
                                  <p:stCondLst>
                                    <p:cond delay="1000"/>
                                  </p:stCondLst>
                                  <p:childTnLst>
                                    <p:animMotion origin="layout" path="M 1.38889E-6 -3.45679E-6 L 1.38889E-6 0.58025 " pathEditMode="relative" rAng="0" ptsTypes="AA">
                                      <p:cBhvr>
                                        <p:cTn id="244" dur="7000" fill="hold"/>
                                        <p:tgtEl>
                                          <p:spTgt spid="514"/>
                                        </p:tgtEl>
                                        <p:attrNameLst>
                                          <p:attrName>ppt_x</p:attrName>
                                          <p:attrName>ppt_y</p:attrName>
                                        </p:attrNameLst>
                                      </p:cBhvr>
                                      <p:rCtr x="0" y="29012"/>
                                    </p:animMotion>
                                  </p:childTnLst>
                                </p:cTn>
                              </p:par>
                              <p:par>
                                <p:cTn id="245" presetID="42" presetClass="path" presetSubtype="0" repeatCount="indefinite" accel="50000" decel="50000" fill="hold" grpId="1" nodeType="withEffect">
                                  <p:stCondLst>
                                    <p:cond delay="1000"/>
                                  </p:stCondLst>
                                  <p:childTnLst>
                                    <p:animMotion origin="layout" path="M 1.38889E-6 -7.40741E-7 L 1.38889E-6 0.57963 " pathEditMode="relative" rAng="0" ptsTypes="AA">
                                      <p:cBhvr>
                                        <p:cTn id="246" dur="7000" fill="hold"/>
                                        <p:tgtEl>
                                          <p:spTgt spid="513"/>
                                        </p:tgtEl>
                                        <p:attrNameLst>
                                          <p:attrName>ppt_x</p:attrName>
                                          <p:attrName>ppt_y</p:attrName>
                                        </p:attrNameLst>
                                      </p:cBhvr>
                                      <p:rCtr x="0" y="28981"/>
                                    </p:animMotion>
                                  </p:childTnLst>
                                </p:cTn>
                              </p:par>
                              <p:par>
                                <p:cTn id="247" presetID="26" presetClass="emph" presetSubtype="0" repeatCount="indefinite" fill="hold" grpId="0" nodeType="withEffect">
                                  <p:stCondLst>
                                    <p:cond delay="1000"/>
                                  </p:stCondLst>
                                  <p:childTnLst>
                                    <p:animEffect transition="out" filter="fade">
                                      <p:cBhvr>
                                        <p:cTn id="248" dur="1000" tmFilter="0, 0; .2, .5; .8, .5; 1, 0"/>
                                        <p:tgtEl>
                                          <p:spTgt spid="516"/>
                                        </p:tgtEl>
                                      </p:cBhvr>
                                    </p:animEffect>
                                    <p:animScale>
                                      <p:cBhvr>
                                        <p:cTn id="249" dur="500" autoRev="1" fill="hold"/>
                                        <p:tgtEl>
                                          <p:spTgt spid="516"/>
                                        </p:tgtEl>
                                      </p:cBhvr>
                                      <p:by x="105000" y="105000"/>
                                    </p:animScale>
                                  </p:childTnLst>
                                </p:cTn>
                              </p:par>
                              <p:par>
                                <p:cTn id="250" presetID="6" presetClass="emph" presetSubtype="0" repeatCount="indefinite" fill="hold" grpId="1" nodeType="withEffect">
                                  <p:stCondLst>
                                    <p:cond delay="1000"/>
                                  </p:stCondLst>
                                  <p:childTnLst>
                                    <p:animScale>
                                      <p:cBhvr>
                                        <p:cTn id="251" dur="7000" fill="hold"/>
                                        <p:tgtEl>
                                          <p:spTgt spid="516"/>
                                        </p:tgtEl>
                                      </p:cBhvr>
                                      <p:by x="150000" y="150000"/>
                                    </p:animScale>
                                  </p:childTnLst>
                                </p:cTn>
                              </p:par>
                              <p:par>
                                <p:cTn id="252" presetID="6" presetClass="emph" presetSubtype="0" repeatCount="indefinite" fill="hold" grpId="0" nodeType="withEffect">
                                  <p:stCondLst>
                                    <p:cond delay="1000"/>
                                  </p:stCondLst>
                                  <p:childTnLst>
                                    <p:animScale>
                                      <p:cBhvr>
                                        <p:cTn id="253" dur="7000" fill="hold"/>
                                        <p:tgtEl>
                                          <p:spTgt spid="515"/>
                                        </p:tgtEl>
                                      </p:cBhvr>
                                      <p:by x="150000" y="150000"/>
                                    </p:animScale>
                                  </p:childTnLst>
                                </p:cTn>
                              </p:par>
                              <p:par>
                                <p:cTn id="254" presetID="42" presetClass="path" presetSubtype="0" repeatCount="indefinite" accel="50000" decel="50000" fill="hold" grpId="2" nodeType="withEffect">
                                  <p:stCondLst>
                                    <p:cond delay="1000"/>
                                  </p:stCondLst>
                                  <p:childTnLst>
                                    <p:animMotion origin="layout" path="M 1.38889E-6 -3.45679E-6 L 1.38889E-6 0.58025 " pathEditMode="relative" rAng="0" ptsTypes="AA">
                                      <p:cBhvr>
                                        <p:cTn id="255" dur="7000" fill="hold"/>
                                        <p:tgtEl>
                                          <p:spTgt spid="516"/>
                                        </p:tgtEl>
                                        <p:attrNameLst>
                                          <p:attrName>ppt_x</p:attrName>
                                          <p:attrName>ppt_y</p:attrName>
                                        </p:attrNameLst>
                                      </p:cBhvr>
                                      <p:rCtr x="0" y="29012"/>
                                    </p:animMotion>
                                  </p:childTnLst>
                                </p:cTn>
                              </p:par>
                              <p:par>
                                <p:cTn id="256" presetID="42" presetClass="path" presetSubtype="0" repeatCount="indefinite" accel="50000" decel="50000" fill="hold" grpId="1" nodeType="withEffect">
                                  <p:stCondLst>
                                    <p:cond delay="1000"/>
                                  </p:stCondLst>
                                  <p:childTnLst>
                                    <p:animMotion origin="layout" path="M 1.38889E-6 -7.40741E-7 L 1.38889E-6 0.57963 " pathEditMode="relative" rAng="0" ptsTypes="AA">
                                      <p:cBhvr>
                                        <p:cTn id="257" dur="7000" fill="hold"/>
                                        <p:tgtEl>
                                          <p:spTgt spid="515"/>
                                        </p:tgtEl>
                                        <p:attrNameLst>
                                          <p:attrName>ppt_x</p:attrName>
                                          <p:attrName>ppt_y</p:attrName>
                                        </p:attrNameLst>
                                      </p:cBhvr>
                                      <p:rCtr x="0" y="28981"/>
                                    </p:animMotion>
                                  </p:childTnLst>
                                </p:cTn>
                              </p:par>
                              <p:par>
                                <p:cTn id="258" presetID="26" presetClass="emph" presetSubtype="0" repeatCount="indefinite" fill="hold" grpId="0" nodeType="withEffect">
                                  <p:stCondLst>
                                    <p:cond delay="1000"/>
                                  </p:stCondLst>
                                  <p:childTnLst>
                                    <p:animEffect transition="out" filter="fade">
                                      <p:cBhvr>
                                        <p:cTn id="259" dur="1000" tmFilter="0, 0; .2, .5; .8, .5; 1, 0"/>
                                        <p:tgtEl>
                                          <p:spTgt spid="518"/>
                                        </p:tgtEl>
                                      </p:cBhvr>
                                    </p:animEffect>
                                    <p:animScale>
                                      <p:cBhvr>
                                        <p:cTn id="260" dur="500" autoRev="1" fill="hold"/>
                                        <p:tgtEl>
                                          <p:spTgt spid="518"/>
                                        </p:tgtEl>
                                      </p:cBhvr>
                                      <p:by x="105000" y="105000"/>
                                    </p:animScale>
                                  </p:childTnLst>
                                </p:cTn>
                              </p:par>
                              <p:par>
                                <p:cTn id="261" presetID="6" presetClass="emph" presetSubtype="0" repeatCount="indefinite" fill="hold" grpId="1" nodeType="withEffect">
                                  <p:stCondLst>
                                    <p:cond delay="1000"/>
                                  </p:stCondLst>
                                  <p:childTnLst>
                                    <p:animScale>
                                      <p:cBhvr>
                                        <p:cTn id="262" dur="7000" fill="hold"/>
                                        <p:tgtEl>
                                          <p:spTgt spid="518"/>
                                        </p:tgtEl>
                                      </p:cBhvr>
                                      <p:by x="150000" y="150000"/>
                                    </p:animScale>
                                  </p:childTnLst>
                                </p:cTn>
                              </p:par>
                              <p:par>
                                <p:cTn id="263" presetID="6" presetClass="emph" presetSubtype="0" repeatCount="indefinite" fill="hold" grpId="0" nodeType="withEffect">
                                  <p:stCondLst>
                                    <p:cond delay="1000"/>
                                  </p:stCondLst>
                                  <p:childTnLst>
                                    <p:animScale>
                                      <p:cBhvr>
                                        <p:cTn id="264" dur="7000" fill="hold"/>
                                        <p:tgtEl>
                                          <p:spTgt spid="517"/>
                                        </p:tgtEl>
                                      </p:cBhvr>
                                      <p:by x="150000" y="150000"/>
                                    </p:animScale>
                                  </p:childTnLst>
                                </p:cTn>
                              </p:par>
                              <p:par>
                                <p:cTn id="265" presetID="42" presetClass="path" presetSubtype="0" repeatCount="indefinite" accel="50000" decel="50000" fill="hold" grpId="2" nodeType="withEffect">
                                  <p:stCondLst>
                                    <p:cond delay="1000"/>
                                  </p:stCondLst>
                                  <p:childTnLst>
                                    <p:animMotion origin="layout" path="M 1.38889E-6 -3.45679E-6 L 1.38889E-6 0.58025 " pathEditMode="relative" rAng="0" ptsTypes="AA">
                                      <p:cBhvr>
                                        <p:cTn id="266" dur="7000" fill="hold"/>
                                        <p:tgtEl>
                                          <p:spTgt spid="518"/>
                                        </p:tgtEl>
                                        <p:attrNameLst>
                                          <p:attrName>ppt_x</p:attrName>
                                          <p:attrName>ppt_y</p:attrName>
                                        </p:attrNameLst>
                                      </p:cBhvr>
                                      <p:rCtr x="0" y="29012"/>
                                    </p:animMotion>
                                  </p:childTnLst>
                                </p:cTn>
                              </p:par>
                              <p:par>
                                <p:cTn id="267" presetID="42" presetClass="path" presetSubtype="0" repeatCount="indefinite" accel="50000" decel="50000" fill="hold" grpId="1" nodeType="withEffect">
                                  <p:stCondLst>
                                    <p:cond delay="1000"/>
                                  </p:stCondLst>
                                  <p:childTnLst>
                                    <p:animMotion origin="layout" path="M 1.38889E-6 -7.40741E-7 L 1.38889E-6 0.57963 " pathEditMode="relative" rAng="0" ptsTypes="AA">
                                      <p:cBhvr>
                                        <p:cTn id="268" dur="7000" fill="hold"/>
                                        <p:tgtEl>
                                          <p:spTgt spid="517"/>
                                        </p:tgtEl>
                                        <p:attrNameLst>
                                          <p:attrName>ppt_x</p:attrName>
                                          <p:attrName>ppt_y</p:attrName>
                                        </p:attrNameLst>
                                      </p:cBhvr>
                                      <p:rCtr x="0" y="28981"/>
                                    </p:animMotion>
                                  </p:childTnLst>
                                </p:cTn>
                              </p:par>
                              <p:par>
                                <p:cTn id="269" presetID="26" presetClass="emph" presetSubtype="0" repeatCount="indefinite" fill="hold" grpId="0" nodeType="withEffect">
                                  <p:stCondLst>
                                    <p:cond delay="1250"/>
                                  </p:stCondLst>
                                  <p:childTnLst>
                                    <p:animEffect transition="out" filter="fade">
                                      <p:cBhvr>
                                        <p:cTn id="270" dur="1000" tmFilter="0, 0; .2, .5; .8, .5; 1, 0"/>
                                        <p:tgtEl>
                                          <p:spTgt spid="520"/>
                                        </p:tgtEl>
                                      </p:cBhvr>
                                    </p:animEffect>
                                    <p:animScale>
                                      <p:cBhvr>
                                        <p:cTn id="271" dur="500" autoRev="1" fill="hold"/>
                                        <p:tgtEl>
                                          <p:spTgt spid="520"/>
                                        </p:tgtEl>
                                      </p:cBhvr>
                                      <p:by x="105000" y="105000"/>
                                    </p:animScale>
                                  </p:childTnLst>
                                </p:cTn>
                              </p:par>
                              <p:par>
                                <p:cTn id="272" presetID="6" presetClass="emph" presetSubtype="0" repeatCount="indefinite" fill="hold" grpId="1" nodeType="withEffect">
                                  <p:stCondLst>
                                    <p:cond delay="1250"/>
                                  </p:stCondLst>
                                  <p:childTnLst>
                                    <p:animScale>
                                      <p:cBhvr>
                                        <p:cTn id="273" dur="7000" fill="hold"/>
                                        <p:tgtEl>
                                          <p:spTgt spid="520"/>
                                        </p:tgtEl>
                                      </p:cBhvr>
                                      <p:by x="150000" y="150000"/>
                                    </p:animScale>
                                  </p:childTnLst>
                                </p:cTn>
                              </p:par>
                              <p:par>
                                <p:cTn id="274" presetID="6" presetClass="emph" presetSubtype="0" repeatCount="indefinite" fill="hold" grpId="0" nodeType="withEffect">
                                  <p:stCondLst>
                                    <p:cond delay="1250"/>
                                  </p:stCondLst>
                                  <p:childTnLst>
                                    <p:animScale>
                                      <p:cBhvr>
                                        <p:cTn id="275" dur="7000" fill="hold"/>
                                        <p:tgtEl>
                                          <p:spTgt spid="519"/>
                                        </p:tgtEl>
                                      </p:cBhvr>
                                      <p:by x="150000" y="150000"/>
                                    </p:animScale>
                                  </p:childTnLst>
                                </p:cTn>
                              </p:par>
                              <p:par>
                                <p:cTn id="276" presetID="42" presetClass="path" presetSubtype="0" repeatCount="indefinite" accel="50000" decel="50000" fill="hold" grpId="2" nodeType="withEffect">
                                  <p:stCondLst>
                                    <p:cond delay="1250"/>
                                  </p:stCondLst>
                                  <p:childTnLst>
                                    <p:animMotion origin="layout" path="M 1.38889E-6 -3.45679E-6 L 1.38889E-6 0.58025 " pathEditMode="relative" rAng="0" ptsTypes="AA">
                                      <p:cBhvr>
                                        <p:cTn id="277" dur="7000" fill="hold"/>
                                        <p:tgtEl>
                                          <p:spTgt spid="520"/>
                                        </p:tgtEl>
                                        <p:attrNameLst>
                                          <p:attrName>ppt_x</p:attrName>
                                          <p:attrName>ppt_y</p:attrName>
                                        </p:attrNameLst>
                                      </p:cBhvr>
                                      <p:rCtr x="0" y="29012"/>
                                    </p:animMotion>
                                  </p:childTnLst>
                                </p:cTn>
                              </p:par>
                              <p:par>
                                <p:cTn id="278" presetID="42" presetClass="path" presetSubtype="0" repeatCount="indefinite" accel="50000" decel="50000" fill="hold" grpId="1" nodeType="withEffect">
                                  <p:stCondLst>
                                    <p:cond delay="1250"/>
                                  </p:stCondLst>
                                  <p:childTnLst>
                                    <p:animMotion origin="layout" path="M 1.38889E-6 -7.40741E-7 L 1.38889E-6 0.57963 " pathEditMode="relative" rAng="0" ptsTypes="AA">
                                      <p:cBhvr>
                                        <p:cTn id="279" dur="7000" fill="hold"/>
                                        <p:tgtEl>
                                          <p:spTgt spid="519"/>
                                        </p:tgtEl>
                                        <p:attrNameLst>
                                          <p:attrName>ppt_x</p:attrName>
                                          <p:attrName>ppt_y</p:attrName>
                                        </p:attrNameLst>
                                      </p:cBhvr>
                                      <p:rCtr x="0" y="28981"/>
                                    </p:animMotion>
                                  </p:childTnLst>
                                </p:cTn>
                              </p:par>
                              <p:par>
                                <p:cTn id="280" presetID="26" presetClass="emph" presetSubtype="0" repeatCount="indefinite" fill="hold" grpId="0" nodeType="withEffect">
                                  <p:stCondLst>
                                    <p:cond delay="1250"/>
                                  </p:stCondLst>
                                  <p:childTnLst>
                                    <p:animEffect transition="out" filter="fade">
                                      <p:cBhvr>
                                        <p:cTn id="281" dur="1000" tmFilter="0, 0; .2, .5; .8, .5; 1, 0"/>
                                        <p:tgtEl>
                                          <p:spTgt spid="522"/>
                                        </p:tgtEl>
                                      </p:cBhvr>
                                    </p:animEffect>
                                    <p:animScale>
                                      <p:cBhvr>
                                        <p:cTn id="282" dur="500" autoRev="1" fill="hold"/>
                                        <p:tgtEl>
                                          <p:spTgt spid="522"/>
                                        </p:tgtEl>
                                      </p:cBhvr>
                                      <p:by x="105000" y="105000"/>
                                    </p:animScale>
                                  </p:childTnLst>
                                </p:cTn>
                              </p:par>
                              <p:par>
                                <p:cTn id="283" presetID="6" presetClass="emph" presetSubtype="0" repeatCount="indefinite" fill="hold" grpId="1" nodeType="withEffect">
                                  <p:stCondLst>
                                    <p:cond delay="1250"/>
                                  </p:stCondLst>
                                  <p:childTnLst>
                                    <p:animScale>
                                      <p:cBhvr>
                                        <p:cTn id="284" dur="7000" fill="hold"/>
                                        <p:tgtEl>
                                          <p:spTgt spid="522"/>
                                        </p:tgtEl>
                                      </p:cBhvr>
                                      <p:by x="150000" y="150000"/>
                                    </p:animScale>
                                  </p:childTnLst>
                                </p:cTn>
                              </p:par>
                              <p:par>
                                <p:cTn id="285" presetID="6" presetClass="emph" presetSubtype="0" repeatCount="indefinite" fill="hold" grpId="0" nodeType="withEffect">
                                  <p:stCondLst>
                                    <p:cond delay="1250"/>
                                  </p:stCondLst>
                                  <p:childTnLst>
                                    <p:animScale>
                                      <p:cBhvr>
                                        <p:cTn id="286" dur="7000" fill="hold"/>
                                        <p:tgtEl>
                                          <p:spTgt spid="521"/>
                                        </p:tgtEl>
                                      </p:cBhvr>
                                      <p:by x="150000" y="150000"/>
                                    </p:animScale>
                                  </p:childTnLst>
                                </p:cTn>
                              </p:par>
                              <p:par>
                                <p:cTn id="287" presetID="42" presetClass="path" presetSubtype="0" repeatCount="indefinite" accel="50000" decel="50000" fill="hold" grpId="2" nodeType="withEffect">
                                  <p:stCondLst>
                                    <p:cond delay="1250"/>
                                  </p:stCondLst>
                                  <p:childTnLst>
                                    <p:animMotion origin="layout" path="M 1.38889E-6 -3.45679E-6 L 1.38889E-6 0.58025 " pathEditMode="relative" rAng="0" ptsTypes="AA">
                                      <p:cBhvr>
                                        <p:cTn id="288" dur="7000" fill="hold"/>
                                        <p:tgtEl>
                                          <p:spTgt spid="522"/>
                                        </p:tgtEl>
                                        <p:attrNameLst>
                                          <p:attrName>ppt_x</p:attrName>
                                          <p:attrName>ppt_y</p:attrName>
                                        </p:attrNameLst>
                                      </p:cBhvr>
                                      <p:rCtr x="0" y="29012"/>
                                    </p:animMotion>
                                  </p:childTnLst>
                                </p:cTn>
                              </p:par>
                              <p:par>
                                <p:cTn id="289" presetID="42" presetClass="path" presetSubtype="0" repeatCount="indefinite" accel="50000" decel="50000" fill="hold" grpId="1" nodeType="withEffect">
                                  <p:stCondLst>
                                    <p:cond delay="1250"/>
                                  </p:stCondLst>
                                  <p:childTnLst>
                                    <p:animMotion origin="layout" path="M 1.38889E-6 -7.40741E-7 L 1.38889E-6 0.57963 " pathEditMode="relative" rAng="0" ptsTypes="AA">
                                      <p:cBhvr>
                                        <p:cTn id="290" dur="7000" fill="hold"/>
                                        <p:tgtEl>
                                          <p:spTgt spid="521"/>
                                        </p:tgtEl>
                                        <p:attrNameLst>
                                          <p:attrName>ppt_x</p:attrName>
                                          <p:attrName>ppt_y</p:attrName>
                                        </p:attrNameLst>
                                      </p:cBhvr>
                                      <p:rCtr x="0" y="28981"/>
                                    </p:animMotion>
                                  </p:childTnLst>
                                </p:cTn>
                              </p:par>
                              <p:par>
                                <p:cTn id="291" presetID="26" presetClass="emph" presetSubtype="0" repeatCount="indefinite" fill="hold" grpId="0" nodeType="withEffect">
                                  <p:stCondLst>
                                    <p:cond delay="1250"/>
                                  </p:stCondLst>
                                  <p:childTnLst>
                                    <p:animEffect transition="out" filter="fade">
                                      <p:cBhvr>
                                        <p:cTn id="292" dur="1000" tmFilter="0, 0; .2, .5; .8, .5; 1, 0"/>
                                        <p:tgtEl>
                                          <p:spTgt spid="524"/>
                                        </p:tgtEl>
                                      </p:cBhvr>
                                    </p:animEffect>
                                    <p:animScale>
                                      <p:cBhvr>
                                        <p:cTn id="293" dur="500" autoRev="1" fill="hold"/>
                                        <p:tgtEl>
                                          <p:spTgt spid="524"/>
                                        </p:tgtEl>
                                      </p:cBhvr>
                                      <p:by x="105000" y="105000"/>
                                    </p:animScale>
                                  </p:childTnLst>
                                </p:cTn>
                              </p:par>
                              <p:par>
                                <p:cTn id="294" presetID="6" presetClass="emph" presetSubtype="0" repeatCount="indefinite" fill="hold" grpId="1" nodeType="withEffect">
                                  <p:stCondLst>
                                    <p:cond delay="1250"/>
                                  </p:stCondLst>
                                  <p:childTnLst>
                                    <p:animScale>
                                      <p:cBhvr>
                                        <p:cTn id="295" dur="7000" fill="hold"/>
                                        <p:tgtEl>
                                          <p:spTgt spid="524"/>
                                        </p:tgtEl>
                                      </p:cBhvr>
                                      <p:by x="150000" y="150000"/>
                                    </p:animScale>
                                  </p:childTnLst>
                                </p:cTn>
                              </p:par>
                              <p:par>
                                <p:cTn id="296" presetID="6" presetClass="emph" presetSubtype="0" repeatCount="indefinite" fill="hold" grpId="0" nodeType="withEffect">
                                  <p:stCondLst>
                                    <p:cond delay="1250"/>
                                  </p:stCondLst>
                                  <p:childTnLst>
                                    <p:animScale>
                                      <p:cBhvr>
                                        <p:cTn id="297" dur="7000" fill="hold"/>
                                        <p:tgtEl>
                                          <p:spTgt spid="523"/>
                                        </p:tgtEl>
                                      </p:cBhvr>
                                      <p:by x="150000" y="150000"/>
                                    </p:animScale>
                                  </p:childTnLst>
                                </p:cTn>
                              </p:par>
                              <p:par>
                                <p:cTn id="298" presetID="42" presetClass="path" presetSubtype="0" repeatCount="indefinite" accel="50000" decel="50000" fill="hold" grpId="2" nodeType="withEffect">
                                  <p:stCondLst>
                                    <p:cond delay="1250"/>
                                  </p:stCondLst>
                                  <p:childTnLst>
                                    <p:animMotion origin="layout" path="M 1.38889E-6 -3.45679E-6 L 1.38889E-6 0.58025 " pathEditMode="relative" rAng="0" ptsTypes="AA">
                                      <p:cBhvr>
                                        <p:cTn id="299" dur="7000" fill="hold"/>
                                        <p:tgtEl>
                                          <p:spTgt spid="524"/>
                                        </p:tgtEl>
                                        <p:attrNameLst>
                                          <p:attrName>ppt_x</p:attrName>
                                          <p:attrName>ppt_y</p:attrName>
                                        </p:attrNameLst>
                                      </p:cBhvr>
                                      <p:rCtr x="0" y="29012"/>
                                    </p:animMotion>
                                  </p:childTnLst>
                                </p:cTn>
                              </p:par>
                              <p:par>
                                <p:cTn id="300" presetID="42" presetClass="path" presetSubtype="0" repeatCount="indefinite" accel="50000" decel="50000" fill="hold" grpId="1" nodeType="withEffect">
                                  <p:stCondLst>
                                    <p:cond delay="1250"/>
                                  </p:stCondLst>
                                  <p:childTnLst>
                                    <p:animMotion origin="layout" path="M 1.38889E-6 -7.40741E-7 L 1.38889E-6 0.57963 " pathEditMode="relative" rAng="0" ptsTypes="AA">
                                      <p:cBhvr>
                                        <p:cTn id="301" dur="7000" fill="hold"/>
                                        <p:tgtEl>
                                          <p:spTgt spid="523"/>
                                        </p:tgtEl>
                                        <p:attrNameLst>
                                          <p:attrName>ppt_x</p:attrName>
                                          <p:attrName>ppt_y</p:attrName>
                                        </p:attrNameLst>
                                      </p:cBhvr>
                                      <p:rCtr x="0" y="28981"/>
                                    </p:animMotion>
                                  </p:childTnLst>
                                </p:cTn>
                              </p:par>
                              <p:par>
                                <p:cTn id="302" presetID="26" presetClass="emph" presetSubtype="0" repeatCount="indefinite" fill="hold" grpId="0" nodeType="withEffect">
                                  <p:stCondLst>
                                    <p:cond delay="1250"/>
                                  </p:stCondLst>
                                  <p:childTnLst>
                                    <p:animEffect transition="out" filter="fade">
                                      <p:cBhvr>
                                        <p:cTn id="303" dur="1000" tmFilter="0, 0; .2, .5; .8, .5; 1, 0"/>
                                        <p:tgtEl>
                                          <p:spTgt spid="526"/>
                                        </p:tgtEl>
                                      </p:cBhvr>
                                    </p:animEffect>
                                    <p:animScale>
                                      <p:cBhvr>
                                        <p:cTn id="304" dur="500" autoRev="1" fill="hold"/>
                                        <p:tgtEl>
                                          <p:spTgt spid="526"/>
                                        </p:tgtEl>
                                      </p:cBhvr>
                                      <p:by x="105000" y="105000"/>
                                    </p:animScale>
                                  </p:childTnLst>
                                </p:cTn>
                              </p:par>
                              <p:par>
                                <p:cTn id="305" presetID="6" presetClass="emph" presetSubtype="0" repeatCount="indefinite" fill="hold" grpId="1" nodeType="withEffect">
                                  <p:stCondLst>
                                    <p:cond delay="1250"/>
                                  </p:stCondLst>
                                  <p:childTnLst>
                                    <p:animScale>
                                      <p:cBhvr>
                                        <p:cTn id="306" dur="7000" fill="hold"/>
                                        <p:tgtEl>
                                          <p:spTgt spid="526"/>
                                        </p:tgtEl>
                                      </p:cBhvr>
                                      <p:by x="150000" y="150000"/>
                                    </p:animScale>
                                  </p:childTnLst>
                                </p:cTn>
                              </p:par>
                              <p:par>
                                <p:cTn id="307" presetID="6" presetClass="emph" presetSubtype="0" repeatCount="indefinite" fill="hold" grpId="0" nodeType="withEffect">
                                  <p:stCondLst>
                                    <p:cond delay="1250"/>
                                  </p:stCondLst>
                                  <p:childTnLst>
                                    <p:animScale>
                                      <p:cBhvr>
                                        <p:cTn id="308" dur="7000" fill="hold"/>
                                        <p:tgtEl>
                                          <p:spTgt spid="525"/>
                                        </p:tgtEl>
                                      </p:cBhvr>
                                      <p:by x="150000" y="150000"/>
                                    </p:animScale>
                                  </p:childTnLst>
                                </p:cTn>
                              </p:par>
                              <p:par>
                                <p:cTn id="309" presetID="42" presetClass="path" presetSubtype="0" repeatCount="indefinite" accel="50000" decel="50000" fill="hold" grpId="2" nodeType="withEffect">
                                  <p:stCondLst>
                                    <p:cond delay="1250"/>
                                  </p:stCondLst>
                                  <p:childTnLst>
                                    <p:animMotion origin="layout" path="M 1.38889E-6 -3.45679E-6 L 1.38889E-6 0.58025 " pathEditMode="relative" rAng="0" ptsTypes="AA">
                                      <p:cBhvr>
                                        <p:cTn id="310" dur="7000" fill="hold"/>
                                        <p:tgtEl>
                                          <p:spTgt spid="526"/>
                                        </p:tgtEl>
                                        <p:attrNameLst>
                                          <p:attrName>ppt_x</p:attrName>
                                          <p:attrName>ppt_y</p:attrName>
                                        </p:attrNameLst>
                                      </p:cBhvr>
                                      <p:rCtr x="0" y="29012"/>
                                    </p:animMotion>
                                  </p:childTnLst>
                                </p:cTn>
                              </p:par>
                              <p:par>
                                <p:cTn id="311" presetID="42" presetClass="path" presetSubtype="0" repeatCount="indefinite" accel="50000" decel="50000" fill="hold" grpId="1" nodeType="withEffect">
                                  <p:stCondLst>
                                    <p:cond delay="1250"/>
                                  </p:stCondLst>
                                  <p:childTnLst>
                                    <p:animMotion origin="layout" path="M 1.38889E-6 -7.40741E-7 L 1.38889E-6 0.57963 " pathEditMode="relative" rAng="0" ptsTypes="AA">
                                      <p:cBhvr>
                                        <p:cTn id="312" dur="7000" fill="hold"/>
                                        <p:tgtEl>
                                          <p:spTgt spid="525"/>
                                        </p:tgtEl>
                                        <p:attrNameLst>
                                          <p:attrName>ppt_x</p:attrName>
                                          <p:attrName>ppt_y</p:attrName>
                                        </p:attrNameLst>
                                      </p:cBhvr>
                                      <p:rCtr x="0" y="28981"/>
                                    </p:animMotion>
                                  </p:childTnLst>
                                </p:cTn>
                              </p:par>
                              <p:par>
                                <p:cTn id="313" presetID="26" presetClass="emph" presetSubtype="0" repeatCount="indefinite" fill="hold" grpId="0" nodeType="withEffect">
                                  <p:stCondLst>
                                    <p:cond delay="1250"/>
                                  </p:stCondLst>
                                  <p:childTnLst>
                                    <p:animEffect transition="out" filter="fade">
                                      <p:cBhvr>
                                        <p:cTn id="314" dur="1000" tmFilter="0, 0; .2, .5; .8, .5; 1, 0"/>
                                        <p:tgtEl>
                                          <p:spTgt spid="528"/>
                                        </p:tgtEl>
                                      </p:cBhvr>
                                    </p:animEffect>
                                    <p:animScale>
                                      <p:cBhvr>
                                        <p:cTn id="315" dur="500" autoRev="1" fill="hold"/>
                                        <p:tgtEl>
                                          <p:spTgt spid="528"/>
                                        </p:tgtEl>
                                      </p:cBhvr>
                                      <p:by x="105000" y="105000"/>
                                    </p:animScale>
                                  </p:childTnLst>
                                </p:cTn>
                              </p:par>
                              <p:par>
                                <p:cTn id="316" presetID="6" presetClass="emph" presetSubtype="0" repeatCount="indefinite" fill="hold" grpId="1" nodeType="withEffect">
                                  <p:stCondLst>
                                    <p:cond delay="1250"/>
                                  </p:stCondLst>
                                  <p:childTnLst>
                                    <p:animScale>
                                      <p:cBhvr>
                                        <p:cTn id="317" dur="7000" fill="hold"/>
                                        <p:tgtEl>
                                          <p:spTgt spid="528"/>
                                        </p:tgtEl>
                                      </p:cBhvr>
                                      <p:by x="150000" y="150000"/>
                                    </p:animScale>
                                  </p:childTnLst>
                                </p:cTn>
                              </p:par>
                              <p:par>
                                <p:cTn id="318" presetID="6" presetClass="emph" presetSubtype="0" repeatCount="indefinite" fill="hold" grpId="0" nodeType="withEffect">
                                  <p:stCondLst>
                                    <p:cond delay="1250"/>
                                  </p:stCondLst>
                                  <p:childTnLst>
                                    <p:animScale>
                                      <p:cBhvr>
                                        <p:cTn id="319" dur="7000" fill="hold"/>
                                        <p:tgtEl>
                                          <p:spTgt spid="527"/>
                                        </p:tgtEl>
                                      </p:cBhvr>
                                      <p:by x="150000" y="150000"/>
                                    </p:animScale>
                                  </p:childTnLst>
                                </p:cTn>
                              </p:par>
                              <p:par>
                                <p:cTn id="320" presetID="42" presetClass="path" presetSubtype="0" repeatCount="indefinite" accel="50000" decel="50000" fill="hold" grpId="2" nodeType="withEffect">
                                  <p:stCondLst>
                                    <p:cond delay="1250"/>
                                  </p:stCondLst>
                                  <p:childTnLst>
                                    <p:animMotion origin="layout" path="M 1.38889E-6 -3.45679E-6 L 1.38889E-6 0.58025 " pathEditMode="relative" rAng="0" ptsTypes="AA">
                                      <p:cBhvr>
                                        <p:cTn id="321" dur="7000" fill="hold"/>
                                        <p:tgtEl>
                                          <p:spTgt spid="528"/>
                                        </p:tgtEl>
                                        <p:attrNameLst>
                                          <p:attrName>ppt_x</p:attrName>
                                          <p:attrName>ppt_y</p:attrName>
                                        </p:attrNameLst>
                                      </p:cBhvr>
                                      <p:rCtr x="0" y="29012"/>
                                    </p:animMotion>
                                  </p:childTnLst>
                                </p:cTn>
                              </p:par>
                              <p:par>
                                <p:cTn id="322" presetID="42" presetClass="path" presetSubtype="0" repeatCount="indefinite" accel="50000" decel="50000" fill="hold" grpId="1" nodeType="withEffect">
                                  <p:stCondLst>
                                    <p:cond delay="1250"/>
                                  </p:stCondLst>
                                  <p:childTnLst>
                                    <p:animMotion origin="layout" path="M 1.38889E-6 -7.40741E-7 L 1.38889E-6 0.57963 " pathEditMode="relative" rAng="0" ptsTypes="AA">
                                      <p:cBhvr>
                                        <p:cTn id="323" dur="7000" fill="hold"/>
                                        <p:tgtEl>
                                          <p:spTgt spid="527"/>
                                        </p:tgtEl>
                                        <p:attrNameLst>
                                          <p:attrName>ppt_x</p:attrName>
                                          <p:attrName>ppt_y</p:attrName>
                                        </p:attrNameLst>
                                      </p:cBhvr>
                                      <p:rCtr x="0" y="28981"/>
                                    </p:animMotion>
                                  </p:childTnLst>
                                </p:cTn>
                              </p:par>
                              <p:par>
                                <p:cTn id="324" presetID="26" presetClass="emph" presetSubtype="0" repeatCount="indefinite" fill="hold" grpId="0" nodeType="withEffect">
                                  <p:stCondLst>
                                    <p:cond delay="1250"/>
                                  </p:stCondLst>
                                  <p:childTnLst>
                                    <p:animEffect transition="out" filter="fade">
                                      <p:cBhvr>
                                        <p:cTn id="325" dur="1000" tmFilter="0, 0; .2, .5; .8, .5; 1, 0"/>
                                        <p:tgtEl>
                                          <p:spTgt spid="530"/>
                                        </p:tgtEl>
                                      </p:cBhvr>
                                    </p:animEffect>
                                    <p:animScale>
                                      <p:cBhvr>
                                        <p:cTn id="326" dur="500" autoRev="1" fill="hold"/>
                                        <p:tgtEl>
                                          <p:spTgt spid="530"/>
                                        </p:tgtEl>
                                      </p:cBhvr>
                                      <p:by x="105000" y="105000"/>
                                    </p:animScale>
                                  </p:childTnLst>
                                </p:cTn>
                              </p:par>
                              <p:par>
                                <p:cTn id="327" presetID="6" presetClass="emph" presetSubtype="0" repeatCount="indefinite" fill="hold" grpId="1" nodeType="withEffect">
                                  <p:stCondLst>
                                    <p:cond delay="1250"/>
                                  </p:stCondLst>
                                  <p:childTnLst>
                                    <p:animScale>
                                      <p:cBhvr>
                                        <p:cTn id="328" dur="7000" fill="hold"/>
                                        <p:tgtEl>
                                          <p:spTgt spid="530"/>
                                        </p:tgtEl>
                                      </p:cBhvr>
                                      <p:by x="150000" y="150000"/>
                                    </p:animScale>
                                  </p:childTnLst>
                                </p:cTn>
                              </p:par>
                              <p:par>
                                <p:cTn id="329" presetID="6" presetClass="emph" presetSubtype="0" repeatCount="indefinite" fill="hold" grpId="0" nodeType="withEffect">
                                  <p:stCondLst>
                                    <p:cond delay="1250"/>
                                  </p:stCondLst>
                                  <p:childTnLst>
                                    <p:animScale>
                                      <p:cBhvr>
                                        <p:cTn id="330" dur="7000" fill="hold"/>
                                        <p:tgtEl>
                                          <p:spTgt spid="529"/>
                                        </p:tgtEl>
                                      </p:cBhvr>
                                      <p:by x="150000" y="150000"/>
                                    </p:animScale>
                                  </p:childTnLst>
                                </p:cTn>
                              </p:par>
                              <p:par>
                                <p:cTn id="331" presetID="42" presetClass="path" presetSubtype="0" repeatCount="indefinite" accel="50000" decel="50000" fill="hold" grpId="2" nodeType="withEffect">
                                  <p:stCondLst>
                                    <p:cond delay="1250"/>
                                  </p:stCondLst>
                                  <p:childTnLst>
                                    <p:animMotion origin="layout" path="M 1.38889E-6 -3.45679E-6 L 1.38889E-6 0.58025 " pathEditMode="relative" rAng="0" ptsTypes="AA">
                                      <p:cBhvr>
                                        <p:cTn id="332" dur="7000" fill="hold"/>
                                        <p:tgtEl>
                                          <p:spTgt spid="530"/>
                                        </p:tgtEl>
                                        <p:attrNameLst>
                                          <p:attrName>ppt_x</p:attrName>
                                          <p:attrName>ppt_y</p:attrName>
                                        </p:attrNameLst>
                                      </p:cBhvr>
                                      <p:rCtr x="0" y="29012"/>
                                    </p:animMotion>
                                  </p:childTnLst>
                                </p:cTn>
                              </p:par>
                              <p:par>
                                <p:cTn id="333" presetID="42" presetClass="path" presetSubtype="0" repeatCount="indefinite" accel="50000" decel="50000" fill="hold" grpId="1" nodeType="withEffect">
                                  <p:stCondLst>
                                    <p:cond delay="1250"/>
                                  </p:stCondLst>
                                  <p:childTnLst>
                                    <p:animMotion origin="layout" path="M 1.38889E-6 -7.40741E-7 L 1.38889E-6 0.57963 " pathEditMode="relative" rAng="0" ptsTypes="AA">
                                      <p:cBhvr>
                                        <p:cTn id="334" dur="7000" fill="hold"/>
                                        <p:tgtEl>
                                          <p:spTgt spid="529"/>
                                        </p:tgtEl>
                                        <p:attrNameLst>
                                          <p:attrName>ppt_x</p:attrName>
                                          <p:attrName>ppt_y</p:attrName>
                                        </p:attrNameLst>
                                      </p:cBhvr>
                                      <p:rCtr x="0" y="28981"/>
                                    </p:animMotion>
                                  </p:childTnLst>
                                </p:cTn>
                              </p:par>
                              <p:par>
                                <p:cTn id="335" presetID="26" presetClass="emph" presetSubtype="0" repeatCount="indefinite" fill="hold" grpId="0" nodeType="withEffect">
                                  <p:stCondLst>
                                    <p:cond delay="1250"/>
                                  </p:stCondLst>
                                  <p:childTnLst>
                                    <p:animEffect transition="out" filter="fade">
                                      <p:cBhvr>
                                        <p:cTn id="336" dur="1000" tmFilter="0, 0; .2, .5; .8, .5; 1, 0"/>
                                        <p:tgtEl>
                                          <p:spTgt spid="532"/>
                                        </p:tgtEl>
                                      </p:cBhvr>
                                    </p:animEffect>
                                    <p:animScale>
                                      <p:cBhvr>
                                        <p:cTn id="337" dur="500" autoRev="1" fill="hold"/>
                                        <p:tgtEl>
                                          <p:spTgt spid="532"/>
                                        </p:tgtEl>
                                      </p:cBhvr>
                                      <p:by x="105000" y="105000"/>
                                    </p:animScale>
                                  </p:childTnLst>
                                </p:cTn>
                              </p:par>
                              <p:par>
                                <p:cTn id="338" presetID="6" presetClass="emph" presetSubtype="0" repeatCount="indefinite" fill="hold" grpId="1" nodeType="withEffect">
                                  <p:stCondLst>
                                    <p:cond delay="1250"/>
                                  </p:stCondLst>
                                  <p:childTnLst>
                                    <p:animScale>
                                      <p:cBhvr>
                                        <p:cTn id="339" dur="7000" fill="hold"/>
                                        <p:tgtEl>
                                          <p:spTgt spid="532"/>
                                        </p:tgtEl>
                                      </p:cBhvr>
                                      <p:by x="150000" y="150000"/>
                                    </p:animScale>
                                  </p:childTnLst>
                                </p:cTn>
                              </p:par>
                              <p:par>
                                <p:cTn id="340" presetID="6" presetClass="emph" presetSubtype="0" repeatCount="indefinite" fill="hold" grpId="0" nodeType="withEffect">
                                  <p:stCondLst>
                                    <p:cond delay="1250"/>
                                  </p:stCondLst>
                                  <p:childTnLst>
                                    <p:animScale>
                                      <p:cBhvr>
                                        <p:cTn id="341" dur="7000" fill="hold"/>
                                        <p:tgtEl>
                                          <p:spTgt spid="531"/>
                                        </p:tgtEl>
                                      </p:cBhvr>
                                      <p:by x="150000" y="150000"/>
                                    </p:animScale>
                                  </p:childTnLst>
                                </p:cTn>
                              </p:par>
                              <p:par>
                                <p:cTn id="342" presetID="42" presetClass="path" presetSubtype="0" repeatCount="indefinite" accel="50000" decel="50000" fill="hold" grpId="2" nodeType="withEffect">
                                  <p:stCondLst>
                                    <p:cond delay="1250"/>
                                  </p:stCondLst>
                                  <p:childTnLst>
                                    <p:animMotion origin="layout" path="M 1.38889E-6 -3.45679E-6 L 1.38889E-6 0.58025 " pathEditMode="relative" rAng="0" ptsTypes="AA">
                                      <p:cBhvr>
                                        <p:cTn id="343" dur="7000" fill="hold"/>
                                        <p:tgtEl>
                                          <p:spTgt spid="532"/>
                                        </p:tgtEl>
                                        <p:attrNameLst>
                                          <p:attrName>ppt_x</p:attrName>
                                          <p:attrName>ppt_y</p:attrName>
                                        </p:attrNameLst>
                                      </p:cBhvr>
                                      <p:rCtr x="0" y="29012"/>
                                    </p:animMotion>
                                  </p:childTnLst>
                                </p:cTn>
                              </p:par>
                              <p:par>
                                <p:cTn id="344" presetID="42" presetClass="path" presetSubtype="0" repeatCount="indefinite" accel="50000" decel="50000" fill="hold" grpId="1" nodeType="withEffect">
                                  <p:stCondLst>
                                    <p:cond delay="1250"/>
                                  </p:stCondLst>
                                  <p:childTnLst>
                                    <p:animMotion origin="layout" path="M 1.38889E-6 -7.40741E-7 L 1.38889E-6 0.57963 " pathEditMode="relative" rAng="0" ptsTypes="AA">
                                      <p:cBhvr>
                                        <p:cTn id="345" dur="7000" fill="hold"/>
                                        <p:tgtEl>
                                          <p:spTgt spid="531"/>
                                        </p:tgtEl>
                                        <p:attrNameLst>
                                          <p:attrName>ppt_x</p:attrName>
                                          <p:attrName>ppt_y</p:attrName>
                                        </p:attrNameLst>
                                      </p:cBhvr>
                                      <p:rCtr x="0" y="28981"/>
                                    </p:animMotion>
                                  </p:childTnLst>
                                </p:cTn>
                              </p:par>
                              <p:par>
                                <p:cTn id="346" presetID="26" presetClass="emph" presetSubtype="0" repeatCount="indefinite" fill="hold" grpId="0" nodeType="withEffect">
                                  <p:stCondLst>
                                    <p:cond delay="1250"/>
                                  </p:stCondLst>
                                  <p:childTnLst>
                                    <p:animEffect transition="out" filter="fade">
                                      <p:cBhvr>
                                        <p:cTn id="347" dur="1000" tmFilter="0, 0; .2, .5; .8, .5; 1, 0"/>
                                        <p:tgtEl>
                                          <p:spTgt spid="534"/>
                                        </p:tgtEl>
                                      </p:cBhvr>
                                    </p:animEffect>
                                    <p:animScale>
                                      <p:cBhvr>
                                        <p:cTn id="348" dur="500" autoRev="1" fill="hold"/>
                                        <p:tgtEl>
                                          <p:spTgt spid="534"/>
                                        </p:tgtEl>
                                      </p:cBhvr>
                                      <p:by x="105000" y="105000"/>
                                    </p:animScale>
                                  </p:childTnLst>
                                </p:cTn>
                              </p:par>
                              <p:par>
                                <p:cTn id="349" presetID="6" presetClass="emph" presetSubtype="0" repeatCount="indefinite" fill="hold" grpId="1" nodeType="withEffect">
                                  <p:stCondLst>
                                    <p:cond delay="1250"/>
                                  </p:stCondLst>
                                  <p:childTnLst>
                                    <p:animScale>
                                      <p:cBhvr>
                                        <p:cTn id="350" dur="7000" fill="hold"/>
                                        <p:tgtEl>
                                          <p:spTgt spid="534"/>
                                        </p:tgtEl>
                                      </p:cBhvr>
                                      <p:by x="150000" y="150000"/>
                                    </p:animScale>
                                  </p:childTnLst>
                                </p:cTn>
                              </p:par>
                              <p:par>
                                <p:cTn id="351" presetID="6" presetClass="emph" presetSubtype="0" repeatCount="indefinite" fill="hold" grpId="0" nodeType="withEffect">
                                  <p:stCondLst>
                                    <p:cond delay="1250"/>
                                  </p:stCondLst>
                                  <p:childTnLst>
                                    <p:animScale>
                                      <p:cBhvr>
                                        <p:cTn id="352" dur="7000" fill="hold"/>
                                        <p:tgtEl>
                                          <p:spTgt spid="533"/>
                                        </p:tgtEl>
                                      </p:cBhvr>
                                      <p:by x="150000" y="150000"/>
                                    </p:animScale>
                                  </p:childTnLst>
                                </p:cTn>
                              </p:par>
                              <p:par>
                                <p:cTn id="353" presetID="42" presetClass="path" presetSubtype="0" repeatCount="indefinite" accel="50000" decel="50000" fill="hold" grpId="2" nodeType="withEffect">
                                  <p:stCondLst>
                                    <p:cond delay="1250"/>
                                  </p:stCondLst>
                                  <p:childTnLst>
                                    <p:animMotion origin="layout" path="M 1.38889E-6 -3.45679E-6 L 1.38889E-6 0.58025 " pathEditMode="relative" rAng="0" ptsTypes="AA">
                                      <p:cBhvr>
                                        <p:cTn id="354" dur="7000" fill="hold"/>
                                        <p:tgtEl>
                                          <p:spTgt spid="534"/>
                                        </p:tgtEl>
                                        <p:attrNameLst>
                                          <p:attrName>ppt_x</p:attrName>
                                          <p:attrName>ppt_y</p:attrName>
                                        </p:attrNameLst>
                                      </p:cBhvr>
                                      <p:rCtr x="0" y="29012"/>
                                    </p:animMotion>
                                  </p:childTnLst>
                                </p:cTn>
                              </p:par>
                              <p:par>
                                <p:cTn id="355" presetID="42" presetClass="path" presetSubtype="0" repeatCount="indefinite" accel="50000" decel="50000" fill="hold" grpId="1" nodeType="withEffect">
                                  <p:stCondLst>
                                    <p:cond delay="1250"/>
                                  </p:stCondLst>
                                  <p:childTnLst>
                                    <p:animMotion origin="layout" path="M 1.38889E-6 -7.40741E-7 L 1.38889E-6 0.57963 " pathEditMode="relative" rAng="0" ptsTypes="AA">
                                      <p:cBhvr>
                                        <p:cTn id="356" dur="7000" fill="hold"/>
                                        <p:tgtEl>
                                          <p:spTgt spid="533"/>
                                        </p:tgtEl>
                                        <p:attrNameLst>
                                          <p:attrName>ppt_x</p:attrName>
                                          <p:attrName>ppt_y</p:attrName>
                                        </p:attrNameLst>
                                      </p:cBhvr>
                                      <p:rCtr x="0" y="28981"/>
                                    </p:animMotion>
                                  </p:childTnLst>
                                </p:cTn>
                              </p:par>
                              <p:par>
                                <p:cTn id="357" presetID="26" presetClass="emph" presetSubtype="0" repeatCount="indefinite" fill="hold" grpId="0" nodeType="withEffect">
                                  <p:stCondLst>
                                    <p:cond delay="1250"/>
                                  </p:stCondLst>
                                  <p:childTnLst>
                                    <p:animEffect transition="out" filter="fade">
                                      <p:cBhvr>
                                        <p:cTn id="358" dur="1000" tmFilter="0, 0; .2, .5; .8, .5; 1, 0"/>
                                        <p:tgtEl>
                                          <p:spTgt spid="536"/>
                                        </p:tgtEl>
                                      </p:cBhvr>
                                    </p:animEffect>
                                    <p:animScale>
                                      <p:cBhvr>
                                        <p:cTn id="359" dur="500" autoRev="1" fill="hold"/>
                                        <p:tgtEl>
                                          <p:spTgt spid="536"/>
                                        </p:tgtEl>
                                      </p:cBhvr>
                                      <p:by x="105000" y="105000"/>
                                    </p:animScale>
                                  </p:childTnLst>
                                </p:cTn>
                              </p:par>
                              <p:par>
                                <p:cTn id="360" presetID="6" presetClass="emph" presetSubtype="0" repeatCount="indefinite" fill="hold" grpId="1" nodeType="withEffect">
                                  <p:stCondLst>
                                    <p:cond delay="1250"/>
                                  </p:stCondLst>
                                  <p:childTnLst>
                                    <p:animScale>
                                      <p:cBhvr>
                                        <p:cTn id="361" dur="7000" fill="hold"/>
                                        <p:tgtEl>
                                          <p:spTgt spid="536"/>
                                        </p:tgtEl>
                                      </p:cBhvr>
                                      <p:by x="150000" y="150000"/>
                                    </p:animScale>
                                  </p:childTnLst>
                                </p:cTn>
                              </p:par>
                              <p:par>
                                <p:cTn id="362" presetID="6" presetClass="emph" presetSubtype="0" repeatCount="indefinite" fill="hold" grpId="0" nodeType="withEffect">
                                  <p:stCondLst>
                                    <p:cond delay="1250"/>
                                  </p:stCondLst>
                                  <p:childTnLst>
                                    <p:animScale>
                                      <p:cBhvr>
                                        <p:cTn id="363" dur="7000" fill="hold"/>
                                        <p:tgtEl>
                                          <p:spTgt spid="535"/>
                                        </p:tgtEl>
                                      </p:cBhvr>
                                      <p:by x="150000" y="150000"/>
                                    </p:animScale>
                                  </p:childTnLst>
                                </p:cTn>
                              </p:par>
                              <p:par>
                                <p:cTn id="364" presetID="42" presetClass="path" presetSubtype="0" repeatCount="indefinite" accel="50000" decel="50000" fill="hold" grpId="2" nodeType="withEffect">
                                  <p:stCondLst>
                                    <p:cond delay="1250"/>
                                  </p:stCondLst>
                                  <p:childTnLst>
                                    <p:animMotion origin="layout" path="M 1.38889E-6 -3.45679E-6 L 1.38889E-6 0.58025 " pathEditMode="relative" rAng="0" ptsTypes="AA">
                                      <p:cBhvr>
                                        <p:cTn id="365" dur="7000" fill="hold"/>
                                        <p:tgtEl>
                                          <p:spTgt spid="536"/>
                                        </p:tgtEl>
                                        <p:attrNameLst>
                                          <p:attrName>ppt_x</p:attrName>
                                          <p:attrName>ppt_y</p:attrName>
                                        </p:attrNameLst>
                                      </p:cBhvr>
                                      <p:rCtr x="0" y="29012"/>
                                    </p:animMotion>
                                  </p:childTnLst>
                                </p:cTn>
                              </p:par>
                              <p:par>
                                <p:cTn id="366" presetID="42" presetClass="path" presetSubtype="0" repeatCount="indefinite" accel="50000" decel="50000" fill="hold" grpId="1" nodeType="withEffect">
                                  <p:stCondLst>
                                    <p:cond delay="1250"/>
                                  </p:stCondLst>
                                  <p:childTnLst>
                                    <p:animMotion origin="layout" path="M 1.38889E-6 -7.40741E-7 L 1.38889E-6 0.57963 " pathEditMode="relative" rAng="0" ptsTypes="AA">
                                      <p:cBhvr>
                                        <p:cTn id="367" dur="7000" fill="hold"/>
                                        <p:tgtEl>
                                          <p:spTgt spid="535"/>
                                        </p:tgtEl>
                                        <p:attrNameLst>
                                          <p:attrName>ppt_x</p:attrName>
                                          <p:attrName>ppt_y</p:attrName>
                                        </p:attrNameLst>
                                      </p:cBhvr>
                                      <p:rCtr x="0" y="28981"/>
                                    </p:animMotion>
                                  </p:childTnLst>
                                </p:cTn>
                              </p:par>
                              <p:par>
                                <p:cTn id="368" presetID="26" presetClass="emph" presetSubtype="0" repeatCount="indefinite" fill="hold" grpId="0" nodeType="withEffect">
                                  <p:stCondLst>
                                    <p:cond delay="1250"/>
                                  </p:stCondLst>
                                  <p:childTnLst>
                                    <p:animEffect transition="out" filter="fade">
                                      <p:cBhvr>
                                        <p:cTn id="369" dur="1000" tmFilter="0, 0; .2, .5; .8, .5; 1, 0"/>
                                        <p:tgtEl>
                                          <p:spTgt spid="538"/>
                                        </p:tgtEl>
                                      </p:cBhvr>
                                    </p:animEffect>
                                    <p:animScale>
                                      <p:cBhvr>
                                        <p:cTn id="370" dur="500" autoRev="1" fill="hold"/>
                                        <p:tgtEl>
                                          <p:spTgt spid="538"/>
                                        </p:tgtEl>
                                      </p:cBhvr>
                                      <p:by x="105000" y="105000"/>
                                    </p:animScale>
                                  </p:childTnLst>
                                </p:cTn>
                              </p:par>
                              <p:par>
                                <p:cTn id="371" presetID="6" presetClass="emph" presetSubtype="0" repeatCount="indefinite" fill="hold" grpId="1" nodeType="withEffect">
                                  <p:stCondLst>
                                    <p:cond delay="1250"/>
                                  </p:stCondLst>
                                  <p:childTnLst>
                                    <p:animScale>
                                      <p:cBhvr>
                                        <p:cTn id="372" dur="7000" fill="hold"/>
                                        <p:tgtEl>
                                          <p:spTgt spid="538"/>
                                        </p:tgtEl>
                                      </p:cBhvr>
                                      <p:by x="150000" y="150000"/>
                                    </p:animScale>
                                  </p:childTnLst>
                                </p:cTn>
                              </p:par>
                              <p:par>
                                <p:cTn id="373" presetID="6" presetClass="emph" presetSubtype="0" repeatCount="indefinite" fill="hold" grpId="0" nodeType="withEffect">
                                  <p:stCondLst>
                                    <p:cond delay="1250"/>
                                  </p:stCondLst>
                                  <p:childTnLst>
                                    <p:animScale>
                                      <p:cBhvr>
                                        <p:cTn id="374" dur="7000" fill="hold"/>
                                        <p:tgtEl>
                                          <p:spTgt spid="537"/>
                                        </p:tgtEl>
                                      </p:cBhvr>
                                      <p:by x="150000" y="150000"/>
                                    </p:animScale>
                                  </p:childTnLst>
                                </p:cTn>
                              </p:par>
                              <p:par>
                                <p:cTn id="375" presetID="42" presetClass="path" presetSubtype="0" repeatCount="indefinite" accel="50000" decel="50000" fill="hold" grpId="2" nodeType="withEffect">
                                  <p:stCondLst>
                                    <p:cond delay="1250"/>
                                  </p:stCondLst>
                                  <p:childTnLst>
                                    <p:animMotion origin="layout" path="M 1.38889E-6 -3.45679E-6 L 1.38889E-6 0.58025 " pathEditMode="relative" rAng="0" ptsTypes="AA">
                                      <p:cBhvr>
                                        <p:cTn id="376" dur="7000" fill="hold"/>
                                        <p:tgtEl>
                                          <p:spTgt spid="538"/>
                                        </p:tgtEl>
                                        <p:attrNameLst>
                                          <p:attrName>ppt_x</p:attrName>
                                          <p:attrName>ppt_y</p:attrName>
                                        </p:attrNameLst>
                                      </p:cBhvr>
                                      <p:rCtr x="0" y="29012"/>
                                    </p:animMotion>
                                  </p:childTnLst>
                                </p:cTn>
                              </p:par>
                              <p:par>
                                <p:cTn id="377" presetID="42" presetClass="path" presetSubtype="0" repeatCount="indefinite" accel="50000" decel="50000" fill="hold" grpId="1" nodeType="withEffect">
                                  <p:stCondLst>
                                    <p:cond delay="1250"/>
                                  </p:stCondLst>
                                  <p:childTnLst>
                                    <p:animMotion origin="layout" path="M 1.38889E-6 -7.40741E-7 L 1.38889E-6 0.57963 " pathEditMode="relative" rAng="0" ptsTypes="AA">
                                      <p:cBhvr>
                                        <p:cTn id="378" dur="7000" fill="hold"/>
                                        <p:tgtEl>
                                          <p:spTgt spid="537"/>
                                        </p:tgtEl>
                                        <p:attrNameLst>
                                          <p:attrName>ppt_x</p:attrName>
                                          <p:attrName>ppt_y</p:attrName>
                                        </p:attrNameLst>
                                      </p:cBhvr>
                                      <p:rCtr x="0" y="28981"/>
                                    </p:animMotion>
                                  </p:childTnLst>
                                </p:cTn>
                              </p:par>
                              <p:par>
                                <p:cTn id="379" presetID="26" presetClass="emph" presetSubtype="0" repeatCount="indefinite" fill="hold" grpId="0" nodeType="withEffect">
                                  <p:stCondLst>
                                    <p:cond delay="2500"/>
                                  </p:stCondLst>
                                  <p:childTnLst>
                                    <p:animEffect transition="out" filter="fade">
                                      <p:cBhvr>
                                        <p:cTn id="380" dur="1000" tmFilter="0, 0; .2, .5; .8, .5; 1, 0"/>
                                        <p:tgtEl>
                                          <p:spTgt spid="540"/>
                                        </p:tgtEl>
                                      </p:cBhvr>
                                    </p:animEffect>
                                    <p:animScale>
                                      <p:cBhvr>
                                        <p:cTn id="381" dur="500" autoRev="1" fill="hold"/>
                                        <p:tgtEl>
                                          <p:spTgt spid="540"/>
                                        </p:tgtEl>
                                      </p:cBhvr>
                                      <p:by x="105000" y="105000"/>
                                    </p:animScale>
                                  </p:childTnLst>
                                </p:cTn>
                              </p:par>
                              <p:par>
                                <p:cTn id="382" presetID="6" presetClass="emph" presetSubtype="0" repeatCount="indefinite" fill="hold" grpId="1" nodeType="withEffect">
                                  <p:stCondLst>
                                    <p:cond delay="2500"/>
                                  </p:stCondLst>
                                  <p:childTnLst>
                                    <p:animScale>
                                      <p:cBhvr>
                                        <p:cTn id="383" dur="7000" fill="hold"/>
                                        <p:tgtEl>
                                          <p:spTgt spid="540"/>
                                        </p:tgtEl>
                                      </p:cBhvr>
                                      <p:by x="150000" y="150000"/>
                                    </p:animScale>
                                  </p:childTnLst>
                                </p:cTn>
                              </p:par>
                              <p:par>
                                <p:cTn id="384" presetID="6" presetClass="emph" presetSubtype="0" repeatCount="indefinite" fill="hold" grpId="0" nodeType="withEffect">
                                  <p:stCondLst>
                                    <p:cond delay="2500"/>
                                  </p:stCondLst>
                                  <p:childTnLst>
                                    <p:animScale>
                                      <p:cBhvr>
                                        <p:cTn id="385" dur="7000" fill="hold"/>
                                        <p:tgtEl>
                                          <p:spTgt spid="539"/>
                                        </p:tgtEl>
                                      </p:cBhvr>
                                      <p:by x="150000" y="150000"/>
                                    </p:animScale>
                                  </p:childTnLst>
                                </p:cTn>
                              </p:par>
                              <p:par>
                                <p:cTn id="386" presetID="42" presetClass="path" presetSubtype="0" repeatCount="indefinite" accel="50000" decel="50000" fill="hold" grpId="2" nodeType="withEffect">
                                  <p:stCondLst>
                                    <p:cond delay="2500"/>
                                  </p:stCondLst>
                                  <p:childTnLst>
                                    <p:animMotion origin="layout" path="M -4.44444E-6 0.00432 L -4.44444E-6 0.58457 " pathEditMode="relative" rAng="0" ptsTypes="AA">
                                      <p:cBhvr>
                                        <p:cTn id="387" dur="7000" fill="hold"/>
                                        <p:tgtEl>
                                          <p:spTgt spid="540"/>
                                        </p:tgtEl>
                                        <p:attrNameLst>
                                          <p:attrName>ppt_x</p:attrName>
                                          <p:attrName>ppt_y</p:attrName>
                                        </p:attrNameLst>
                                      </p:cBhvr>
                                      <p:rCtr x="0" y="29012"/>
                                    </p:animMotion>
                                  </p:childTnLst>
                                </p:cTn>
                              </p:par>
                              <p:par>
                                <p:cTn id="388" presetID="42" presetClass="path" presetSubtype="0" repeatCount="indefinite" accel="50000" decel="50000" fill="hold" grpId="1" nodeType="withEffect">
                                  <p:stCondLst>
                                    <p:cond delay="2500"/>
                                  </p:stCondLst>
                                  <p:childTnLst>
                                    <p:animMotion origin="layout" path="M -4.44444E-6 0.00432 L -4.44444E-6 0.58395 " pathEditMode="relative" rAng="0" ptsTypes="AA">
                                      <p:cBhvr>
                                        <p:cTn id="389" dur="7000" fill="hold"/>
                                        <p:tgtEl>
                                          <p:spTgt spid="539"/>
                                        </p:tgtEl>
                                        <p:attrNameLst>
                                          <p:attrName>ppt_x</p:attrName>
                                          <p:attrName>ppt_y</p:attrName>
                                        </p:attrNameLst>
                                      </p:cBhvr>
                                      <p:rCtr x="0" y="28981"/>
                                    </p:animMotion>
                                  </p:childTnLst>
                                </p:cTn>
                              </p:par>
                              <p:par>
                                <p:cTn id="390" presetID="26" presetClass="emph" presetSubtype="0" repeatCount="indefinite" fill="hold" grpId="0" nodeType="withEffect">
                                  <p:stCondLst>
                                    <p:cond delay="2500"/>
                                  </p:stCondLst>
                                  <p:childTnLst>
                                    <p:animEffect transition="out" filter="fade">
                                      <p:cBhvr>
                                        <p:cTn id="391" dur="1000" tmFilter="0, 0; .2, .5; .8, .5; 1, 0"/>
                                        <p:tgtEl>
                                          <p:spTgt spid="542"/>
                                        </p:tgtEl>
                                      </p:cBhvr>
                                    </p:animEffect>
                                    <p:animScale>
                                      <p:cBhvr>
                                        <p:cTn id="392" dur="500" autoRev="1" fill="hold"/>
                                        <p:tgtEl>
                                          <p:spTgt spid="542"/>
                                        </p:tgtEl>
                                      </p:cBhvr>
                                      <p:by x="105000" y="105000"/>
                                    </p:animScale>
                                  </p:childTnLst>
                                </p:cTn>
                              </p:par>
                              <p:par>
                                <p:cTn id="393" presetID="6" presetClass="emph" presetSubtype="0" repeatCount="indefinite" fill="hold" grpId="1" nodeType="withEffect">
                                  <p:stCondLst>
                                    <p:cond delay="2500"/>
                                  </p:stCondLst>
                                  <p:childTnLst>
                                    <p:animScale>
                                      <p:cBhvr>
                                        <p:cTn id="394" dur="7000" fill="hold"/>
                                        <p:tgtEl>
                                          <p:spTgt spid="542"/>
                                        </p:tgtEl>
                                      </p:cBhvr>
                                      <p:by x="150000" y="150000"/>
                                    </p:animScale>
                                  </p:childTnLst>
                                </p:cTn>
                              </p:par>
                              <p:par>
                                <p:cTn id="395" presetID="6" presetClass="emph" presetSubtype="0" repeatCount="indefinite" fill="hold" grpId="0" nodeType="withEffect">
                                  <p:stCondLst>
                                    <p:cond delay="2500"/>
                                  </p:stCondLst>
                                  <p:childTnLst>
                                    <p:animScale>
                                      <p:cBhvr>
                                        <p:cTn id="396" dur="7000" fill="hold"/>
                                        <p:tgtEl>
                                          <p:spTgt spid="541"/>
                                        </p:tgtEl>
                                      </p:cBhvr>
                                      <p:by x="150000" y="150000"/>
                                    </p:animScale>
                                  </p:childTnLst>
                                </p:cTn>
                              </p:par>
                              <p:par>
                                <p:cTn id="397" presetID="42" presetClass="path" presetSubtype="0" repeatCount="indefinite" accel="50000" decel="50000" fill="hold" grpId="2" nodeType="withEffect">
                                  <p:stCondLst>
                                    <p:cond delay="2500"/>
                                  </p:stCondLst>
                                  <p:childTnLst>
                                    <p:animMotion origin="layout" path="M -3.88889E-6 0.00433 L -3.88889E-6 0.58457 " pathEditMode="relative" rAng="0" ptsTypes="AA">
                                      <p:cBhvr>
                                        <p:cTn id="398" dur="7000" fill="hold"/>
                                        <p:tgtEl>
                                          <p:spTgt spid="542"/>
                                        </p:tgtEl>
                                        <p:attrNameLst>
                                          <p:attrName>ppt_x</p:attrName>
                                          <p:attrName>ppt_y</p:attrName>
                                        </p:attrNameLst>
                                      </p:cBhvr>
                                      <p:rCtr x="0" y="29012"/>
                                    </p:animMotion>
                                  </p:childTnLst>
                                </p:cTn>
                              </p:par>
                              <p:par>
                                <p:cTn id="399" presetID="42" presetClass="path" presetSubtype="0" repeatCount="indefinite" accel="50000" decel="50000" fill="hold" grpId="1" nodeType="withEffect">
                                  <p:stCondLst>
                                    <p:cond delay="2500"/>
                                  </p:stCondLst>
                                  <p:childTnLst>
                                    <p:animMotion origin="layout" path="M -3.88889E-6 0.00432 L -3.88889E-6 0.58395 " pathEditMode="relative" rAng="0" ptsTypes="AA">
                                      <p:cBhvr>
                                        <p:cTn id="400" dur="7000" fill="hold"/>
                                        <p:tgtEl>
                                          <p:spTgt spid="541"/>
                                        </p:tgtEl>
                                        <p:attrNameLst>
                                          <p:attrName>ppt_x</p:attrName>
                                          <p:attrName>ppt_y</p:attrName>
                                        </p:attrNameLst>
                                      </p:cBhvr>
                                      <p:rCtr x="0" y="28981"/>
                                    </p:animMotion>
                                  </p:childTnLst>
                                </p:cTn>
                              </p:par>
                              <p:par>
                                <p:cTn id="401" presetID="26" presetClass="emph" presetSubtype="0" repeatCount="indefinite" fill="hold" grpId="0" nodeType="withEffect">
                                  <p:stCondLst>
                                    <p:cond delay="2500"/>
                                  </p:stCondLst>
                                  <p:childTnLst>
                                    <p:animEffect transition="out" filter="fade">
                                      <p:cBhvr>
                                        <p:cTn id="402" dur="1000" tmFilter="0, 0; .2, .5; .8, .5; 1, 0"/>
                                        <p:tgtEl>
                                          <p:spTgt spid="544"/>
                                        </p:tgtEl>
                                      </p:cBhvr>
                                    </p:animEffect>
                                    <p:animScale>
                                      <p:cBhvr>
                                        <p:cTn id="403" dur="500" autoRev="1" fill="hold"/>
                                        <p:tgtEl>
                                          <p:spTgt spid="544"/>
                                        </p:tgtEl>
                                      </p:cBhvr>
                                      <p:by x="105000" y="105000"/>
                                    </p:animScale>
                                  </p:childTnLst>
                                </p:cTn>
                              </p:par>
                              <p:par>
                                <p:cTn id="404" presetID="6" presetClass="emph" presetSubtype="0" repeatCount="indefinite" fill="hold" grpId="1" nodeType="withEffect">
                                  <p:stCondLst>
                                    <p:cond delay="2500"/>
                                  </p:stCondLst>
                                  <p:childTnLst>
                                    <p:animScale>
                                      <p:cBhvr>
                                        <p:cTn id="405" dur="7000" fill="hold"/>
                                        <p:tgtEl>
                                          <p:spTgt spid="544"/>
                                        </p:tgtEl>
                                      </p:cBhvr>
                                      <p:by x="150000" y="150000"/>
                                    </p:animScale>
                                  </p:childTnLst>
                                </p:cTn>
                              </p:par>
                              <p:par>
                                <p:cTn id="406" presetID="6" presetClass="emph" presetSubtype="0" repeatCount="indefinite" fill="hold" grpId="0" nodeType="withEffect">
                                  <p:stCondLst>
                                    <p:cond delay="2500"/>
                                  </p:stCondLst>
                                  <p:childTnLst>
                                    <p:animScale>
                                      <p:cBhvr>
                                        <p:cTn id="407" dur="7000" fill="hold"/>
                                        <p:tgtEl>
                                          <p:spTgt spid="543"/>
                                        </p:tgtEl>
                                      </p:cBhvr>
                                      <p:by x="150000" y="150000"/>
                                    </p:animScale>
                                  </p:childTnLst>
                                </p:cTn>
                              </p:par>
                              <p:par>
                                <p:cTn id="408" presetID="42" presetClass="path" presetSubtype="0" repeatCount="indefinite" accel="50000" decel="50000" fill="hold" grpId="2" nodeType="withEffect">
                                  <p:stCondLst>
                                    <p:cond delay="2500"/>
                                  </p:stCondLst>
                                  <p:childTnLst>
                                    <p:animMotion origin="layout" path="M -1.94444E-6 0.00432 L -1.94444E-6 0.58457 " pathEditMode="relative" rAng="0" ptsTypes="AA">
                                      <p:cBhvr>
                                        <p:cTn id="409" dur="7000" fill="hold"/>
                                        <p:tgtEl>
                                          <p:spTgt spid="544"/>
                                        </p:tgtEl>
                                        <p:attrNameLst>
                                          <p:attrName>ppt_x</p:attrName>
                                          <p:attrName>ppt_y</p:attrName>
                                        </p:attrNameLst>
                                      </p:cBhvr>
                                      <p:rCtr x="0" y="29012"/>
                                    </p:animMotion>
                                  </p:childTnLst>
                                </p:cTn>
                              </p:par>
                              <p:par>
                                <p:cTn id="410" presetID="42" presetClass="path" presetSubtype="0" repeatCount="indefinite" accel="50000" decel="50000" fill="hold" grpId="1" nodeType="withEffect">
                                  <p:stCondLst>
                                    <p:cond delay="2500"/>
                                  </p:stCondLst>
                                  <p:childTnLst>
                                    <p:animMotion origin="layout" path="M -1.94444E-6 0.00432 L -1.94444E-6 0.58395 " pathEditMode="relative" rAng="0" ptsTypes="AA">
                                      <p:cBhvr>
                                        <p:cTn id="411" dur="7000" fill="hold"/>
                                        <p:tgtEl>
                                          <p:spTgt spid="543"/>
                                        </p:tgtEl>
                                        <p:attrNameLst>
                                          <p:attrName>ppt_x</p:attrName>
                                          <p:attrName>ppt_y</p:attrName>
                                        </p:attrNameLst>
                                      </p:cBhvr>
                                      <p:rCtr x="0" y="28981"/>
                                    </p:animMotion>
                                  </p:childTnLst>
                                </p:cTn>
                              </p:par>
                              <p:par>
                                <p:cTn id="412" presetID="26" presetClass="emph" presetSubtype="0" repeatCount="indefinite" fill="hold" grpId="0" nodeType="withEffect">
                                  <p:stCondLst>
                                    <p:cond delay="2500"/>
                                  </p:stCondLst>
                                  <p:childTnLst>
                                    <p:animEffect transition="out" filter="fade">
                                      <p:cBhvr>
                                        <p:cTn id="413" dur="1000" tmFilter="0, 0; .2, .5; .8, .5; 1, 0"/>
                                        <p:tgtEl>
                                          <p:spTgt spid="546"/>
                                        </p:tgtEl>
                                      </p:cBhvr>
                                    </p:animEffect>
                                    <p:animScale>
                                      <p:cBhvr>
                                        <p:cTn id="414" dur="500" autoRev="1" fill="hold"/>
                                        <p:tgtEl>
                                          <p:spTgt spid="546"/>
                                        </p:tgtEl>
                                      </p:cBhvr>
                                      <p:by x="105000" y="105000"/>
                                    </p:animScale>
                                  </p:childTnLst>
                                </p:cTn>
                              </p:par>
                              <p:par>
                                <p:cTn id="415" presetID="6" presetClass="emph" presetSubtype="0" repeatCount="indefinite" fill="hold" grpId="1" nodeType="withEffect">
                                  <p:stCondLst>
                                    <p:cond delay="2500"/>
                                  </p:stCondLst>
                                  <p:childTnLst>
                                    <p:animScale>
                                      <p:cBhvr>
                                        <p:cTn id="416" dur="7000" fill="hold"/>
                                        <p:tgtEl>
                                          <p:spTgt spid="546"/>
                                        </p:tgtEl>
                                      </p:cBhvr>
                                      <p:by x="150000" y="150000"/>
                                    </p:animScale>
                                  </p:childTnLst>
                                </p:cTn>
                              </p:par>
                              <p:par>
                                <p:cTn id="417" presetID="6" presetClass="emph" presetSubtype="0" repeatCount="indefinite" fill="hold" grpId="0" nodeType="withEffect">
                                  <p:stCondLst>
                                    <p:cond delay="2500"/>
                                  </p:stCondLst>
                                  <p:childTnLst>
                                    <p:animScale>
                                      <p:cBhvr>
                                        <p:cTn id="418" dur="7000" fill="hold"/>
                                        <p:tgtEl>
                                          <p:spTgt spid="545"/>
                                        </p:tgtEl>
                                      </p:cBhvr>
                                      <p:by x="150000" y="150000"/>
                                    </p:animScale>
                                  </p:childTnLst>
                                </p:cTn>
                              </p:par>
                              <p:par>
                                <p:cTn id="419" presetID="42" presetClass="path" presetSubtype="0" repeatCount="indefinite" accel="50000" decel="50000" fill="hold" grpId="2" nodeType="withEffect">
                                  <p:stCondLst>
                                    <p:cond delay="2500"/>
                                  </p:stCondLst>
                                  <p:childTnLst>
                                    <p:animMotion origin="layout" path="M 2.22222E-6 0.00432 L 2.22222E-6 0.58457 " pathEditMode="relative" rAng="0" ptsTypes="AA">
                                      <p:cBhvr>
                                        <p:cTn id="420" dur="7000" fill="hold"/>
                                        <p:tgtEl>
                                          <p:spTgt spid="546"/>
                                        </p:tgtEl>
                                        <p:attrNameLst>
                                          <p:attrName>ppt_x</p:attrName>
                                          <p:attrName>ppt_y</p:attrName>
                                        </p:attrNameLst>
                                      </p:cBhvr>
                                      <p:rCtr x="0" y="29012"/>
                                    </p:animMotion>
                                  </p:childTnLst>
                                </p:cTn>
                              </p:par>
                              <p:par>
                                <p:cTn id="421" presetID="42" presetClass="path" presetSubtype="0" repeatCount="indefinite" accel="50000" decel="50000" fill="hold" grpId="1" nodeType="withEffect">
                                  <p:stCondLst>
                                    <p:cond delay="2500"/>
                                  </p:stCondLst>
                                  <p:childTnLst>
                                    <p:animMotion origin="layout" path="M 2.22222E-6 0.00432 L 2.22222E-6 0.58395 " pathEditMode="relative" rAng="0" ptsTypes="AA">
                                      <p:cBhvr>
                                        <p:cTn id="422" dur="7000" fill="hold"/>
                                        <p:tgtEl>
                                          <p:spTgt spid="545"/>
                                        </p:tgtEl>
                                        <p:attrNameLst>
                                          <p:attrName>ppt_x</p:attrName>
                                          <p:attrName>ppt_y</p:attrName>
                                        </p:attrNameLst>
                                      </p:cBhvr>
                                      <p:rCtr x="0" y="28981"/>
                                    </p:animMotion>
                                  </p:childTnLst>
                                </p:cTn>
                              </p:par>
                              <p:par>
                                <p:cTn id="423" presetID="26" presetClass="emph" presetSubtype="0" repeatCount="indefinite" fill="hold" grpId="0" nodeType="withEffect">
                                  <p:stCondLst>
                                    <p:cond delay="2500"/>
                                  </p:stCondLst>
                                  <p:childTnLst>
                                    <p:animEffect transition="out" filter="fade">
                                      <p:cBhvr>
                                        <p:cTn id="424" dur="1000" tmFilter="0, 0; .2, .5; .8, .5; 1, 0"/>
                                        <p:tgtEl>
                                          <p:spTgt spid="548"/>
                                        </p:tgtEl>
                                      </p:cBhvr>
                                    </p:animEffect>
                                    <p:animScale>
                                      <p:cBhvr>
                                        <p:cTn id="425" dur="500" autoRev="1" fill="hold"/>
                                        <p:tgtEl>
                                          <p:spTgt spid="548"/>
                                        </p:tgtEl>
                                      </p:cBhvr>
                                      <p:by x="105000" y="105000"/>
                                    </p:animScale>
                                  </p:childTnLst>
                                </p:cTn>
                              </p:par>
                              <p:par>
                                <p:cTn id="426" presetID="6" presetClass="emph" presetSubtype="0" repeatCount="indefinite" fill="hold" grpId="1" nodeType="withEffect">
                                  <p:stCondLst>
                                    <p:cond delay="2500"/>
                                  </p:stCondLst>
                                  <p:childTnLst>
                                    <p:animScale>
                                      <p:cBhvr>
                                        <p:cTn id="427" dur="7000" fill="hold"/>
                                        <p:tgtEl>
                                          <p:spTgt spid="548"/>
                                        </p:tgtEl>
                                      </p:cBhvr>
                                      <p:by x="150000" y="150000"/>
                                    </p:animScale>
                                  </p:childTnLst>
                                </p:cTn>
                              </p:par>
                              <p:par>
                                <p:cTn id="428" presetID="6" presetClass="emph" presetSubtype="0" repeatCount="indefinite" fill="hold" grpId="0" nodeType="withEffect">
                                  <p:stCondLst>
                                    <p:cond delay="2500"/>
                                  </p:stCondLst>
                                  <p:childTnLst>
                                    <p:animScale>
                                      <p:cBhvr>
                                        <p:cTn id="429" dur="7000" fill="hold"/>
                                        <p:tgtEl>
                                          <p:spTgt spid="547"/>
                                        </p:tgtEl>
                                      </p:cBhvr>
                                      <p:by x="150000" y="150000"/>
                                    </p:animScale>
                                  </p:childTnLst>
                                </p:cTn>
                              </p:par>
                              <p:par>
                                <p:cTn id="430" presetID="42" presetClass="path" presetSubtype="0" repeatCount="indefinite" accel="50000" decel="50000" fill="hold" grpId="2" nodeType="withEffect">
                                  <p:stCondLst>
                                    <p:cond delay="2500"/>
                                  </p:stCondLst>
                                  <p:childTnLst>
                                    <p:animMotion origin="layout" path="M -2.77778E-6 0.00432 L -2.77778E-6 0.58457 " pathEditMode="relative" rAng="0" ptsTypes="AA">
                                      <p:cBhvr>
                                        <p:cTn id="431" dur="7000" fill="hold"/>
                                        <p:tgtEl>
                                          <p:spTgt spid="548"/>
                                        </p:tgtEl>
                                        <p:attrNameLst>
                                          <p:attrName>ppt_x</p:attrName>
                                          <p:attrName>ppt_y</p:attrName>
                                        </p:attrNameLst>
                                      </p:cBhvr>
                                      <p:rCtr x="0" y="29012"/>
                                    </p:animMotion>
                                  </p:childTnLst>
                                </p:cTn>
                              </p:par>
                              <p:par>
                                <p:cTn id="432" presetID="42" presetClass="path" presetSubtype="0" repeatCount="indefinite" accel="50000" decel="50000" fill="hold" grpId="1" nodeType="withEffect">
                                  <p:stCondLst>
                                    <p:cond delay="2500"/>
                                  </p:stCondLst>
                                  <p:childTnLst>
                                    <p:animMotion origin="layout" path="M -2.77778E-6 0.00433 L -2.77778E-6 0.58396 " pathEditMode="relative" rAng="0" ptsTypes="AA">
                                      <p:cBhvr>
                                        <p:cTn id="433" dur="7000" fill="hold"/>
                                        <p:tgtEl>
                                          <p:spTgt spid="547"/>
                                        </p:tgtEl>
                                        <p:attrNameLst>
                                          <p:attrName>ppt_x</p:attrName>
                                          <p:attrName>ppt_y</p:attrName>
                                        </p:attrNameLst>
                                      </p:cBhvr>
                                      <p:rCtr x="0" y="28981"/>
                                    </p:animMotion>
                                  </p:childTnLst>
                                </p:cTn>
                              </p:par>
                              <p:par>
                                <p:cTn id="434" presetID="26" presetClass="emph" presetSubtype="0" repeatCount="indefinite" fill="hold" grpId="0" nodeType="withEffect">
                                  <p:stCondLst>
                                    <p:cond delay="2500"/>
                                  </p:stCondLst>
                                  <p:childTnLst>
                                    <p:animEffect transition="out" filter="fade">
                                      <p:cBhvr>
                                        <p:cTn id="435" dur="1000" tmFilter="0, 0; .2, .5; .8, .5; 1, 0"/>
                                        <p:tgtEl>
                                          <p:spTgt spid="550"/>
                                        </p:tgtEl>
                                      </p:cBhvr>
                                    </p:animEffect>
                                    <p:animScale>
                                      <p:cBhvr>
                                        <p:cTn id="436" dur="500" autoRev="1" fill="hold"/>
                                        <p:tgtEl>
                                          <p:spTgt spid="550"/>
                                        </p:tgtEl>
                                      </p:cBhvr>
                                      <p:by x="105000" y="105000"/>
                                    </p:animScale>
                                  </p:childTnLst>
                                </p:cTn>
                              </p:par>
                              <p:par>
                                <p:cTn id="437" presetID="6" presetClass="emph" presetSubtype="0" repeatCount="indefinite" fill="hold" grpId="1" nodeType="withEffect">
                                  <p:stCondLst>
                                    <p:cond delay="2500"/>
                                  </p:stCondLst>
                                  <p:childTnLst>
                                    <p:animScale>
                                      <p:cBhvr>
                                        <p:cTn id="438" dur="7000" fill="hold"/>
                                        <p:tgtEl>
                                          <p:spTgt spid="550"/>
                                        </p:tgtEl>
                                      </p:cBhvr>
                                      <p:by x="150000" y="150000"/>
                                    </p:animScale>
                                  </p:childTnLst>
                                </p:cTn>
                              </p:par>
                              <p:par>
                                <p:cTn id="439" presetID="6" presetClass="emph" presetSubtype="0" repeatCount="indefinite" fill="hold" grpId="0" nodeType="withEffect">
                                  <p:stCondLst>
                                    <p:cond delay="2500"/>
                                  </p:stCondLst>
                                  <p:childTnLst>
                                    <p:animScale>
                                      <p:cBhvr>
                                        <p:cTn id="440" dur="7000" fill="hold"/>
                                        <p:tgtEl>
                                          <p:spTgt spid="549"/>
                                        </p:tgtEl>
                                      </p:cBhvr>
                                      <p:by x="150000" y="150000"/>
                                    </p:animScale>
                                  </p:childTnLst>
                                </p:cTn>
                              </p:par>
                              <p:par>
                                <p:cTn id="441" presetID="42" presetClass="path" presetSubtype="0" repeatCount="indefinite" accel="50000" decel="50000" fill="hold" grpId="2" nodeType="withEffect">
                                  <p:stCondLst>
                                    <p:cond delay="2500"/>
                                  </p:stCondLst>
                                  <p:childTnLst>
                                    <p:animMotion origin="layout" path="M 1.38889E-6 0.00432 L 1.38889E-6 0.58457 " pathEditMode="relative" rAng="0" ptsTypes="AA">
                                      <p:cBhvr>
                                        <p:cTn id="442" dur="7000" fill="hold"/>
                                        <p:tgtEl>
                                          <p:spTgt spid="550"/>
                                        </p:tgtEl>
                                        <p:attrNameLst>
                                          <p:attrName>ppt_x</p:attrName>
                                          <p:attrName>ppt_y</p:attrName>
                                        </p:attrNameLst>
                                      </p:cBhvr>
                                      <p:rCtr x="0" y="29012"/>
                                    </p:animMotion>
                                  </p:childTnLst>
                                </p:cTn>
                              </p:par>
                              <p:par>
                                <p:cTn id="443" presetID="42" presetClass="path" presetSubtype="0" repeatCount="indefinite" accel="50000" decel="50000" fill="hold" grpId="1" nodeType="withEffect">
                                  <p:stCondLst>
                                    <p:cond delay="2500"/>
                                  </p:stCondLst>
                                  <p:childTnLst>
                                    <p:animMotion origin="layout" path="M 1.38889E-6 0.00432 L 1.38889E-6 0.58395 " pathEditMode="relative" rAng="0" ptsTypes="AA">
                                      <p:cBhvr>
                                        <p:cTn id="444" dur="7000" fill="hold"/>
                                        <p:tgtEl>
                                          <p:spTgt spid="549"/>
                                        </p:tgtEl>
                                        <p:attrNameLst>
                                          <p:attrName>ppt_x</p:attrName>
                                          <p:attrName>ppt_y</p:attrName>
                                        </p:attrNameLst>
                                      </p:cBhvr>
                                      <p:rCtr x="0" y="28981"/>
                                    </p:animMotion>
                                  </p:childTnLst>
                                </p:cTn>
                              </p:par>
                              <p:par>
                                <p:cTn id="445" presetID="26" presetClass="emph" presetSubtype="0" repeatCount="indefinite" fill="hold" grpId="0" nodeType="withEffect">
                                  <p:stCondLst>
                                    <p:cond delay="2500"/>
                                  </p:stCondLst>
                                  <p:childTnLst>
                                    <p:animEffect transition="out" filter="fade">
                                      <p:cBhvr>
                                        <p:cTn id="446" dur="1000" tmFilter="0, 0; .2, .5; .8, .5; 1, 0"/>
                                        <p:tgtEl>
                                          <p:spTgt spid="552"/>
                                        </p:tgtEl>
                                      </p:cBhvr>
                                    </p:animEffect>
                                    <p:animScale>
                                      <p:cBhvr>
                                        <p:cTn id="447" dur="500" autoRev="1" fill="hold"/>
                                        <p:tgtEl>
                                          <p:spTgt spid="552"/>
                                        </p:tgtEl>
                                      </p:cBhvr>
                                      <p:by x="105000" y="105000"/>
                                    </p:animScale>
                                  </p:childTnLst>
                                </p:cTn>
                              </p:par>
                              <p:par>
                                <p:cTn id="448" presetID="6" presetClass="emph" presetSubtype="0" repeatCount="indefinite" fill="hold" grpId="1" nodeType="withEffect">
                                  <p:stCondLst>
                                    <p:cond delay="2500"/>
                                  </p:stCondLst>
                                  <p:childTnLst>
                                    <p:animScale>
                                      <p:cBhvr>
                                        <p:cTn id="449" dur="7000" fill="hold"/>
                                        <p:tgtEl>
                                          <p:spTgt spid="552"/>
                                        </p:tgtEl>
                                      </p:cBhvr>
                                      <p:by x="150000" y="150000"/>
                                    </p:animScale>
                                  </p:childTnLst>
                                </p:cTn>
                              </p:par>
                              <p:par>
                                <p:cTn id="450" presetID="6" presetClass="emph" presetSubtype="0" repeatCount="indefinite" fill="hold" grpId="0" nodeType="withEffect">
                                  <p:stCondLst>
                                    <p:cond delay="2500"/>
                                  </p:stCondLst>
                                  <p:childTnLst>
                                    <p:animScale>
                                      <p:cBhvr>
                                        <p:cTn id="451" dur="7000" fill="hold"/>
                                        <p:tgtEl>
                                          <p:spTgt spid="551"/>
                                        </p:tgtEl>
                                      </p:cBhvr>
                                      <p:by x="150000" y="150000"/>
                                    </p:animScale>
                                  </p:childTnLst>
                                </p:cTn>
                              </p:par>
                              <p:par>
                                <p:cTn id="452" presetID="42" presetClass="path" presetSubtype="0" repeatCount="indefinite" accel="50000" decel="50000" fill="hold" grpId="2" nodeType="withEffect">
                                  <p:stCondLst>
                                    <p:cond delay="2500"/>
                                  </p:stCondLst>
                                  <p:childTnLst>
                                    <p:animMotion origin="layout" path="M -1.11111E-6 0.00432 L -1.11111E-6 0.58457 " pathEditMode="relative" rAng="0" ptsTypes="AA">
                                      <p:cBhvr>
                                        <p:cTn id="453" dur="7000" fill="hold"/>
                                        <p:tgtEl>
                                          <p:spTgt spid="552"/>
                                        </p:tgtEl>
                                        <p:attrNameLst>
                                          <p:attrName>ppt_x</p:attrName>
                                          <p:attrName>ppt_y</p:attrName>
                                        </p:attrNameLst>
                                      </p:cBhvr>
                                      <p:rCtr x="0" y="29012"/>
                                    </p:animMotion>
                                  </p:childTnLst>
                                </p:cTn>
                              </p:par>
                              <p:par>
                                <p:cTn id="454" presetID="42" presetClass="path" presetSubtype="0" repeatCount="indefinite" accel="50000" decel="50000" fill="hold" grpId="1" nodeType="withEffect">
                                  <p:stCondLst>
                                    <p:cond delay="2500"/>
                                  </p:stCondLst>
                                  <p:childTnLst>
                                    <p:animMotion origin="layout" path="M -1.11111E-6 0.00432 L -1.11111E-6 0.58395 " pathEditMode="relative" rAng="0" ptsTypes="AA">
                                      <p:cBhvr>
                                        <p:cTn id="455" dur="7000" fill="hold"/>
                                        <p:tgtEl>
                                          <p:spTgt spid="551"/>
                                        </p:tgtEl>
                                        <p:attrNameLst>
                                          <p:attrName>ppt_x</p:attrName>
                                          <p:attrName>ppt_y</p:attrName>
                                        </p:attrNameLst>
                                      </p:cBhvr>
                                      <p:rCtr x="0" y="28981"/>
                                    </p:animMotion>
                                  </p:childTnLst>
                                </p:cTn>
                              </p:par>
                              <p:par>
                                <p:cTn id="456" presetID="26" presetClass="emph" presetSubtype="0" repeatCount="indefinite" fill="hold" grpId="0" nodeType="withEffect">
                                  <p:stCondLst>
                                    <p:cond delay="2500"/>
                                  </p:stCondLst>
                                  <p:childTnLst>
                                    <p:animEffect transition="out" filter="fade">
                                      <p:cBhvr>
                                        <p:cTn id="457" dur="1000" tmFilter="0, 0; .2, .5; .8, .5; 1, 0"/>
                                        <p:tgtEl>
                                          <p:spTgt spid="554"/>
                                        </p:tgtEl>
                                      </p:cBhvr>
                                    </p:animEffect>
                                    <p:animScale>
                                      <p:cBhvr>
                                        <p:cTn id="458" dur="500" autoRev="1" fill="hold"/>
                                        <p:tgtEl>
                                          <p:spTgt spid="554"/>
                                        </p:tgtEl>
                                      </p:cBhvr>
                                      <p:by x="105000" y="105000"/>
                                    </p:animScale>
                                  </p:childTnLst>
                                </p:cTn>
                              </p:par>
                              <p:par>
                                <p:cTn id="459" presetID="6" presetClass="emph" presetSubtype="0" repeatCount="indefinite" fill="hold" grpId="1" nodeType="withEffect">
                                  <p:stCondLst>
                                    <p:cond delay="2500"/>
                                  </p:stCondLst>
                                  <p:childTnLst>
                                    <p:animScale>
                                      <p:cBhvr>
                                        <p:cTn id="460" dur="7000" fill="hold"/>
                                        <p:tgtEl>
                                          <p:spTgt spid="554"/>
                                        </p:tgtEl>
                                      </p:cBhvr>
                                      <p:by x="150000" y="150000"/>
                                    </p:animScale>
                                  </p:childTnLst>
                                </p:cTn>
                              </p:par>
                              <p:par>
                                <p:cTn id="461" presetID="6" presetClass="emph" presetSubtype="0" repeatCount="indefinite" fill="hold" grpId="0" nodeType="withEffect">
                                  <p:stCondLst>
                                    <p:cond delay="2500"/>
                                  </p:stCondLst>
                                  <p:childTnLst>
                                    <p:animScale>
                                      <p:cBhvr>
                                        <p:cTn id="462" dur="7000" fill="hold"/>
                                        <p:tgtEl>
                                          <p:spTgt spid="553"/>
                                        </p:tgtEl>
                                      </p:cBhvr>
                                      <p:by x="150000" y="150000"/>
                                    </p:animScale>
                                  </p:childTnLst>
                                </p:cTn>
                              </p:par>
                              <p:par>
                                <p:cTn id="463" presetID="42" presetClass="path" presetSubtype="0" repeatCount="indefinite" accel="50000" decel="50000" fill="hold" grpId="2" nodeType="withEffect">
                                  <p:stCondLst>
                                    <p:cond delay="2500"/>
                                  </p:stCondLst>
                                  <p:childTnLst>
                                    <p:animMotion origin="layout" path="M -5.55556E-7 0.00432 L -5.55556E-7 0.58457 " pathEditMode="relative" rAng="0" ptsTypes="AA">
                                      <p:cBhvr>
                                        <p:cTn id="464" dur="7000" fill="hold"/>
                                        <p:tgtEl>
                                          <p:spTgt spid="554"/>
                                        </p:tgtEl>
                                        <p:attrNameLst>
                                          <p:attrName>ppt_x</p:attrName>
                                          <p:attrName>ppt_y</p:attrName>
                                        </p:attrNameLst>
                                      </p:cBhvr>
                                      <p:rCtr x="0" y="29012"/>
                                    </p:animMotion>
                                  </p:childTnLst>
                                </p:cTn>
                              </p:par>
                              <p:par>
                                <p:cTn id="465" presetID="42" presetClass="path" presetSubtype="0" repeatCount="indefinite" accel="50000" decel="50000" fill="hold" grpId="1" nodeType="withEffect">
                                  <p:stCondLst>
                                    <p:cond delay="2500"/>
                                  </p:stCondLst>
                                  <p:childTnLst>
                                    <p:animMotion origin="layout" path="M -5.55556E-7 0.00432 L -5.55556E-7 0.58395 " pathEditMode="relative" rAng="0" ptsTypes="AA">
                                      <p:cBhvr>
                                        <p:cTn id="466" dur="7000" fill="hold"/>
                                        <p:tgtEl>
                                          <p:spTgt spid="553"/>
                                        </p:tgtEl>
                                        <p:attrNameLst>
                                          <p:attrName>ppt_x</p:attrName>
                                          <p:attrName>ppt_y</p:attrName>
                                        </p:attrNameLst>
                                      </p:cBhvr>
                                      <p:rCtr x="0" y="28981"/>
                                    </p:animMotion>
                                  </p:childTnLst>
                                </p:cTn>
                              </p:par>
                              <p:par>
                                <p:cTn id="467" presetID="26" presetClass="emph" presetSubtype="0" repeatCount="indefinite" fill="hold" grpId="0" nodeType="withEffect">
                                  <p:stCondLst>
                                    <p:cond delay="2500"/>
                                  </p:stCondLst>
                                  <p:childTnLst>
                                    <p:animEffect transition="out" filter="fade">
                                      <p:cBhvr>
                                        <p:cTn id="468" dur="1000" tmFilter="0, 0; .2, .5; .8, .5; 1, 0"/>
                                        <p:tgtEl>
                                          <p:spTgt spid="556"/>
                                        </p:tgtEl>
                                      </p:cBhvr>
                                    </p:animEffect>
                                    <p:animScale>
                                      <p:cBhvr>
                                        <p:cTn id="469" dur="500" autoRev="1" fill="hold"/>
                                        <p:tgtEl>
                                          <p:spTgt spid="556"/>
                                        </p:tgtEl>
                                      </p:cBhvr>
                                      <p:by x="105000" y="105000"/>
                                    </p:animScale>
                                  </p:childTnLst>
                                </p:cTn>
                              </p:par>
                              <p:par>
                                <p:cTn id="470" presetID="6" presetClass="emph" presetSubtype="0" repeatCount="indefinite" fill="hold" grpId="1" nodeType="withEffect">
                                  <p:stCondLst>
                                    <p:cond delay="2500"/>
                                  </p:stCondLst>
                                  <p:childTnLst>
                                    <p:animScale>
                                      <p:cBhvr>
                                        <p:cTn id="471" dur="7000" fill="hold"/>
                                        <p:tgtEl>
                                          <p:spTgt spid="556"/>
                                        </p:tgtEl>
                                      </p:cBhvr>
                                      <p:by x="150000" y="150000"/>
                                    </p:animScale>
                                  </p:childTnLst>
                                </p:cTn>
                              </p:par>
                              <p:par>
                                <p:cTn id="472" presetID="6" presetClass="emph" presetSubtype="0" repeatCount="indefinite" fill="hold" grpId="0" nodeType="withEffect">
                                  <p:stCondLst>
                                    <p:cond delay="2500"/>
                                  </p:stCondLst>
                                  <p:childTnLst>
                                    <p:animScale>
                                      <p:cBhvr>
                                        <p:cTn id="473" dur="7000" fill="hold"/>
                                        <p:tgtEl>
                                          <p:spTgt spid="555"/>
                                        </p:tgtEl>
                                      </p:cBhvr>
                                      <p:by x="150000" y="150000"/>
                                    </p:animScale>
                                  </p:childTnLst>
                                </p:cTn>
                              </p:par>
                              <p:par>
                                <p:cTn id="474" presetID="42" presetClass="path" presetSubtype="0" repeatCount="indefinite" accel="50000" decel="50000" fill="hold" grpId="2" nodeType="withEffect">
                                  <p:stCondLst>
                                    <p:cond delay="2500"/>
                                  </p:stCondLst>
                                  <p:childTnLst>
                                    <p:animMotion origin="layout" path="M 4.72222E-6 0.00432 L 4.72222E-6 0.58457 " pathEditMode="relative" rAng="0" ptsTypes="AA">
                                      <p:cBhvr>
                                        <p:cTn id="475" dur="7000" fill="hold"/>
                                        <p:tgtEl>
                                          <p:spTgt spid="556"/>
                                        </p:tgtEl>
                                        <p:attrNameLst>
                                          <p:attrName>ppt_x</p:attrName>
                                          <p:attrName>ppt_y</p:attrName>
                                        </p:attrNameLst>
                                      </p:cBhvr>
                                      <p:rCtr x="0" y="29012"/>
                                    </p:animMotion>
                                  </p:childTnLst>
                                </p:cTn>
                              </p:par>
                              <p:par>
                                <p:cTn id="476" presetID="42" presetClass="path" presetSubtype="0" repeatCount="indefinite" accel="50000" decel="50000" fill="hold" grpId="1" nodeType="withEffect">
                                  <p:stCondLst>
                                    <p:cond delay="2500"/>
                                  </p:stCondLst>
                                  <p:childTnLst>
                                    <p:animMotion origin="layout" path="M 4.72222E-6 0.00432 L 4.72222E-6 0.58395 " pathEditMode="relative" rAng="0" ptsTypes="AA">
                                      <p:cBhvr>
                                        <p:cTn id="477" dur="7000" fill="hold"/>
                                        <p:tgtEl>
                                          <p:spTgt spid="555"/>
                                        </p:tgtEl>
                                        <p:attrNameLst>
                                          <p:attrName>ppt_x</p:attrName>
                                          <p:attrName>ppt_y</p:attrName>
                                        </p:attrNameLst>
                                      </p:cBhvr>
                                      <p:rCtr x="0" y="28981"/>
                                    </p:animMotion>
                                  </p:childTnLst>
                                </p:cTn>
                              </p:par>
                              <p:par>
                                <p:cTn id="478" presetID="26" presetClass="emph" presetSubtype="0" repeatCount="indefinite" fill="hold" grpId="0" nodeType="withEffect">
                                  <p:stCondLst>
                                    <p:cond delay="2500"/>
                                  </p:stCondLst>
                                  <p:childTnLst>
                                    <p:animEffect transition="out" filter="fade">
                                      <p:cBhvr>
                                        <p:cTn id="479" dur="1000" tmFilter="0, 0; .2, .5; .8, .5; 1, 0"/>
                                        <p:tgtEl>
                                          <p:spTgt spid="558"/>
                                        </p:tgtEl>
                                      </p:cBhvr>
                                    </p:animEffect>
                                    <p:animScale>
                                      <p:cBhvr>
                                        <p:cTn id="480" dur="500" autoRev="1" fill="hold"/>
                                        <p:tgtEl>
                                          <p:spTgt spid="558"/>
                                        </p:tgtEl>
                                      </p:cBhvr>
                                      <p:by x="105000" y="105000"/>
                                    </p:animScale>
                                  </p:childTnLst>
                                </p:cTn>
                              </p:par>
                              <p:par>
                                <p:cTn id="481" presetID="6" presetClass="emph" presetSubtype="0" repeatCount="indefinite" fill="hold" grpId="1" nodeType="withEffect">
                                  <p:stCondLst>
                                    <p:cond delay="2500"/>
                                  </p:stCondLst>
                                  <p:childTnLst>
                                    <p:animScale>
                                      <p:cBhvr>
                                        <p:cTn id="482" dur="7000" fill="hold"/>
                                        <p:tgtEl>
                                          <p:spTgt spid="558"/>
                                        </p:tgtEl>
                                      </p:cBhvr>
                                      <p:by x="150000" y="150000"/>
                                    </p:animScale>
                                  </p:childTnLst>
                                </p:cTn>
                              </p:par>
                              <p:par>
                                <p:cTn id="483" presetID="6" presetClass="emph" presetSubtype="0" repeatCount="indefinite" fill="hold" grpId="0" nodeType="withEffect">
                                  <p:stCondLst>
                                    <p:cond delay="2500"/>
                                  </p:stCondLst>
                                  <p:childTnLst>
                                    <p:animScale>
                                      <p:cBhvr>
                                        <p:cTn id="484" dur="7000" fill="hold"/>
                                        <p:tgtEl>
                                          <p:spTgt spid="557"/>
                                        </p:tgtEl>
                                      </p:cBhvr>
                                      <p:by x="150000" y="150000"/>
                                    </p:animScale>
                                  </p:childTnLst>
                                </p:cTn>
                              </p:par>
                              <p:par>
                                <p:cTn id="485" presetID="42" presetClass="path" presetSubtype="0" repeatCount="indefinite" accel="50000" decel="50000" fill="hold" grpId="2" nodeType="withEffect">
                                  <p:stCondLst>
                                    <p:cond delay="2500"/>
                                  </p:stCondLst>
                                  <p:childTnLst>
                                    <p:animMotion origin="layout" path="M -1.11111E-6 0.00432 L -1.11111E-6 0.58457 " pathEditMode="relative" rAng="0" ptsTypes="AA">
                                      <p:cBhvr>
                                        <p:cTn id="486" dur="7000" fill="hold"/>
                                        <p:tgtEl>
                                          <p:spTgt spid="558"/>
                                        </p:tgtEl>
                                        <p:attrNameLst>
                                          <p:attrName>ppt_x</p:attrName>
                                          <p:attrName>ppt_y</p:attrName>
                                        </p:attrNameLst>
                                      </p:cBhvr>
                                      <p:rCtr x="0" y="29012"/>
                                    </p:animMotion>
                                  </p:childTnLst>
                                </p:cTn>
                              </p:par>
                              <p:par>
                                <p:cTn id="487" presetID="42" presetClass="path" presetSubtype="0" repeatCount="indefinite" accel="50000" decel="50000" fill="hold" grpId="1" nodeType="withEffect">
                                  <p:stCondLst>
                                    <p:cond delay="2500"/>
                                  </p:stCondLst>
                                  <p:childTnLst>
                                    <p:animMotion origin="layout" path="M -1.11111E-6 0.00432 L -1.11111E-6 0.58395 " pathEditMode="relative" rAng="0" ptsTypes="AA">
                                      <p:cBhvr>
                                        <p:cTn id="488" dur="7000" fill="hold"/>
                                        <p:tgtEl>
                                          <p:spTgt spid="557"/>
                                        </p:tgtEl>
                                        <p:attrNameLst>
                                          <p:attrName>ppt_x</p:attrName>
                                          <p:attrName>ppt_y</p:attrName>
                                        </p:attrNameLst>
                                      </p:cBhvr>
                                      <p:rCtr x="0" y="28981"/>
                                    </p:animMotion>
                                  </p:childTnLst>
                                </p:cTn>
                              </p:par>
                              <p:par>
                                <p:cTn id="489" presetID="26" presetClass="emph" presetSubtype="0" repeatCount="indefinite" fill="hold" grpId="0" nodeType="withEffect">
                                  <p:stCondLst>
                                    <p:cond delay="2500"/>
                                  </p:stCondLst>
                                  <p:childTnLst>
                                    <p:animEffect transition="out" filter="fade">
                                      <p:cBhvr>
                                        <p:cTn id="490" dur="1000" tmFilter="0, 0; .2, .5; .8, .5; 1, 0"/>
                                        <p:tgtEl>
                                          <p:spTgt spid="560"/>
                                        </p:tgtEl>
                                      </p:cBhvr>
                                    </p:animEffect>
                                    <p:animScale>
                                      <p:cBhvr>
                                        <p:cTn id="491" dur="500" autoRev="1" fill="hold"/>
                                        <p:tgtEl>
                                          <p:spTgt spid="560"/>
                                        </p:tgtEl>
                                      </p:cBhvr>
                                      <p:by x="105000" y="105000"/>
                                    </p:animScale>
                                  </p:childTnLst>
                                </p:cTn>
                              </p:par>
                              <p:par>
                                <p:cTn id="492" presetID="6" presetClass="emph" presetSubtype="0" repeatCount="indefinite" fill="hold" grpId="1" nodeType="withEffect">
                                  <p:stCondLst>
                                    <p:cond delay="2500"/>
                                  </p:stCondLst>
                                  <p:childTnLst>
                                    <p:animScale>
                                      <p:cBhvr>
                                        <p:cTn id="493" dur="7000" fill="hold"/>
                                        <p:tgtEl>
                                          <p:spTgt spid="560"/>
                                        </p:tgtEl>
                                      </p:cBhvr>
                                      <p:by x="150000" y="150000"/>
                                    </p:animScale>
                                  </p:childTnLst>
                                </p:cTn>
                              </p:par>
                              <p:par>
                                <p:cTn id="494" presetID="6" presetClass="emph" presetSubtype="0" repeatCount="indefinite" fill="hold" grpId="0" nodeType="withEffect">
                                  <p:stCondLst>
                                    <p:cond delay="2500"/>
                                  </p:stCondLst>
                                  <p:childTnLst>
                                    <p:animScale>
                                      <p:cBhvr>
                                        <p:cTn id="495" dur="7000" fill="hold"/>
                                        <p:tgtEl>
                                          <p:spTgt spid="559"/>
                                        </p:tgtEl>
                                      </p:cBhvr>
                                      <p:by x="150000" y="150000"/>
                                    </p:animScale>
                                  </p:childTnLst>
                                </p:cTn>
                              </p:par>
                              <p:par>
                                <p:cTn id="496" presetID="42" presetClass="path" presetSubtype="0" repeatCount="indefinite" accel="50000" decel="50000" fill="hold" grpId="2" nodeType="withEffect">
                                  <p:stCondLst>
                                    <p:cond delay="2500"/>
                                  </p:stCondLst>
                                  <p:childTnLst>
                                    <p:animMotion origin="layout" path="M 3.88889E-6 0.00432 L 3.88889E-6 0.58457 " pathEditMode="relative" rAng="0" ptsTypes="AA">
                                      <p:cBhvr>
                                        <p:cTn id="497" dur="7000" fill="hold"/>
                                        <p:tgtEl>
                                          <p:spTgt spid="560"/>
                                        </p:tgtEl>
                                        <p:attrNameLst>
                                          <p:attrName>ppt_x</p:attrName>
                                          <p:attrName>ppt_y</p:attrName>
                                        </p:attrNameLst>
                                      </p:cBhvr>
                                      <p:rCtr x="0" y="29012"/>
                                    </p:animMotion>
                                  </p:childTnLst>
                                </p:cTn>
                              </p:par>
                              <p:par>
                                <p:cTn id="498" presetID="42" presetClass="path" presetSubtype="0" repeatCount="indefinite" accel="50000" decel="50000" fill="hold" grpId="1" nodeType="withEffect">
                                  <p:stCondLst>
                                    <p:cond delay="2500"/>
                                  </p:stCondLst>
                                  <p:childTnLst>
                                    <p:animMotion origin="layout" path="M 3.88889E-6 0.00432 L 3.88889E-6 0.58395 " pathEditMode="relative" rAng="0" ptsTypes="AA">
                                      <p:cBhvr>
                                        <p:cTn id="499" dur="7000" fill="hold"/>
                                        <p:tgtEl>
                                          <p:spTgt spid="559"/>
                                        </p:tgtEl>
                                        <p:attrNameLst>
                                          <p:attrName>ppt_x</p:attrName>
                                          <p:attrName>ppt_y</p:attrName>
                                        </p:attrNameLst>
                                      </p:cBhvr>
                                      <p:rCtr x="0" y="28981"/>
                                    </p:animMotion>
                                  </p:childTnLst>
                                </p:cTn>
                              </p:par>
                              <p:par>
                                <p:cTn id="500" presetID="26" presetClass="emph" presetSubtype="0" repeatCount="indefinite" fill="hold" grpId="0" nodeType="withEffect">
                                  <p:stCondLst>
                                    <p:cond delay="2500"/>
                                  </p:stCondLst>
                                  <p:childTnLst>
                                    <p:animEffect transition="out" filter="fade">
                                      <p:cBhvr>
                                        <p:cTn id="501" dur="1000" tmFilter="0, 0; .2, .5; .8, .5; 1, 0"/>
                                        <p:tgtEl>
                                          <p:spTgt spid="562"/>
                                        </p:tgtEl>
                                      </p:cBhvr>
                                    </p:animEffect>
                                    <p:animScale>
                                      <p:cBhvr>
                                        <p:cTn id="502" dur="500" autoRev="1" fill="hold"/>
                                        <p:tgtEl>
                                          <p:spTgt spid="562"/>
                                        </p:tgtEl>
                                      </p:cBhvr>
                                      <p:by x="105000" y="105000"/>
                                    </p:animScale>
                                  </p:childTnLst>
                                </p:cTn>
                              </p:par>
                              <p:par>
                                <p:cTn id="503" presetID="6" presetClass="emph" presetSubtype="0" repeatCount="indefinite" fill="hold" grpId="1" nodeType="withEffect">
                                  <p:stCondLst>
                                    <p:cond delay="2500"/>
                                  </p:stCondLst>
                                  <p:childTnLst>
                                    <p:animScale>
                                      <p:cBhvr>
                                        <p:cTn id="504" dur="7000" fill="hold"/>
                                        <p:tgtEl>
                                          <p:spTgt spid="562"/>
                                        </p:tgtEl>
                                      </p:cBhvr>
                                      <p:by x="150000" y="150000"/>
                                    </p:animScale>
                                  </p:childTnLst>
                                </p:cTn>
                              </p:par>
                              <p:par>
                                <p:cTn id="505" presetID="6" presetClass="emph" presetSubtype="0" repeatCount="indefinite" fill="hold" grpId="0" nodeType="withEffect">
                                  <p:stCondLst>
                                    <p:cond delay="2500"/>
                                  </p:stCondLst>
                                  <p:childTnLst>
                                    <p:animScale>
                                      <p:cBhvr>
                                        <p:cTn id="506" dur="7000" fill="hold"/>
                                        <p:tgtEl>
                                          <p:spTgt spid="561"/>
                                        </p:tgtEl>
                                      </p:cBhvr>
                                      <p:by x="150000" y="150000"/>
                                    </p:animScale>
                                  </p:childTnLst>
                                </p:cTn>
                              </p:par>
                              <p:par>
                                <p:cTn id="507" presetID="42" presetClass="path" presetSubtype="0" repeatCount="indefinite" accel="50000" decel="50000" fill="hold" grpId="2" nodeType="withEffect">
                                  <p:stCondLst>
                                    <p:cond delay="2500"/>
                                  </p:stCondLst>
                                  <p:childTnLst>
                                    <p:animMotion origin="layout" path="M -1.94444E-6 0.00432 L -1.94444E-6 0.58457 " pathEditMode="relative" rAng="0" ptsTypes="AA">
                                      <p:cBhvr>
                                        <p:cTn id="508" dur="7000" fill="hold"/>
                                        <p:tgtEl>
                                          <p:spTgt spid="562"/>
                                        </p:tgtEl>
                                        <p:attrNameLst>
                                          <p:attrName>ppt_x</p:attrName>
                                          <p:attrName>ppt_y</p:attrName>
                                        </p:attrNameLst>
                                      </p:cBhvr>
                                      <p:rCtr x="0" y="29012"/>
                                    </p:animMotion>
                                  </p:childTnLst>
                                </p:cTn>
                              </p:par>
                              <p:par>
                                <p:cTn id="509" presetID="42" presetClass="path" presetSubtype="0" repeatCount="indefinite" accel="50000" decel="50000" fill="hold" grpId="1" nodeType="withEffect">
                                  <p:stCondLst>
                                    <p:cond delay="2500"/>
                                  </p:stCondLst>
                                  <p:childTnLst>
                                    <p:animMotion origin="layout" path="M -1.94444E-6 0.00432 L -1.94444E-6 0.58395 " pathEditMode="relative" rAng="0" ptsTypes="AA">
                                      <p:cBhvr>
                                        <p:cTn id="510" dur="7000" fill="hold"/>
                                        <p:tgtEl>
                                          <p:spTgt spid="561"/>
                                        </p:tgtEl>
                                        <p:attrNameLst>
                                          <p:attrName>ppt_x</p:attrName>
                                          <p:attrName>ppt_y</p:attrName>
                                        </p:attrNameLst>
                                      </p:cBhvr>
                                      <p:rCtr x="0" y="28981"/>
                                    </p:animMotion>
                                  </p:childTnLst>
                                </p:cTn>
                              </p:par>
                              <p:par>
                                <p:cTn id="511" presetID="26" presetClass="emph" presetSubtype="0" repeatCount="indefinite" fill="hold" grpId="0" nodeType="withEffect">
                                  <p:stCondLst>
                                    <p:cond delay="2500"/>
                                  </p:stCondLst>
                                  <p:childTnLst>
                                    <p:animEffect transition="out" filter="fade">
                                      <p:cBhvr>
                                        <p:cTn id="512" dur="1000" tmFilter="0, 0; .2, .5; .8, .5; 1, 0"/>
                                        <p:tgtEl>
                                          <p:spTgt spid="564"/>
                                        </p:tgtEl>
                                      </p:cBhvr>
                                    </p:animEffect>
                                    <p:animScale>
                                      <p:cBhvr>
                                        <p:cTn id="513" dur="500" autoRev="1" fill="hold"/>
                                        <p:tgtEl>
                                          <p:spTgt spid="564"/>
                                        </p:tgtEl>
                                      </p:cBhvr>
                                      <p:by x="105000" y="105000"/>
                                    </p:animScale>
                                  </p:childTnLst>
                                </p:cTn>
                              </p:par>
                              <p:par>
                                <p:cTn id="514" presetID="6" presetClass="emph" presetSubtype="0" repeatCount="indefinite" fill="hold" grpId="1" nodeType="withEffect">
                                  <p:stCondLst>
                                    <p:cond delay="2500"/>
                                  </p:stCondLst>
                                  <p:childTnLst>
                                    <p:animScale>
                                      <p:cBhvr>
                                        <p:cTn id="515" dur="7000" fill="hold"/>
                                        <p:tgtEl>
                                          <p:spTgt spid="564"/>
                                        </p:tgtEl>
                                      </p:cBhvr>
                                      <p:by x="150000" y="150000"/>
                                    </p:animScale>
                                  </p:childTnLst>
                                </p:cTn>
                              </p:par>
                              <p:par>
                                <p:cTn id="516" presetID="6" presetClass="emph" presetSubtype="0" repeatCount="indefinite" fill="hold" grpId="0" nodeType="withEffect">
                                  <p:stCondLst>
                                    <p:cond delay="2500"/>
                                  </p:stCondLst>
                                  <p:childTnLst>
                                    <p:animScale>
                                      <p:cBhvr>
                                        <p:cTn id="517" dur="7000" fill="hold"/>
                                        <p:tgtEl>
                                          <p:spTgt spid="563"/>
                                        </p:tgtEl>
                                      </p:cBhvr>
                                      <p:by x="150000" y="150000"/>
                                    </p:animScale>
                                  </p:childTnLst>
                                </p:cTn>
                              </p:par>
                              <p:par>
                                <p:cTn id="518" presetID="42" presetClass="path" presetSubtype="0" repeatCount="indefinite" accel="50000" decel="50000" fill="hold" grpId="2" nodeType="withEffect">
                                  <p:stCondLst>
                                    <p:cond delay="2500"/>
                                  </p:stCondLst>
                                  <p:childTnLst>
                                    <p:animMotion origin="layout" path="M -4.44444E-6 0.00432 L -4.44444E-6 0.58457 " pathEditMode="relative" rAng="0" ptsTypes="AA">
                                      <p:cBhvr>
                                        <p:cTn id="519" dur="7000" fill="hold"/>
                                        <p:tgtEl>
                                          <p:spTgt spid="564"/>
                                        </p:tgtEl>
                                        <p:attrNameLst>
                                          <p:attrName>ppt_x</p:attrName>
                                          <p:attrName>ppt_y</p:attrName>
                                        </p:attrNameLst>
                                      </p:cBhvr>
                                      <p:rCtr x="0" y="29012"/>
                                    </p:animMotion>
                                  </p:childTnLst>
                                </p:cTn>
                              </p:par>
                              <p:par>
                                <p:cTn id="520" presetID="42" presetClass="path" presetSubtype="0" repeatCount="indefinite" accel="50000" decel="50000" fill="hold" grpId="1" nodeType="withEffect">
                                  <p:stCondLst>
                                    <p:cond delay="2500"/>
                                  </p:stCondLst>
                                  <p:childTnLst>
                                    <p:animMotion origin="layout" path="M -4.44444E-6 0.00432 L -4.44444E-6 0.58395 " pathEditMode="relative" rAng="0" ptsTypes="AA">
                                      <p:cBhvr>
                                        <p:cTn id="521" dur="7000" fill="hold"/>
                                        <p:tgtEl>
                                          <p:spTgt spid="563"/>
                                        </p:tgtEl>
                                        <p:attrNameLst>
                                          <p:attrName>ppt_x</p:attrName>
                                          <p:attrName>ppt_y</p:attrName>
                                        </p:attrNameLst>
                                      </p:cBhvr>
                                      <p:rCtr x="0" y="28981"/>
                                    </p:animMotion>
                                  </p:childTnLst>
                                </p:cTn>
                              </p:par>
                              <p:par>
                                <p:cTn id="522" presetID="26" presetClass="emph" presetSubtype="0" repeatCount="indefinite" fill="hold" grpId="0" nodeType="withEffect">
                                  <p:stCondLst>
                                    <p:cond delay="2500"/>
                                  </p:stCondLst>
                                  <p:childTnLst>
                                    <p:animEffect transition="out" filter="fade">
                                      <p:cBhvr>
                                        <p:cTn id="523" dur="1000" tmFilter="0, 0; .2, .5; .8, .5; 1, 0"/>
                                        <p:tgtEl>
                                          <p:spTgt spid="566"/>
                                        </p:tgtEl>
                                      </p:cBhvr>
                                    </p:animEffect>
                                    <p:animScale>
                                      <p:cBhvr>
                                        <p:cTn id="524" dur="500" autoRev="1" fill="hold"/>
                                        <p:tgtEl>
                                          <p:spTgt spid="566"/>
                                        </p:tgtEl>
                                      </p:cBhvr>
                                      <p:by x="105000" y="105000"/>
                                    </p:animScale>
                                  </p:childTnLst>
                                </p:cTn>
                              </p:par>
                              <p:par>
                                <p:cTn id="525" presetID="6" presetClass="emph" presetSubtype="0" repeatCount="indefinite" fill="hold" grpId="1" nodeType="withEffect">
                                  <p:stCondLst>
                                    <p:cond delay="2500"/>
                                  </p:stCondLst>
                                  <p:childTnLst>
                                    <p:animScale>
                                      <p:cBhvr>
                                        <p:cTn id="526" dur="7000" fill="hold"/>
                                        <p:tgtEl>
                                          <p:spTgt spid="566"/>
                                        </p:tgtEl>
                                      </p:cBhvr>
                                      <p:by x="150000" y="150000"/>
                                    </p:animScale>
                                  </p:childTnLst>
                                </p:cTn>
                              </p:par>
                              <p:par>
                                <p:cTn id="527" presetID="6" presetClass="emph" presetSubtype="0" repeatCount="indefinite" fill="hold" grpId="0" nodeType="withEffect">
                                  <p:stCondLst>
                                    <p:cond delay="2500"/>
                                  </p:stCondLst>
                                  <p:childTnLst>
                                    <p:animScale>
                                      <p:cBhvr>
                                        <p:cTn id="528" dur="7000" fill="hold"/>
                                        <p:tgtEl>
                                          <p:spTgt spid="565"/>
                                        </p:tgtEl>
                                      </p:cBhvr>
                                      <p:by x="150000" y="150000"/>
                                    </p:animScale>
                                  </p:childTnLst>
                                </p:cTn>
                              </p:par>
                              <p:par>
                                <p:cTn id="529" presetID="42" presetClass="path" presetSubtype="0" repeatCount="indefinite" accel="50000" decel="50000" fill="hold" grpId="2" nodeType="withEffect">
                                  <p:stCondLst>
                                    <p:cond delay="2500"/>
                                  </p:stCondLst>
                                  <p:childTnLst>
                                    <p:animMotion origin="layout" path="M -3.88889E-6 0.00433 L -3.88889E-6 0.58457 " pathEditMode="relative" rAng="0" ptsTypes="AA">
                                      <p:cBhvr>
                                        <p:cTn id="530" dur="7000" fill="hold"/>
                                        <p:tgtEl>
                                          <p:spTgt spid="566"/>
                                        </p:tgtEl>
                                        <p:attrNameLst>
                                          <p:attrName>ppt_x</p:attrName>
                                          <p:attrName>ppt_y</p:attrName>
                                        </p:attrNameLst>
                                      </p:cBhvr>
                                      <p:rCtr x="0" y="29012"/>
                                    </p:animMotion>
                                  </p:childTnLst>
                                </p:cTn>
                              </p:par>
                              <p:par>
                                <p:cTn id="531" presetID="42" presetClass="path" presetSubtype="0" repeatCount="indefinite" accel="50000" decel="50000" fill="hold" grpId="1" nodeType="withEffect">
                                  <p:stCondLst>
                                    <p:cond delay="2500"/>
                                  </p:stCondLst>
                                  <p:childTnLst>
                                    <p:animMotion origin="layout" path="M -3.88889E-6 0.00432 L -3.88889E-6 0.58395 " pathEditMode="relative" rAng="0" ptsTypes="AA">
                                      <p:cBhvr>
                                        <p:cTn id="532" dur="7000" fill="hold"/>
                                        <p:tgtEl>
                                          <p:spTgt spid="565"/>
                                        </p:tgtEl>
                                        <p:attrNameLst>
                                          <p:attrName>ppt_x</p:attrName>
                                          <p:attrName>ppt_y</p:attrName>
                                        </p:attrNameLst>
                                      </p:cBhvr>
                                      <p:rCtr x="0" y="28981"/>
                                    </p:animMotion>
                                  </p:childTnLst>
                                </p:cTn>
                              </p:par>
                              <p:par>
                                <p:cTn id="533" presetID="26" presetClass="emph" presetSubtype="0" repeatCount="indefinite" fill="hold" grpId="0" nodeType="withEffect">
                                  <p:stCondLst>
                                    <p:cond delay="0"/>
                                  </p:stCondLst>
                                  <p:childTnLst>
                                    <p:animEffect transition="out" filter="fade">
                                      <p:cBhvr>
                                        <p:cTn id="534" dur="1000" tmFilter="0, 0; .2, .5; .8, .5; 1, 0"/>
                                        <p:tgtEl>
                                          <p:spTgt spid="760"/>
                                        </p:tgtEl>
                                      </p:cBhvr>
                                    </p:animEffect>
                                    <p:animScale>
                                      <p:cBhvr>
                                        <p:cTn id="535" dur="500" autoRev="1" fill="hold"/>
                                        <p:tgtEl>
                                          <p:spTgt spid="760"/>
                                        </p:tgtEl>
                                      </p:cBhvr>
                                      <p:by x="105000" y="105000"/>
                                    </p:animScale>
                                  </p:childTnLst>
                                </p:cTn>
                              </p:par>
                              <p:par>
                                <p:cTn id="536" presetID="6" presetClass="emph" presetSubtype="0" repeatCount="indefinite" fill="hold" grpId="1" nodeType="withEffect">
                                  <p:stCondLst>
                                    <p:cond delay="0"/>
                                  </p:stCondLst>
                                  <p:childTnLst>
                                    <p:animScale>
                                      <p:cBhvr>
                                        <p:cTn id="537" dur="7000" fill="hold"/>
                                        <p:tgtEl>
                                          <p:spTgt spid="760"/>
                                        </p:tgtEl>
                                      </p:cBhvr>
                                      <p:by x="150000" y="150000"/>
                                    </p:animScale>
                                  </p:childTnLst>
                                </p:cTn>
                              </p:par>
                              <p:par>
                                <p:cTn id="538" presetID="6" presetClass="emph" presetSubtype="0" repeatCount="indefinite" fill="hold" grpId="0" nodeType="withEffect">
                                  <p:stCondLst>
                                    <p:cond delay="0"/>
                                  </p:stCondLst>
                                  <p:childTnLst>
                                    <p:animScale>
                                      <p:cBhvr>
                                        <p:cTn id="539" dur="7000" fill="hold"/>
                                        <p:tgtEl>
                                          <p:spTgt spid="759"/>
                                        </p:tgtEl>
                                      </p:cBhvr>
                                      <p:by x="150000" y="150000"/>
                                    </p:animScale>
                                  </p:childTnLst>
                                </p:cTn>
                              </p:par>
                              <p:par>
                                <p:cTn id="540" presetID="42" presetClass="path" presetSubtype="0" repeatCount="indefinite" accel="50000" decel="50000" fill="hold" grpId="2" nodeType="withEffect">
                                  <p:stCondLst>
                                    <p:cond delay="0"/>
                                  </p:stCondLst>
                                  <p:childTnLst>
                                    <p:animMotion origin="layout" path="M 1.38889E-6 -3.45679E-6 L 1.38889E-6 0.58025 " pathEditMode="relative" rAng="0" ptsTypes="AA">
                                      <p:cBhvr>
                                        <p:cTn id="541" dur="7000" fill="hold"/>
                                        <p:tgtEl>
                                          <p:spTgt spid="760"/>
                                        </p:tgtEl>
                                        <p:attrNameLst>
                                          <p:attrName>ppt_x</p:attrName>
                                          <p:attrName>ppt_y</p:attrName>
                                        </p:attrNameLst>
                                      </p:cBhvr>
                                      <p:rCtr x="0" y="29012"/>
                                    </p:animMotion>
                                  </p:childTnLst>
                                </p:cTn>
                              </p:par>
                              <p:par>
                                <p:cTn id="542" presetID="42" presetClass="path" presetSubtype="0" repeatCount="indefinite" accel="50000" decel="50000" fill="hold" grpId="1" nodeType="withEffect">
                                  <p:stCondLst>
                                    <p:cond delay="0"/>
                                  </p:stCondLst>
                                  <p:childTnLst>
                                    <p:animMotion origin="layout" path="M 1.38889E-6 -7.40741E-7 L 1.38889E-6 0.57963 " pathEditMode="relative" rAng="0" ptsTypes="AA">
                                      <p:cBhvr>
                                        <p:cTn id="543" dur="7000" fill="hold"/>
                                        <p:tgtEl>
                                          <p:spTgt spid="759"/>
                                        </p:tgtEl>
                                        <p:attrNameLst>
                                          <p:attrName>ppt_x</p:attrName>
                                          <p:attrName>ppt_y</p:attrName>
                                        </p:attrNameLst>
                                      </p:cBhvr>
                                      <p:rCtr x="0" y="28981"/>
                                    </p:animMotion>
                                  </p:childTnLst>
                                </p:cTn>
                              </p:par>
                              <p:par>
                                <p:cTn id="544" presetID="26" presetClass="emph" presetSubtype="0" repeatCount="indefinite" fill="hold" grpId="0" nodeType="withEffect">
                                  <p:stCondLst>
                                    <p:cond delay="0"/>
                                  </p:stCondLst>
                                  <p:childTnLst>
                                    <p:animEffect transition="out" filter="fade">
                                      <p:cBhvr>
                                        <p:cTn id="545" dur="1000" tmFilter="0, 0; .2, .5; .8, .5; 1, 0"/>
                                        <p:tgtEl>
                                          <p:spTgt spid="762"/>
                                        </p:tgtEl>
                                      </p:cBhvr>
                                    </p:animEffect>
                                    <p:animScale>
                                      <p:cBhvr>
                                        <p:cTn id="546" dur="500" autoRev="1" fill="hold"/>
                                        <p:tgtEl>
                                          <p:spTgt spid="762"/>
                                        </p:tgtEl>
                                      </p:cBhvr>
                                      <p:by x="105000" y="105000"/>
                                    </p:animScale>
                                  </p:childTnLst>
                                </p:cTn>
                              </p:par>
                              <p:par>
                                <p:cTn id="547" presetID="6" presetClass="emph" presetSubtype="0" repeatCount="indefinite" fill="hold" grpId="1" nodeType="withEffect">
                                  <p:stCondLst>
                                    <p:cond delay="0"/>
                                  </p:stCondLst>
                                  <p:childTnLst>
                                    <p:animScale>
                                      <p:cBhvr>
                                        <p:cTn id="548" dur="7000" fill="hold"/>
                                        <p:tgtEl>
                                          <p:spTgt spid="762"/>
                                        </p:tgtEl>
                                      </p:cBhvr>
                                      <p:by x="150000" y="150000"/>
                                    </p:animScale>
                                  </p:childTnLst>
                                </p:cTn>
                              </p:par>
                              <p:par>
                                <p:cTn id="549" presetID="6" presetClass="emph" presetSubtype="0" repeatCount="indefinite" fill="hold" grpId="0" nodeType="withEffect">
                                  <p:stCondLst>
                                    <p:cond delay="0"/>
                                  </p:stCondLst>
                                  <p:childTnLst>
                                    <p:animScale>
                                      <p:cBhvr>
                                        <p:cTn id="550" dur="7000" fill="hold"/>
                                        <p:tgtEl>
                                          <p:spTgt spid="761"/>
                                        </p:tgtEl>
                                      </p:cBhvr>
                                      <p:by x="150000" y="150000"/>
                                    </p:animScale>
                                  </p:childTnLst>
                                </p:cTn>
                              </p:par>
                              <p:par>
                                <p:cTn id="551" presetID="42" presetClass="path" presetSubtype="0" repeatCount="indefinite" accel="50000" decel="50000" fill="hold" grpId="2" nodeType="withEffect">
                                  <p:stCondLst>
                                    <p:cond delay="0"/>
                                  </p:stCondLst>
                                  <p:childTnLst>
                                    <p:animMotion origin="layout" path="M 1.38889E-6 -3.45679E-6 L 1.38889E-6 0.58025 " pathEditMode="relative" rAng="0" ptsTypes="AA">
                                      <p:cBhvr>
                                        <p:cTn id="552" dur="7000" fill="hold"/>
                                        <p:tgtEl>
                                          <p:spTgt spid="762"/>
                                        </p:tgtEl>
                                        <p:attrNameLst>
                                          <p:attrName>ppt_x</p:attrName>
                                          <p:attrName>ppt_y</p:attrName>
                                        </p:attrNameLst>
                                      </p:cBhvr>
                                      <p:rCtr x="0" y="29012"/>
                                    </p:animMotion>
                                  </p:childTnLst>
                                </p:cTn>
                              </p:par>
                              <p:par>
                                <p:cTn id="553" presetID="42" presetClass="path" presetSubtype="0" repeatCount="indefinite" accel="50000" decel="50000" fill="hold" grpId="1" nodeType="withEffect">
                                  <p:stCondLst>
                                    <p:cond delay="0"/>
                                  </p:stCondLst>
                                  <p:childTnLst>
                                    <p:animMotion origin="layout" path="M 1.38889E-6 -7.40741E-7 L 1.38889E-6 0.57963 " pathEditMode="relative" rAng="0" ptsTypes="AA">
                                      <p:cBhvr>
                                        <p:cTn id="554" dur="7000" fill="hold"/>
                                        <p:tgtEl>
                                          <p:spTgt spid="761"/>
                                        </p:tgtEl>
                                        <p:attrNameLst>
                                          <p:attrName>ppt_x</p:attrName>
                                          <p:attrName>ppt_y</p:attrName>
                                        </p:attrNameLst>
                                      </p:cBhvr>
                                      <p:rCtr x="0" y="28981"/>
                                    </p:animMotion>
                                  </p:childTnLst>
                                </p:cTn>
                              </p:par>
                              <p:par>
                                <p:cTn id="555" presetID="26" presetClass="emph" presetSubtype="0" repeatCount="indefinite" fill="hold" grpId="0" nodeType="withEffect">
                                  <p:stCondLst>
                                    <p:cond delay="0"/>
                                  </p:stCondLst>
                                  <p:childTnLst>
                                    <p:animEffect transition="out" filter="fade">
                                      <p:cBhvr>
                                        <p:cTn id="556" dur="1000" tmFilter="0, 0; .2, .5; .8, .5; 1, 0"/>
                                        <p:tgtEl>
                                          <p:spTgt spid="764"/>
                                        </p:tgtEl>
                                      </p:cBhvr>
                                    </p:animEffect>
                                    <p:animScale>
                                      <p:cBhvr>
                                        <p:cTn id="557" dur="500" autoRev="1" fill="hold"/>
                                        <p:tgtEl>
                                          <p:spTgt spid="764"/>
                                        </p:tgtEl>
                                      </p:cBhvr>
                                      <p:by x="105000" y="105000"/>
                                    </p:animScale>
                                  </p:childTnLst>
                                </p:cTn>
                              </p:par>
                              <p:par>
                                <p:cTn id="558" presetID="6" presetClass="emph" presetSubtype="0" repeatCount="indefinite" fill="hold" grpId="1" nodeType="withEffect">
                                  <p:stCondLst>
                                    <p:cond delay="0"/>
                                  </p:stCondLst>
                                  <p:childTnLst>
                                    <p:animScale>
                                      <p:cBhvr>
                                        <p:cTn id="559" dur="7000" fill="hold"/>
                                        <p:tgtEl>
                                          <p:spTgt spid="764"/>
                                        </p:tgtEl>
                                      </p:cBhvr>
                                      <p:by x="150000" y="150000"/>
                                    </p:animScale>
                                  </p:childTnLst>
                                </p:cTn>
                              </p:par>
                              <p:par>
                                <p:cTn id="560" presetID="6" presetClass="emph" presetSubtype="0" repeatCount="indefinite" fill="hold" grpId="0" nodeType="withEffect">
                                  <p:stCondLst>
                                    <p:cond delay="0"/>
                                  </p:stCondLst>
                                  <p:childTnLst>
                                    <p:animScale>
                                      <p:cBhvr>
                                        <p:cTn id="561" dur="7000" fill="hold"/>
                                        <p:tgtEl>
                                          <p:spTgt spid="763"/>
                                        </p:tgtEl>
                                      </p:cBhvr>
                                      <p:by x="150000" y="150000"/>
                                    </p:animScale>
                                  </p:childTnLst>
                                </p:cTn>
                              </p:par>
                              <p:par>
                                <p:cTn id="562" presetID="42" presetClass="path" presetSubtype="0" repeatCount="indefinite" accel="50000" decel="50000" fill="hold" grpId="2" nodeType="withEffect">
                                  <p:stCondLst>
                                    <p:cond delay="0"/>
                                  </p:stCondLst>
                                  <p:childTnLst>
                                    <p:animMotion origin="layout" path="M 1.38889E-6 -3.45679E-6 L 1.38889E-6 0.58025 " pathEditMode="relative" rAng="0" ptsTypes="AA">
                                      <p:cBhvr>
                                        <p:cTn id="563" dur="7000" fill="hold"/>
                                        <p:tgtEl>
                                          <p:spTgt spid="764"/>
                                        </p:tgtEl>
                                        <p:attrNameLst>
                                          <p:attrName>ppt_x</p:attrName>
                                          <p:attrName>ppt_y</p:attrName>
                                        </p:attrNameLst>
                                      </p:cBhvr>
                                      <p:rCtr x="0" y="29012"/>
                                    </p:animMotion>
                                  </p:childTnLst>
                                </p:cTn>
                              </p:par>
                              <p:par>
                                <p:cTn id="564" presetID="42" presetClass="path" presetSubtype="0" repeatCount="indefinite" accel="50000" decel="50000" fill="hold" grpId="1" nodeType="withEffect">
                                  <p:stCondLst>
                                    <p:cond delay="0"/>
                                  </p:stCondLst>
                                  <p:childTnLst>
                                    <p:animMotion origin="layout" path="M 1.38889E-6 -7.40741E-7 L 1.38889E-6 0.57963 " pathEditMode="relative" rAng="0" ptsTypes="AA">
                                      <p:cBhvr>
                                        <p:cTn id="565" dur="7000" fill="hold"/>
                                        <p:tgtEl>
                                          <p:spTgt spid="763"/>
                                        </p:tgtEl>
                                        <p:attrNameLst>
                                          <p:attrName>ppt_x</p:attrName>
                                          <p:attrName>ppt_y</p:attrName>
                                        </p:attrNameLst>
                                      </p:cBhvr>
                                      <p:rCtr x="0" y="28981"/>
                                    </p:animMotion>
                                  </p:childTnLst>
                                </p:cTn>
                              </p:par>
                              <p:par>
                                <p:cTn id="566" presetID="26" presetClass="emph" presetSubtype="0" repeatCount="indefinite" fill="hold" grpId="0" nodeType="withEffect">
                                  <p:stCondLst>
                                    <p:cond delay="0"/>
                                  </p:stCondLst>
                                  <p:childTnLst>
                                    <p:animEffect transition="out" filter="fade">
                                      <p:cBhvr>
                                        <p:cTn id="567" dur="1000" tmFilter="0, 0; .2, .5; .8, .5; 1, 0"/>
                                        <p:tgtEl>
                                          <p:spTgt spid="766"/>
                                        </p:tgtEl>
                                      </p:cBhvr>
                                    </p:animEffect>
                                    <p:animScale>
                                      <p:cBhvr>
                                        <p:cTn id="568" dur="500" autoRev="1" fill="hold"/>
                                        <p:tgtEl>
                                          <p:spTgt spid="766"/>
                                        </p:tgtEl>
                                      </p:cBhvr>
                                      <p:by x="105000" y="105000"/>
                                    </p:animScale>
                                  </p:childTnLst>
                                </p:cTn>
                              </p:par>
                              <p:par>
                                <p:cTn id="569" presetID="6" presetClass="emph" presetSubtype="0" repeatCount="indefinite" fill="hold" grpId="1" nodeType="withEffect">
                                  <p:stCondLst>
                                    <p:cond delay="0"/>
                                  </p:stCondLst>
                                  <p:childTnLst>
                                    <p:animScale>
                                      <p:cBhvr>
                                        <p:cTn id="570" dur="7000" fill="hold"/>
                                        <p:tgtEl>
                                          <p:spTgt spid="766"/>
                                        </p:tgtEl>
                                      </p:cBhvr>
                                      <p:by x="150000" y="150000"/>
                                    </p:animScale>
                                  </p:childTnLst>
                                </p:cTn>
                              </p:par>
                              <p:par>
                                <p:cTn id="571" presetID="6" presetClass="emph" presetSubtype="0" repeatCount="indefinite" fill="hold" grpId="0" nodeType="withEffect">
                                  <p:stCondLst>
                                    <p:cond delay="0"/>
                                  </p:stCondLst>
                                  <p:childTnLst>
                                    <p:animScale>
                                      <p:cBhvr>
                                        <p:cTn id="572" dur="7000" fill="hold"/>
                                        <p:tgtEl>
                                          <p:spTgt spid="765"/>
                                        </p:tgtEl>
                                      </p:cBhvr>
                                      <p:by x="150000" y="150000"/>
                                    </p:animScale>
                                  </p:childTnLst>
                                </p:cTn>
                              </p:par>
                              <p:par>
                                <p:cTn id="573" presetID="42" presetClass="path" presetSubtype="0" repeatCount="indefinite" accel="50000" decel="50000" fill="hold" grpId="2" nodeType="withEffect">
                                  <p:stCondLst>
                                    <p:cond delay="0"/>
                                  </p:stCondLst>
                                  <p:childTnLst>
                                    <p:animMotion origin="layout" path="M 1.38889E-6 -3.45679E-6 L 1.38889E-6 0.58025 " pathEditMode="relative" rAng="0" ptsTypes="AA">
                                      <p:cBhvr>
                                        <p:cTn id="574" dur="7000" fill="hold"/>
                                        <p:tgtEl>
                                          <p:spTgt spid="766"/>
                                        </p:tgtEl>
                                        <p:attrNameLst>
                                          <p:attrName>ppt_x</p:attrName>
                                          <p:attrName>ppt_y</p:attrName>
                                        </p:attrNameLst>
                                      </p:cBhvr>
                                      <p:rCtr x="0" y="29012"/>
                                    </p:animMotion>
                                  </p:childTnLst>
                                </p:cTn>
                              </p:par>
                              <p:par>
                                <p:cTn id="575" presetID="42" presetClass="path" presetSubtype="0" repeatCount="indefinite" accel="50000" decel="50000" fill="hold" grpId="1" nodeType="withEffect">
                                  <p:stCondLst>
                                    <p:cond delay="0"/>
                                  </p:stCondLst>
                                  <p:childTnLst>
                                    <p:animMotion origin="layout" path="M 1.38889E-6 -7.40741E-7 L 1.38889E-6 0.57963 " pathEditMode="relative" rAng="0" ptsTypes="AA">
                                      <p:cBhvr>
                                        <p:cTn id="576" dur="7000" fill="hold"/>
                                        <p:tgtEl>
                                          <p:spTgt spid="765"/>
                                        </p:tgtEl>
                                        <p:attrNameLst>
                                          <p:attrName>ppt_x</p:attrName>
                                          <p:attrName>ppt_y</p:attrName>
                                        </p:attrNameLst>
                                      </p:cBhvr>
                                      <p:rCtr x="0" y="28981"/>
                                    </p:animMotion>
                                  </p:childTnLst>
                                </p:cTn>
                              </p:par>
                              <p:par>
                                <p:cTn id="577" presetID="26" presetClass="emph" presetSubtype="0" repeatCount="indefinite" fill="hold" grpId="0" nodeType="withEffect">
                                  <p:stCondLst>
                                    <p:cond delay="0"/>
                                  </p:stCondLst>
                                  <p:childTnLst>
                                    <p:animEffect transition="out" filter="fade">
                                      <p:cBhvr>
                                        <p:cTn id="578" dur="1000" tmFilter="0, 0; .2, .5; .8, .5; 1, 0"/>
                                        <p:tgtEl>
                                          <p:spTgt spid="768"/>
                                        </p:tgtEl>
                                      </p:cBhvr>
                                    </p:animEffect>
                                    <p:animScale>
                                      <p:cBhvr>
                                        <p:cTn id="579" dur="500" autoRev="1" fill="hold"/>
                                        <p:tgtEl>
                                          <p:spTgt spid="768"/>
                                        </p:tgtEl>
                                      </p:cBhvr>
                                      <p:by x="105000" y="105000"/>
                                    </p:animScale>
                                  </p:childTnLst>
                                </p:cTn>
                              </p:par>
                              <p:par>
                                <p:cTn id="580" presetID="6" presetClass="emph" presetSubtype="0" repeatCount="indefinite" fill="hold" grpId="1" nodeType="withEffect">
                                  <p:stCondLst>
                                    <p:cond delay="0"/>
                                  </p:stCondLst>
                                  <p:childTnLst>
                                    <p:animScale>
                                      <p:cBhvr>
                                        <p:cTn id="581" dur="7000" fill="hold"/>
                                        <p:tgtEl>
                                          <p:spTgt spid="768"/>
                                        </p:tgtEl>
                                      </p:cBhvr>
                                      <p:by x="150000" y="150000"/>
                                    </p:animScale>
                                  </p:childTnLst>
                                </p:cTn>
                              </p:par>
                              <p:par>
                                <p:cTn id="582" presetID="6" presetClass="emph" presetSubtype="0" repeatCount="indefinite" fill="hold" grpId="0" nodeType="withEffect">
                                  <p:stCondLst>
                                    <p:cond delay="0"/>
                                  </p:stCondLst>
                                  <p:childTnLst>
                                    <p:animScale>
                                      <p:cBhvr>
                                        <p:cTn id="583" dur="7000" fill="hold"/>
                                        <p:tgtEl>
                                          <p:spTgt spid="767"/>
                                        </p:tgtEl>
                                      </p:cBhvr>
                                      <p:by x="150000" y="150000"/>
                                    </p:animScale>
                                  </p:childTnLst>
                                </p:cTn>
                              </p:par>
                              <p:par>
                                <p:cTn id="584" presetID="42" presetClass="path" presetSubtype="0" repeatCount="indefinite" accel="50000" decel="50000" fill="hold" grpId="2" nodeType="withEffect">
                                  <p:stCondLst>
                                    <p:cond delay="0"/>
                                  </p:stCondLst>
                                  <p:childTnLst>
                                    <p:animMotion origin="layout" path="M 1.38889E-6 -3.45679E-6 L 1.38889E-6 0.58025 " pathEditMode="relative" rAng="0" ptsTypes="AA">
                                      <p:cBhvr>
                                        <p:cTn id="585" dur="7000" fill="hold"/>
                                        <p:tgtEl>
                                          <p:spTgt spid="768"/>
                                        </p:tgtEl>
                                        <p:attrNameLst>
                                          <p:attrName>ppt_x</p:attrName>
                                          <p:attrName>ppt_y</p:attrName>
                                        </p:attrNameLst>
                                      </p:cBhvr>
                                      <p:rCtr x="0" y="29012"/>
                                    </p:animMotion>
                                  </p:childTnLst>
                                </p:cTn>
                              </p:par>
                              <p:par>
                                <p:cTn id="586" presetID="42" presetClass="path" presetSubtype="0" repeatCount="indefinite" accel="50000" decel="50000" fill="hold" grpId="1" nodeType="withEffect">
                                  <p:stCondLst>
                                    <p:cond delay="0"/>
                                  </p:stCondLst>
                                  <p:childTnLst>
                                    <p:animMotion origin="layout" path="M 1.38889E-6 -7.40741E-7 L 1.38889E-6 0.57963 " pathEditMode="relative" rAng="0" ptsTypes="AA">
                                      <p:cBhvr>
                                        <p:cTn id="587" dur="7000" fill="hold"/>
                                        <p:tgtEl>
                                          <p:spTgt spid="767"/>
                                        </p:tgtEl>
                                        <p:attrNameLst>
                                          <p:attrName>ppt_x</p:attrName>
                                          <p:attrName>ppt_y</p:attrName>
                                        </p:attrNameLst>
                                      </p:cBhvr>
                                      <p:rCtr x="0" y="28981"/>
                                    </p:animMotion>
                                  </p:childTnLst>
                                </p:cTn>
                              </p:par>
                              <p:par>
                                <p:cTn id="588" presetID="26" presetClass="emph" presetSubtype="0" repeatCount="indefinite" fill="hold" grpId="0" nodeType="withEffect">
                                  <p:stCondLst>
                                    <p:cond delay="0"/>
                                  </p:stCondLst>
                                  <p:childTnLst>
                                    <p:animEffect transition="out" filter="fade">
                                      <p:cBhvr>
                                        <p:cTn id="589" dur="1000" tmFilter="0, 0; .2, .5; .8, .5; 1, 0"/>
                                        <p:tgtEl>
                                          <p:spTgt spid="770"/>
                                        </p:tgtEl>
                                      </p:cBhvr>
                                    </p:animEffect>
                                    <p:animScale>
                                      <p:cBhvr>
                                        <p:cTn id="590" dur="500" autoRev="1" fill="hold"/>
                                        <p:tgtEl>
                                          <p:spTgt spid="770"/>
                                        </p:tgtEl>
                                      </p:cBhvr>
                                      <p:by x="105000" y="105000"/>
                                    </p:animScale>
                                  </p:childTnLst>
                                </p:cTn>
                              </p:par>
                              <p:par>
                                <p:cTn id="591" presetID="6" presetClass="emph" presetSubtype="0" repeatCount="indefinite" fill="hold" grpId="1" nodeType="withEffect">
                                  <p:stCondLst>
                                    <p:cond delay="0"/>
                                  </p:stCondLst>
                                  <p:childTnLst>
                                    <p:animScale>
                                      <p:cBhvr>
                                        <p:cTn id="592" dur="7000" fill="hold"/>
                                        <p:tgtEl>
                                          <p:spTgt spid="770"/>
                                        </p:tgtEl>
                                      </p:cBhvr>
                                      <p:by x="150000" y="150000"/>
                                    </p:animScale>
                                  </p:childTnLst>
                                </p:cTn>
                              </p:par>
                              <p:par>
                                <p:cTn id="593" presetID="6" presetClass="emph" presetSubtype="0" repeatCount="indefinite" fill="hold" grpId="0" nodeType="withEffect">
                                  <p:stCondLst>
                                    <p:cond delay="0"/>
                                  </p:stCondLst>
                                  <p:childTnLst>
                                    <p:animScale>
                                      <p:cBhvr>
                                        <p:cTn id="594" dur="7000" fill="hold"/>
                                        <p:tgtEl>
                                          <p:spTgt spid="769"/>
                                        </p:tgtEl>
                                      </p:cBhvr>
                                      <p:by x="150000" y="150000"/>
                                    </p:animScale>
                                  </p:childTnLst>
                                </p:cTn>
                              </p:par>
                              <p:par>
                                <p:cTn id="595" presetID="42" presetClass="path" presetSubtype="0" repeatCount="indefinite" accel="50000" decel="50000" fill="hold" grpId="2" nodeType="withEffect">
                                  <p:stCondLst>
                                    <p:cond delay="0"/>
                                  </p:stCondLst>
                                  <p:childTnLst>
                                    <p:animMotion origin="layout" path="M 1.38889E-6 -3.45679E-6 L 1.38889E-6 0.58025 " pathEditMode="relative" rAng="0" ptsTypes="AA">
                                      <p:cBhvr>
                                        <p:cTn id="596" dur="7000" fill="hold"/>
                                        <p:tgtEl>
                                          <p:spTgt spid="770"/>
                                        </p:tgtEl>
                                        <p:attrNameLst>
                                          <p:attrName>ppt_x</p:attrName>
                                          <p:attrName>ppt_y</p:attrName>
                                        </p:attrNameLst>
                                      </p:cBhvr>
                                      <p:rCtr x="0" y="29012"/>
                                    </p:animMotion>
                                  </p:childTnLst>
                                </p:cTn>
                              </p:par>
                              <p:par>
                                <p:cTn id="597" presetID="42" presetClass="path" presetSubtype="0" repeatCount="indefinite" accel="50000" decel="50000" fill="hold" grpId="1" nodeType="withEffect">
                                  <p:stCondLst>
                                    <p:cond delay="0"/>
                                  </p:stCondLst>
                                  <p:childTnLst>
                                    <p:animMotion origin="layout" path="M 1.38889E-6 -7.40741E-7 L 1.38889E-6 0.57963 " pathEditMode="relative" rAng="0" ptsTypes="AA">
                                      <p:cBhvr>
                                        <p:cTn id="598" dur="7000" fill="hold"/>
                                        <p:tgtEl>
                                          <p:spTgt spid="769"/>
                                        </p:tgtEl>
                                        <p:attrNameLst>
                                          <p:attrName>ppt_x</p:attrName>
                                          <p:attrName>ppt_y</p:attrName>
                                        </p:attrNameLst>
                                      </p:cBhvr>
                                      <p:rCtr x="0" y="28981"/>
                                    </p:animMotion>
                                  </p:childTnLst>
                                </p:cTn>
                              </p:par>
                              <p:par>
                                <p:cTn id="599" presetID="26" presetClass="emph" presetSubtype="0" repeatCount="indefinite" fill="hold" grpId="0" nodeType="withEffect">
                                  <p:stCondLst>
                                    <p:cond delay="0"/>
                                  </p:stCondLst>
                                  <p:childTnLst>
                                    <p:animEffect transition="out" filter="fade">
                                      <p:cBhvr>
                                        <p:cTn id="600" dur="1000" tmFilter="0, 0; .2, .5; .8, .5; 1, 0"/>
                                        <p:tgtEl>
                                          <p:spTgt spid="772"/>
                                        </p:tgtEl>
                                      </p:cBhvr>
                                    </p:animEffect>
                                    <p:animScale>
                                      <p:cBhvr>
                                        <p:cTn id="601" dur="500" autoRev="1" fill="hold"/>
                                        <p:tgtEl>
                                          <p:spTgt spid="772"/>
                                        </p:tgtEl>
                                      </p:cBhvr>
                                      <p:by x="105000" y="105000"/>
                                    </p:animScale>
                                  </p:childTnLst>
                                </p:cTn>
                              </p:par>
                              <p:par>
                                <p:cTn id="602" presetID="6" presetClass="emph" presetSubtype="0" repeatCount="indefinite" fill="hold" grpId="1" nodeType="withEffect">
                                  <p:stCondLst>
                                    <p:cond delay="0"/>
                                  </p:stCondLst>
                                  <p:childTnLst>
                                    <p:animScale>
                                      <p:cBhvr>
                                        <p:cTn id="603" dur="7000" fill="hold"/>
                                        <p:tgtEl>
                                          <p:spTgt spid="772"/>
                                        </p:tgtEl>
                                      </p:cBhvr>
                                      <p:by x="150000" y="150000"/>
                                    </p:animScale>
                                  </p:childTnLst>
                                </p:cTn>
                              </p:par>
                              <p:par>
                                <p:cTn id="604" presetID="6" presetClass="emph" presetSubtype="0" repeatCount="indefinite" fill="hold" grpId="0" nodeType="withEffect">
                                  <p:stCondLst>
                                    <p:cond delay="0"/>
                                  </p:stCondLst>
                                  <p:childTnLst>
                                    <p:animScale>
                                      <p:cBhvr>
                                        <p:cTn id="605" dur="7000" fill="hold"/>
                                        <p:tgtEl>
                                          <p:spTgt spid="771"/>
                                        </p:tgtEl>
                                      </p:cBhvr>
                                      <p:by x="150000" y="150000"/>
                                    </p:animScale>
                                  </p:childTnLst>
                                </p:cTn>
                              </p:par>
                              <p:par>
                                <p:cTn id="606" presetID="42" presetClass="path" presetSubtype="0" repeatCount="indefinite" accel="50000" decel="50000" fill="hold" grpId="2" nodeType="withEffect">
                                  <p:stCondLst>
                                    <p:cond delay="0"/>
                                  </p:stCondLst>
                                  <p:childTnLst>
                                    <p:animMotion origin="layout" path="M 1.38889E-6 -3.45679E-6 L 1.38889E-6 0.58025 " pathEditMode="relative" rAng="0" ptsTypes="AA">
                                      <p:cBhvr>
                                        <p:cTn id="607" dur="7000" fill="hold"/>
                                        <p:tgtEl>
                                          <p:spTgt spid="772"/>
                                        </p:tgtEl>
                                        <p:attrNameLst>
                                          <p:attrName>ppt_x</p:attrName>
                                          <p:attrName>ppt_y</p:attrName>
                                        </p:attrNameLst>
                                      </p:cBhvr>
                                      <p:rCtr x="0" y="29012"/>
                                    </p:animMotion>
                                  </p:childTnLst>
                                </p:cTn>
                              </p:par>
                              <p:par>
                                <p:cTn id="608" presetID="42" presetClass="path" presetSubtype="0" repeatCount="indefinite" accel="50000" decel="50000" fill="hold" grpId="1" nodeType="withEffect">
                                  <p:stCondLst>
                                    <p:cond delay="0"/>
                                  </p:stCondLst>
                                  <p:childTnLst>
                                    <p:animMotion origin="layout" path="M 1.38889E-6 -7.40741E-7 L 1.38889E-6 0.57963 " pathEditMode="relative" rAng="0" ptsTypes="AA">
                                      <p:cBhvr>
                                        <p:cTn id="609" dur="7000" fill="hold"/>
                                        <p:tgtEl>
                                          <p:spTgt spid="771"/>
                                        </p:tgtEl>
                                        <p:attrNameLst>
                                          <p:attrName>ppt_x</p:attrName>
                                          <p:attrName>ppt_y</p:attrName>
                                        </p:attrNameLst>
                                      </p:cBhvr>
                                      <p:rCtr x="0" y="28981"/>
                                    </p:animMotion>
                                  </p:childTnLst>
                                </p:cTn>
                              </p:par>
                              <p:par>
                                <p:cTn id="610" presetID="26" presetClass="emph" presetSubtype="0" repeatCount="indefinite" fill="hold" grpId="0" nodeType="withEffect">
                                  <p:stCondLst>
                                    <p:cond delay="0"/>
                                  </p:stCondLst>
                                  <p:childTnLst>
                                    <p:animEffect transition="out" filter="fade">
                                      <p:cBhvr>
                                        <p:cTn id="611" dur="1000" tmFilter="0, 0; .2, .5; .8, .5; 1, 0"/>
                                        <p:tgtEl>
                                          <p:spTgt spid="774"/>
                                        </p:tgtEl>
                                      </p:cBhvr>
                                    </p:animEffect>
                                    <p:animScale>
                                      <p:cBhvr>
                                        <p:cTn id="612" dur="500" autoRev="1" fill="hold"/>
                                        <p:tgtEl>
                                          <p:spTgt spid="774"/>
                                        </p:tgtEl>
                                      </p:cBhvr>
                                      <p:by x="105000" y="105000"/>
                                    </p:animScale>
                                  </p:childTnLst>
                                </p:cTn>
                              </p:par>
                              <p:par>
                                <p:cTn id="613" presetID="6" presetClass="emph" presetSubtype="0" repeatCount="indefinite" fill="hold" grpId="1" nodeType="withEffect">
                                  <p:stCondLst>
                                    <p:cond delay="0"/>
                                  </p:stCondLst>
                                  <p:childTnLst>
                                    <p:animScale>
                                      <p:cBhvr>
                                        <p:cTn id="614" dur="7000" fill="hold"/>
                                        <p:tgtEl>
                                          <p:spTgt spid="774"/>
                                        </p:tgtEl>
                                      </p:cBhvr>
                                      <p:by x="150000" y="150000"/>
                                    </p:animScale>
                                  </p:childTnLst>
                                </p:cTn>
                              </p:par>
                              <p:par>
                                <p:cTn id="615" presetID="6" presetClass="emph" presetSubtype="0" repeatCount="indefinite" fill="hold" grpId="0" nodeType="withEffect">
                                  <p:stCondLst>
                                    <p:cond delay="0"/>
                                  </p:stCondLst>
                                  <p:childTnLst>
                                    <p:animScale>
                                      <p:cBhvr>
                                        <p:cTn id="616" dur="7000" fill="hold"/>
                                        <p:tgtEl>
                                          <p:spTgt spid="773"/>
                                        </p:tgtEl>
                                      </p:cBhvr>
                                      <p:by x="150000" y="150000"/>
                                    </p:animScale>
                                  </p:childTnLst>
                                </p:cTn>
                              </p:par>
                              <p:par>
                                <p:cTn id="617" presetID="42" presetClass="path" presetSubtype="0" repeatCount="indefinite" accel="50000" decel="50000" fill="hold" grpId="2" nodeType="withEffect">
                                  <p:stCondLst>
                                    <p:cond delay="0"/>
                                  </p:stCondLst>
                                  <p:childTnLst>
                                    <p:animMotion origin="layout" path="M 1.38889E-6 -3.45679E-6 L 1.38889E-6 0.58025 " pathEditMode="relative" rAng="0" ptsTypes="AA">
                                      <p:cBhvr>
                                        <p:cTn id="618" dur="7000" fill="hold"/>
                                        <p:tgtEl>
                                          <p:spTgt spid="774"/>
                                        </p:tgtEl>
                                        <p:attrNameLst>
                                          <p:attrName>ppt_x</p:attrName>
                                          <p:attrName>ppt_y</p:attrName>
                                        </p:attrNameLst>
                                      </p:cBhvr>
                                      <p:rCtr x="0" y="29012"/>
                                    </p:animMotion>
                                  </p:childTnLst>
                                </p:cTn>
                              </p:par>
                              <p:par>
                                <p:cTn id="619" presetID="42" presetClass="path" presetSubtype="0" repeatCount="indefinite" accel="50000" decel="50000" fill="hold" grpId="1" nodeType="withEffect">
                                  <p:stCondLst>
                                    <p:cond delay="0"/>
                                  </p:stCondLst>
                                  <p:childTnLst>
                                    <p:animMotion origin="layout" path="M 1.38889E-6 -7.40741E-7 L 1.38889E-6 0.57963 " pathEditMode="relative" rAng="0" ptsTypes="AA">
                                      <p:cBhvr>
                                        <p:cTn id="620" dur="7000" fill="hold"/>
                                        <p:tgtEl>
                                          <p:spTgt spid="773"/>
                                        </p:tgtEl>
                                        <p:attrNameLst>
                                          <p:attrName>ppt_x</p:attrName>
                                          <p:attrName>ppt_y</p:attrName>
                                        </p:attrNameLst>
                                      </p:cBhvr>
                                      <p:rCtr x="0" y="28981"/>
                                    </p:animMotion>
                                  </p:childTnLst>
                                </p:cTn>
                              </p:par>
                              <p:par>
                                <p:cTn id="621" presetID="26" presetClass="emph" presetSubtype="0" repeatCount="indefinite" fill="hold" grpId="0" nodeType="withEffect">
                                  <p:stCondLst>
                                    <p:cond delay="0"/>
                                  </p:stCondLst>
                                  <p:childTnLst>
                                    <p:animEffect transition="out" filter="fade">
                                      <p:cBhvr>
                                        <p:cTn id="622" dur="1000" tmFilter="0, 0; .2, .5; .8, .5; 1, 0"/>
                                        <p:tgtEl>
                                          <p:spTgt spid="776"/>
                                        </p:tgtEl>
                                      </p:cBhvr>
                                    </p:animEffect>
                                    <p:animScale>
                                      <p:cBhvr>
                                        <p:cTn id="623" dur="500" autoRev="1" fill="hold"/>
                                        <p:tgtEl>
                                          <p:spTgt spid="776"/>
                                        </p:tgtEl>
                                      </p:cBhvr>
                                      <p:by x="105000" y="105000"/>
                                    </p:animScale>
                                  </p:childTnLst>
                                </p:cTn>
                              </p:par>
                              <p:par>
                                <p:cTn id="624" presetID="6" presetClass="emph" presetSubtype="0" repeatCount="indefinite" fill="hold" grpId="1" nodeType="withEffect">
                                  <p:stCondLst>
                                    <p:cond delay="0"/>
                                  </p:stCondLst>
                                  <p:childTnLst>
                                    <p:animScale>
                                      <p:cBhvr>
                                        <p:cTn id="625" dur="7000" fill="hold"/>
                                        <p:tgtEl>
                                          <p:spTgt spid="776"/>
                                        </p:tgtEl>
                                      </p:cBhvr>
                                      <p:by x="150000" y="150000"/>
                                    </p:animScale>
                                  </p:childTnLst>
                                </p:cTn>
                              </p:par>
                              <p:par>
                                <p:cTn id="626" presetID="6" presetClass="emph" presetSubtype="0" repeatCount="indefinite" fill="hold" grpId="0" nodeType="withEffect">
                                  <p:stCondLst>
                                    <p:cond delay="0"/>
                                  </p:stCondLst>
                                  <p:childTnLst>
                                    <p:animScale>
                                      <p:cBhvr>
                                        <p:cTn id="627" dur="7000" fill="hold"/>
                                        <p:tgtEl>
                                          <p:spTgt spid="775"/>
                                        </p:tgtEl>
                                      </p:cBhvr>
                                      <p:by x="150000" y="150000"/>
                                    </p:animScale>
                                  </p:childTnLst>
                                </p:cTn>
                              </p:par>
                              <p:par>
                                <p:cTn id="628" presetID="42" presetClass="path" presetSubtype="0" repeatCount="indefinite" accel="50000" decel="50000" fill="hold" grpId="2" nodeType="withEffect">
                                  <p:stCondLst>
                                    <p:cond delay="0"/>
                                  </p:stCondLst>
                                  <p:childTnLst>
                                    <p:animMotion origin="layout" path="M 1.38889E-6 -3.45679E-6 L 1.38889E-6 0.58025 " pathEditMode="relative" rAng="0" ptsTypes="AA">
                                      <p:cBhvr>
                                        <p:cTn id="629" dur="7000" fill="hold"/>
                                        <p:tgtEl>
                                          <p:spTgt spid="776"/>
                                        </p:tgtEl>
                                        <p:attrNameLst>
                                          <p:attrName>ppt_x</p:attrName>
                                          <p:attrName>ppt_y</p:attrName>
                                        </p:attrNameLst>
                                      </p:cBhvr>
                                      <p:rCtr x="0" y="29012"/>
                                    </p:animMotion>
                                  </p:childTnLst>
                                </p:cTn>
                              </p:par>
                              <p:par>
                                <p:cTn id="630" presetID="42" presetClass="path" presetSubtype="0" repeatCount="indefinite" accel="50000" decel="50000" fill="hold" grpId="1" nodeType="withEffect">
                                  <p:stCondLst>
                                    <p:cond delay="0"/>
                                  </p:stCondLst>
                                  <p:childTnLst>
                                    <p:animMotion origin="layout" path="M 1.38889E-6 -7.40741E-7 L 1.38889E-6 0.57963 " pathEditMode="relative" rAng="0" ptsTypes="AA">
                                      <p:cBhvr>
                                        <p:cTn id="631" dur="7000" fill="hold"/>
                                        <p:tgtEl>
                                          <p:spTgt spid="775"/>
                                        </p:tgtEl>
                                        <p:attrNameLst>
                                          <p:attrName>ppt_x</p:attrName>
                                          <p:attrName>ppt_y</p:attrName>
                                        </p:attrNameLst>
                                      </p:cBhvr>
                                      <p:rCtr x="0" y="28981"/>
                                    </p:animMotion>
                                  </p:childTnLst>
                                </p:cTn>
                              </p:par>
                              <p:par>
                                <p:cTn id="632" presetID="26" presetClass="emph" presetSubtype="0" repeatCount="indefinite" fill="hold" grpId="0" nodeType="withEffect">
                                  <p:stCondLst>
                                    <p:cond delay="0"/>
                                  </p:stCondLst>
                                  <p:childTnLst>
                                    <p:animEffect transition="out" filter="fade">
                                      <p:cBhvr>
                                        <p:cTn id="633" dur="1000" tmFilter="0, 0; .2, .5; .8, .5; 1, 0"/>
                                        <p:tgtEl>
                                          <p:spTgt spid="778"/>
                                        </p:tgtEl>
                                      </p:cBhvr>
                                    </p:animEffect>
                                    <p:animScale>
                                      <p:cBhvr>
                                        <p:cTn id="634" dur="500" autoRev="1" fill="hold"/>
                                        <p:tgtEl>
                                          <p:spTgt spid="778"/>
                                        </p:tgtEl>
                                      </p:cBhvr>
                                      <p:by x="105000" y="105000"/>
                                    </p:animScale>
                                  </p:childTnLst>
                                </p:cTn>
                              </p:par>
                              <p:par>
                                <p:cTn id="635" presetID="6" presetClass="emph" presetSubtype="0" repeatCount="indefinite" fill="hold" grpId="1" nodeType="withEffect">
                                  <p:stCondLst>
                                    <p:cond delay="0"/>
                                  </p:stCondLst>
                                  <p:childTnLst>
                                    <p:animScale>
                                      <p:cBhvr>
                                        <p:cTn id="636" dur="7000" fill="hold"/>
                                        <p:tgtEl>
                                          <p:spTgt spid="778"/>
                                        </p:tgtEl>
                                      </p:cBhvr>
                                      <p:by x="150000" y="150000"/>
                                    </p:animScale>
                                  </p:childTnLst>
                                </p:cTn>
                              </p:par>
                              <p:par>
                                <p:cTn id="637" presetID="6" presetClass="emph" presetSubtype="0" repeatCount="indefinite" fill="hold" grpId="0" nodeType="withEffect">
                                  <p:stCondLst>
                                    <p:cond delay="0"/>
                                  </p:stCondLst>
                                  <p:childTnLst>
                                    <p:animScale>
                                      <p:cBhvr>
                                        <p:cTn id="638" dur="7000" fill="hold"/>
                                        <p:tgtEl>
                                          <p:spTgt spid="777"/>
                                        </p:tgtEl>
                                      </p:cBhvr>
                                      <p:by x="150000" y="150000"/>
                                    </p:animScale>
                                  </p:childTnLst>
                                </p:cTn>
                              </p:par>
                              <p:par>
                                <p:cTn id="639" presetID="42" presetClass="path" presetSubtype="0" repeatCount="indefinite" accel="50000" decel="50000" fill="hold" grpId="2" nodeType="withEffect">
                                  <p:stCondLst>
                                    <p:cond delay="0"/>
                                  </p:stCondLst>
                                  <p:childTnLst>
                                    <p:animMotion origin="layout" path="M 1.38889E-6 -3.45679E-6 L 1.38889E-6 0.58025 " pathEditMode="relative" rAng="0" ptsTypes="AA">
                                      <p:cBhvr>
                                        <p:cTn id="640" dur="7000" fill="hold"/>
                                        <p:tgtEl>
                                          <p:spTgt spid="778"/>
                                        </p:tgtEl>
                                        <p:attrNameLst>
                                          <p:attrName>ppt_x</p:attrName>
                                          <p:attrName>ppt_y</p:attrName>
                                        </p:attrNameLst>
                                      </p:cBhvr>
                                      <p:rCtr x="0" y="29012"/>
                                    </p:animMotion>
                                  </p:childTnLst>
                                </p:cTn>
                              </p:par>
                              <p:par>
                                <p:cTn id="641" presetID="42" presetClass="path" presetSubtype="0" repeatCount="indefinite" accel="50000" decel="50000" fill="hold" grpId="1" nodeType="withEffect">
                                  <p:stCondLst>
                                    <p:cond delay="0"/>
                                  </p:stCondLst>
                                  <p:childTnLst>
                                    <p:animMotion origin="layout" path="M 1.38889E-6 -7.40741E-7 L 1.38889E-6 0.57963 " pathEditMode="relative" rAng="0" ptsTypes="AA">
                                      <p:cBhvr>
                                        <p:cTn id="642" dur="7000" fill="hold"/>
                                        <p:tgtEl>
                                          <p:spTgt spid="777"/>
                                        </p:tgtEl>
                                        <p:attrNameLst>
                                          <p:attrName>ppt_x</p:attrName>
                                          <p:attrName>ppt_y</p:attrName>
                                        </p:attrNameLst>
                                      </p:cBhvr>
                                      <p:rCtr x="0" y="28981"/>
                                    </p:animMotion>
                                  </p:childTnLst>
                                </p:cTn>
                              </p:par>
                              <p:par>
                                <p:cTn id="643" presetID="26" presetClass="emph" presetSubtype="0" repeatCount="indefinite" fill="hold" grpId="0" nodeType="withEffect">
                                  <p:stCondLst>
                                    <p:cond delay="0"/>
                                  </p:stCondLst>
                                  <p:childTnLst>
                                    <p:animEffect transition="out" filter="fade">
                                      <p:cBhvr>
                                        <p:cTn id="644" dur="1000" tmFilter="0, 0; .2, .5; .8, .5; 1, 0"/>
                                        <p:tgtEl>
                                          <p:spTgt spid="780"/>
                                        </p:tgtEl>
                                      </p:cBhvr>
                                    </p:animEffect>
                                    <p:animScale>
                                      <p:cBhvr>
                                        <p:cTn id="645" dur="500" autoRev="1" fill="hold"/>
                                        <p:tgtEl>
                                          <p:spTgt spid="780"/>
                                        </p:tgtEl>
                                      </p:cBhvr>
                                      <p:by x="105000" y="105000"/>
                                    </p:animScale>
                                  </p:childTnLst>
                                </p:cTn>
                              </p:par>
                              <p:par>
                                <p:cTn id="646" presetID="6" presetClass="emph" presetSubtype="0" repeatCount="indefinite" fill="hold" grpId="1" nodeType="withEffect">
                                  <p:stCondLst>
                                    <p:cond delay="0"/>
                                  </p:stCondLst>
                                  <p:childTnLst>
                                    <p:animScale>
                                      <p:cBhvr>
                                        <p:cTn id="647" dur="7000" fill="hold"/>
                                        <p:tgtEl>
                                          <p:spTgt spid="780"/>
                                        </p:tgtEl>
                                      </p:cBhvr>
                                      <p:by x="150000" y="150000"/>
                                    </p:animScale>
                                  </p:childTnLst>
                                </p:cTn>
                              </p:par>
                              <p:par>
                                <p:cTn id="648" presetID="6" presetClass="emph" presetSubtype="0" repeatCount="indefinite" fill="hold" grpId="0" nodeType="withEffect">
                                  <p:stCondLst>
                                    <p:cond delay="0"/>
                                  </p:stCondLst>
                                  <p:childTnLst>
                                    <p:animScale>
                                      <p:cBhvr>
                                        <p:cTn id="649" dur="7000" fill="hold"/>
                                        <p:tgtEl>
                                          <p:spTgt spid="779"/>
                                        </p:tgtEl>
                                      </p:cBhvr>
                                      <p:by x="150000" y="150000"/>
                                    </p:animScale>
                                  </p:childTnLst>
                                </p:cTn>
                              </p:par>
                              <p:par>
                                <p:cTn id="650" presetID="42" presetClass="path" presetSubtype="0" repeatCount="indefinite" accel="50000" decel="50000" fill="hold" grpId="2" nodeType="withEffect">
                                  <p:stCondLst>
                                    <p:cond delay="0"/>
                                  </p:stCondLst>
                                  <p:childTnLst>
                                    <p:animMotion origin="layout" path="M 1.38889E-6 -3.45679E-6 L 1.38889E-6 0.58025 " pathEditMode="relative" rAng="0" ptsTypes="AA">
                                      <p:cBhvr>
                                        <p:cTn id="651" dur="7000" fill="hold"/>
                                        <p:tgtEl>
                                          <p:spTgt spid="780"/>
                                        </p:tgtEl>
                                        <p:attrNameLst>
                                          <p:attrName>ppt_x</p:attrName>
                                          <p:attrName>ppt_y</p:attrName>
                                        </p:attrNameLst>
                                      </p:cBhvr>
                                      <p:rCtr x="0" y="29012"/>
                                    </p:animMotion>
                                  </p:childTnLst>
                                </p:cTn>
                              </p:par>
                              <p:par>
                                <p:cTn id="652" presetID="42" presetClass="path" presetSubtype="0" repeatCount="indefinite" accel="50000" decel="50000" fill="hold" grpId="1" nodeType="withEffect">
                                  <p:stCondLst>
                                    <p:cond delay="0"/>
                                  </p:stCondLst>
                                  <p:childTnLst>
                                    <p:animMotion origin="layout" path="M 1.38889E-6 -7.40741E-7 L 1.38889E-6 0.57963 " pathEditMode="relative" rAng="0" ptsTypes="AA">
                                      <p:cBhvr>
                                        <p:cTn id="653" dur="7000" fill="hold"/>
                                        <p:tgtEl>
                                          <p:spTgt spid="779"/>
                                        </p:tgtEl>
                                        <p:attrNameLst>
                                          <p:attrName>ppt_x</p:attrName>
                                          <p:attrName>ppt_y</p:attrName>
                                        </p:attrNameLst>
                                      </p:cBhvr>
                                      <p:rCtr x="0" y="28981"/>
                                    </p:animMotion>
                                  </p:childTnLst>
                                </p:cTn>
                              </p:par>
                              <p:par>
                                <p:cTn id="654" presetID="26" presetClass="emph" presetSubtype="0" repeatCount="indefinite" fill="hold" grpId="0" nodeType="withEffect">
                                  <p:stCondLst>
                                    <p:cond delay="0"/>
                                  </p:stCondLst>
                                  <p:childTnLst>
                                    <p:animEffect transition="out" filter="fade">
                                      <p:cBhvr>
                                        <p:cTn id="655" dur="1000" tmFilter="0, 0; .2, .5; .8, .5; 1, 0"/>
                                        <p:tgtEl>
                                          <p:spTgt spid="782"/>
                                        </p:tgtEl>
                                      </p:cBhvr>
                                    </p:animEffect>
                                    <p:animScale>
                                      <p:cBhvr>
                                        <p:cTn id="656" dur="500" autoRev="1" fill="hold"/>
                                        <p:tgtEl>
                                          <p:spTgt spid="782"/>
                                        </p:tgtEl>
                                      </p:cBhvr>
                                      <p:by x="105000" y="105000"/>
                                    </p:animScale>
                                  </p:childTnLst>
                                </p:cTn>
                              </p:par>
                              <p:par>
                                <p:cTn id="657" presetID="6" presetClass="emph" presetSubtype="0" repeatCount="indefinite" fill="hold" grpId="1" nodeType="withEffect">
                                  <p:stCondLst>
                                    <p:cond delay="0"/>
                                  </p:stCondLst>
                                  <p:childTnLst>
                                    <p:animScale>
                                      <p:cBhvr>
                                        <p:cTn id="658" dur="7000" fill="hold"/>
                                        <p:tgtEl>
                                          <p:spTgt spid="782"/>
                                        </p:tgtEl>
                                      </p:cBhvr>
                                      <p:by x="150000" y="150000"/>
                                    </p:animScale>
                                  </p:childTnLst>
                                </p:cTn>
                              </p:par>
                              <p:par>
                                <p:cTn id="659" presetID="6" presetClass="emph" presetSubtype="0" repeatCount="indefinite" fill="hold" grpId="0" nodeType="withEffect">
                                  <p:stCondLst>
                                    <p:cond delay="0"/>
                                  </p:stCondLst>
                                  <p:childTnLst>
                                    <p:animScale>
                                      <p:cBhvr>
                                        <p:cTn id="660" dur="7000" fill="hold"/>
                                        <p:tgtEl>
                                          <p:spTgt spid="781"/>
                                        </p:tgtEl>
                                      </p:cBhvr>
                                      <p:by x="150000" y="150000"/>
                                    </p:animScale>
                                  </p:childTnLst>
                                </p:cTn>
                              </p:par>
                              <p:par>
                                <p:cTn id="661" presetID="42" presetClass="path" presetSubtype="0" repeatCount="indefinite" accel="50000" decel="50000" fill="hold" grpId="2" nodeType="withEffect">
                                  <p:stCondLst>
                                    <p:cond delay="0"/>
                                  </p:stCondLst>
                                  <p:childTnLst>
                                    <p:animMotion origin="layout" path="M 1.38889E-6 -3.45679E-6 L 1.38889E-6 0.58025 " pathEditMode="relative" rAng="0" ptsTypes="AA">
                                      <p:cBhvr>
                                        <p:cTn id="662" dur="7000" fill="hold"/>
                                        <p:tgtEl>
                                          <p:spTgt spid="782"/>
                                        </p:tgtEl>
                                        <p:attrNameLst>
                                          <p:attrName>ppt_x</p:attrName>
                                          <p:attrName>ppt_y</p:attrName>
                                        </p:attrNameLst>
                                      </p:cBhvr>
                                      <p:rCtr x="0" y="29012"/>
                                    </p:animMotion>
                                  </p:childTnLst>
                                </p:cTn>
                              </p:par>
                              <p:par>
                                <p:cTn id="663" presetID="42" presetClass="path" presetSubtype="0" repeatCount="indefinite" accel="50000" decel="50000" fill="hold" grpId="1" nodeType="withEffect">
                                  <p:stCondLst>
                                    <p:cond delay="0"/>
                                  </p:stCondLst>
                                  <p:childTnLst>
                                    <p:animMotion origin="layout" path="M 1.38889E-6 -7.40741E-7 L 1.38889E-6 0.57963 " pathEditMode="relative" rAng="0" ptsTypes="AA">
                                      <p:cBhvr>
                                        <p:cTn id="664" dur="7000" fill="hold"/>
                                        <p:tgtEl>
                                          <p:spTgt spid="781"/>
                                        </p:tgtEl>
                                        <p:attrNameLst>
                                          <p:attrName>ppt_x</p:attrName>
                                          <p:attrName>ppt_y</p:attrName>
                                        </p:attrNameLst>
                                      </p:cBhvr>
                                      <p:rCtr x="0" y="28981"/>
                                    </p:animMotion>
                                  </p:childTnLst>
                                </p:cTn>
                              </p:par>
                              <p:par>
                                <p:cTn id="665" presetID="26" presetClass="emph" presetSubtype="0" repeatCount="indefinite" fill="hold" grpId="0" nodeType="withEffect">
                                  <p:stCondLst>
                                    <p:cond delay="1000"/>
                                  </p:stCondLst>
                                  <p:childTnLst>
                                    <p:animEffect transition="out" filter="fade">
                                      <p:cBhvr>
                                        <p:cTn id="666" dur="1000" tmFilter="0, 0; .2, .5; .8, .5; 1, 0"/>
                                        <p:tgtEl>
                                          <p:spTgt spid="784"/>
                                        </p:tgtEl>
                                      </p:cBhvr>
                                    </p:animEffect>
                                    <p:animScale>
                                      <p:cBhvr>
                                        <p:cTn id="667" dur="500" autoRev="1" fill="hold"/>
                                        <p:tgtEl>
                                          <p:spTgt spid="784"/>
                                        </p:tgtEl>
                                      </p:cBhvr>
                                      <p:by x="105000" y="105000"/>
                                    </p:animScale>
                                  </p:childTnLst>
                                </p:cTn>
                              </p:par>
                              <p:par>
                                <p:cTn id="668" presetID="6" presetClass="emph" presetSubtype="0" repeatCount="indefinite" fill="hold" grpId="1" nodeType="withEffect">
                                  <p:stCondLst>
                                    <p:cond delay="1000"/>
                                  </p:stCondLst>
                                  <p:childTnLst>
                                    <p:animScale>
                                      <p:cBhvr>
                                        <p:cTn id="669" dur="7000" fill="hold"/>
                                        <p:tgtEl>
                                          <p:spTgt spid="784"/>
                                        </p:tgtEl>
                                      </p:cBhvr>
                                      <p:by x="150000" y="150000"/>
                                    </p:animScale>
                                  </p:childTnLst>
                                </p:cTn>
                              </p:par>
                              <p:par>
                                <p:cTn id="670" presetID="6" presetClass="emph" presetSubtype="0" repeatCount="indefinite" fill="hold" grpId="0" nodeType="withEffect">
                                  <p:stCondLst>
                                    <p:cond delay="1000"/>
                                  </p:stCondLst>
                                  <p:childTnLst>
                                    <p:animScale>
                                      <p:cBhvr>
                                        <p:cTn id="671" dur="7000" fill="hold"/>
                                        <p:tgtEl>
                                          <p:spTgt spid="783"/>
                                        </p:tgtEl>
                                      </p:cBhvr>
                                      <p:by x="150000" y="150000"/>
                                    </p:animScale>
                                  </p:childTnLst>
                                </p:cTn>
                              </p:par>
                              <p:par>
                                <p:cTn id="672" presetID="42" presetClass="path" presetSubtype="0" repeatCount="indefinite" accel="50000" decel="50000" fill="hold" grpId="2" nodeType="withEffect">
                                  <p:stCondLst>
                                    <p:cond delay="1000"/>
                                  </p:stCondLst>
                                  <p:childTnLst>
                                    <p:animMotion origin="layout" path="M 1.38889E-6 -3.45679E-6 L 1.38889E-6 0.58025 " pathEditMode="relative" rAng="0" ptsTypes="AA">
                                      <p:cBhvr>
                                        <p:cTn id="673" dur="7000" fill="hold"/>
                                        <p:tgtEl>
                                          <p:spTgt spid="784"/>
                                        </p:tgtEl>
                                        <p:attrNameLst>
                                          <p:attrName>ppt_x</p:attrName>
                                          <p:attrName>ppt_y</p:attrName>
                                        </p:attrNameLst>
                                      </p:cBhvr>
                                      <p:rCtr x="0" y="29012"/>
                                    </p:animMotion>
                                  </p:childTnLst>
                                </p:cTn>
                              </p:par>
                              <p:par>
                                <p:cTn id="674" presetID="42" presetClass="path" presetSubtype="0" repeatCount="indefinite" accel="50000" decel="50000" fill="hold" grpId="1" nodeType="withEffect">
                                  <p:stCondLst>
                                    <p:cond delay="1000"/>
                                  </p:stCondLst>
                                  <p:childTnLst>
                                    <p:animMotion origin="layout" path="M 1.38889E-6 -7.40741E-7 L 1.38889E-6 0.57963 " pathEditMode="relative" rAng="0" ptsTypes="AA">
                                      <p:cBhvr>
                                        <p:cTn id="675" dur="7000" fill="hold"/>
                                        <p:tgtEl>
                                          <p:spTgt spid="783"/>
                                        </p:tgtEl>
                                        <p:attrNameLst>
                                          <p:attrName>ppt_x</p:attrName>
                                          <p:attrName>ppt_y</p:attrName>
                                        </p:attrNameLst>
                                      </p:cBhvr>
                                      <p:rCtr x="0" y="28981"/>
                                    </p:animMotion>
                                  </p:childTnLst>
                                </p:cTn>
                              </p:par>
                              <p:par>
                                <p:cTn id="676" presetID="26" presetClass="emph" presetSubtype="0" repeatCount="indefinite" fill="hold" grpId="0" nodeType="withEffect">
                                  <p:stCondLst>
                                    <p:cond delay="1000"/>
                                  </p:stCondLst>
                                  <p:childTnLst>
                                    <p:animEffect transition="out" filter="fade">
                                      <p:cBhvr>
                                        <p:cTn id="677" dur="1000" tmFilter="0, 0; .2, .5; .8, .5; 1, 0"/>
                                        <p:tgtEl>
                                          <p:spTgt spid="786"/>
                                        </p:tgtEl>
                                      </p:cBhvr>
                                    </p:animEffect>
                                    <p:animScale>
                                      <p:cBhvr>
                                        <p:cTn id="678" dur="500" autoRev="1" fill="hold"/>
                                        <p:tgtEl>
                                          <p:spTgt spid="786"/>
                                        </p:tgtEl>
                                      </p:cBhvr>
                                      <p:by x="105000" y="105000"/>
                                    </p:animScale>
                                  </p:childTnLst>
                                </p:cTn>
                              </p:par>
                              <p:par>
                                <p:cTn id="679" presetID="6" presetClass="emph" presetSubtype="0" repeatCount="indefinite" fill="hold" grpId="1" nodeType="withEffect">
                                  <p:stCondLst>
                                    <p:cond delay="1000"/>
                                  </p:stCondLst>
                                  <p:childTnLst>
                                    <p:animScale>
                                      <p:cBhvr>
                                        <p:cTn id="680" dur="7000" fill="hold"/>
                                        <p:tgtEl>
                                          <p:spTgt spid="786"/>
                                        </p:tgtEl>
                                      </p:cBhvr>
                                      <p:by x="150000" y="150000"/>
                                    </p:animScale>
                                  </p:childTnLst>
                                </p:cTn>
                              </p:par>
                              <p:par>
                                <p:cTn id="681" presetID="6" presetClass="emph" presetSubtype="0" repeatCount="indefinite" fill="hold" grpId="0" nodeType="withEffect">
                                  <p:stCondLst>
                                    <p:cond delay="1000"/>
                                  </p:stCondLst>
                                  <p:childTnLst>
                                    <p:animScale>
                                      <p:cBhvr>
                                        <p:cTn id="682" dur="7000" fill="hold"/>
                                        <p:tgtEl>
                                          <p:spTgt spid="785"/>
                                        </p:tgtEl>
                                      </p:cBhvr>
                                      <p:by x="150000" y="150000"/>
                                    </p:animScale>
                                  </p:childTnLst>
                                </p:cTn>
                              </p:par>
                              <p:par>
                                <p:cTn id="683" presetID="42" presetClass="path" presetSubtype="0" repeatCount="indefinite" accel="50000" decel="50000" fill="hold" grpId="2" nodeType="withEffect">
                                  <p:stCondLst>
                                    <p:cond delay="1000"/>
                                  </p:stCondLst>
                                  <p:childTnLst>
                                    <p:animMotion origin="layout" path="M 1.38889E-6 -3.45679E-6 L 1.38889E-6 0.58025 " pathEditMode="relative" rAng="0" ptsTypes="AA">
                                      <p:cBhvr>
                                        <p:cTn id="684" dur="7000" fill="hold"/>
                                        <p:tgtEl>
                                          <p:spTgt spid="786"/>
                                        </p:tgtEl>
                                        <p:attrNameLst>
                                          <p:attrName>ppt_x</p:attrName>
                                          <p:attrName>ppt_y</p:attrName>
                                        </p:attrNameLst>
                                      </p:cBhvr>
                                      <p:rCtr x="0" y="29012"/>
                                    </p:animMotion>
                                  </p:childTnLst>
                                </p:cTn>
                              </p:par>
                              <p:par>
                                <p:cTn id="685" presetID="42" presetClass="path" presetSubtype="0" repeatCount="indefinite" accel="50000" decel="50000" fill="hold" grpId="1" nodeType="withEffect">
                                  <p:stCondLst>
                                    <p:cond delay="1000"/>
                                  </p:stCondLst>
                                  <p:childTnLst>
                                    <p:animMotion origin="layout" path="M 1.38889E-6 -7.40741E-7 L 1.38889E-6 0.57963 " pathEditMode="relative" rAng="0" ptsTypes="AA">
                                      <p:cBhvr>
                                        <p:cTn id="686" dur="7000" fill="hold"/>
                                        <p:tgtEl>
                                          <p:spTgt spid="785"/>
                                        </p:tgtEl>
                                        <p:attrNameLst>
                                          <p:attrName>ppt_x</p:attrName>
                                          <p:attrName>ppt_y</p:attrName>
                                        </p:attrNameLst>
                                      </p:cBhvr>
                                      <p:rCtr x="0" y="28981"/>
                                    </p:animMotion>
                                  </p:childTnLst>
                                </p:cTn>
                              </p:par>
                              <p:par>
                                <p:cTn id="687" presetID="26" presetClass="emph" presetSubtype="0" repeatCount="indefinite" fill="hold" grpId="0" nodeType="withEffect">
                                  <p:stCondLst>
                                    <p:cond delay="1000"/>
                                  </p:stCondLst>
                                  <p:childTnLst>
                                    <p:animEffect transition="out" filter="fade">
                                      <p:cBhvr>
                                        <p:cTn id="688" dur="1000" tmFilter="0, 0; .2, .5; .8, .5; 1, 0"/>
                                        <p:tgtEl>
                                          <p:spTgt spid="788"/>
                                        </p:tgtEl>
                                      </p:cBhvr>
                                    </p:animEffect>
                                    <p:animScale>
                                      <p:cBhvr>
                                        <p:cTn id="689" dur="500" autoRev="1" fill="hold"/>
                                        <p:tgtEl>
                                          <p:spTgt spid="788"/>
                                        </p:tgtEl>
                                      </p:cBhvr>
                                      <p:by x="105000" y="105000"/>
                                    </p:animScale>
                                  </p:childTnLst>
                                </p:cTn>
                              </p:par>
                              <p:par>
                                <p:cTn id="690" presetID="6" presetClass="emph" presetSubtype="0" repeatCount="indefinite" fill="hold" grpId="1" nodeType="withEffect">
                                  <p:stCondLst>
                                    <p:cond delay="1000"/>
                                  </p:stCondLst>
                                  <p:childTnLst>
                                    <p:animScale>
                                      <p:cBhvr>
                                        <p:cTn id="691" dur="7000" fill="hold"/>
                                        <p:tgtEl>
                                          <p:spTgt spid="788"/>
                                        </p:tgtEl>
                                      </p:cBhvr>
                                      <p:by x="150000" y="150000"/>
                                    </p:animScale>
                                  </p:childTnLst>
                                </p:cTn>
                              </p:par>
                              <p:par>
                                <p:cTn id="692" presetID="6" presetClass="emph" presetSubtype="0" repeatCount="indefinite" fill="hold" grpId="0" nodeType="withEffect">
                                  <p:stCondLst>
                                    <p:cond delay="1000"/>
                                  </p:stCondLst>
                                  <p:childTnLst>
                                    <p:animScale>
                                      <p:cBhvr>
                                        <p:cTn id="693" dur="7000" fill="hold"/>
                                        <p:tgtEl>
                                          <p:spTgt spid="787"/>
                                        </p:tgtEl>
                                      </p:cBhvr>
                                      <p:by x="150000" y="150000"/>
                                    </p:animScale>
                                  </p:childTnLst>
                                </p:cTn>
                              </p:par>
                              <p:par>
                                <p:cTn id="694" presetID="42" presetClass="path" presetSubtype="0" repeatCount="indefinite" accel="50000" decel="50000" fill="hold" grpId="2" nodeType="withEffect">
                                  <p:stCondLst>
                                    <p:cond delay="1000"/>
                                  </p:stCondLst>
                                  <p:childTnLst>
                                    <p:animMotion origin="layout" path="M 1.38889E-6 -3.45679E-6 L 1.38889E-6 0.58025 " pathEditMode="relative" rAng="0" ptsTypes="AA">
                                      <p:cBhvr>
                                        <p:cTn id="695" dur="7000" fill="hold"/>
                                        <p:tgtEl>
                                          <p:spTgt spid="788"/>
                                        </p:tgtEl>
                                        <p:attrNameLst>
                                          <p:attrName>ppt_x</p:attrName>
                                          <p:attrName>ppt_y</p:attrName>
                                        </p:attrNameLst>
                                      </p:cBhvr>
                                      <p:rCtr x="0" y="29012"/>
                                    </p:animMotion>
                                  </p:childTnLst>
                                </p:cTn>
                              </p:par>
                              <p:par>
                                <p:cTn id="696" presetID="42" presetClass="path" presetSubtype="0" repeatCount="indefinite" accel="50000" decel="50000" fill="hold" grpId="1" nodeType="withEffect">
                                  <p:stCondLst>
                                    <p:cond delay="1000"/>
                                  </p:stCondLst>
                                  <p:childTnLst>
                                    <p:animMotion origin="layout" path="M 1.38889E-6 -7.40741E-7 L 1.38889E-6 0.57963 " pathEditMode="relative" rAng="0" ptsTypes="AA">
                                      <p:cBhvr>
                                        <p:cTn id="697" dur="7000" fill="hold"/>
                                        <p:tgtEl>
                                          <p:spTgt spid="787"/>
                                        </p:tgtEl>
                                        <p:attrNameLst>
                                          <p:attrName>ppt_x</p:attrName>
                                          <p:attrName>ppt_y</p:attrName>
                                        </p:attrNameLst>
                                      </p:cBhvr>
                                      <p:rCtr x="0" y="28981"/>
                                    </p:animMotion>
                                  </p:childTnLst>
                                </p:cTn>
                              </p:par>
                              <p:par>
                                <p:cTn id="698" presetID="26" presetClass="emph" presetSubtype="0" repeatCount="indefinite" fill="hold" grpId="0" nodeType="withEffect">
                                  <p:stCondLst>
                                    <p:cond delay="1000"/>
                                  </p:stCondLst>
                                  <p:childTnLst>
                                    <p:animEffect transition="out" filter="fade">
                                      <p:cBhvr>
                                        <p:cTn id="699" dur="1000" tmFilter="0, 0; .2, .5; .8, .5; 1, 0"/>
                                        <p:tgtEl>
                                          <p:spTgt spid="790"/>
                                        </p:tgtEl>
                                      </p:cBhvr>
                                    </p:animEffect>
                                    <p:animScale>
                                      <p:cBhvr>
                                        <p:cTn id="700" dur="500" autoRev="1" fill="hold"/>
                                        <p:tgtEl>
                                          <p:spTgt spid="790"/>
                                        </p:tgtEl>
                                      </p:cBhvr>
                                      <p:by x="105000" y="105000"/>
                                    </p:animScale>
                                  </p:childTnLst>
                                </p:cTn>
                              </p:par>
                              <p:par>
                                <p:cTn id="701" presetID="6" presetClass="emph" presetSubtype="0" repeatCount="indefinite" fill="hold" grpId="1" nodeType="withEffect">
                                  <p:stCondLst>
                                    <p:cond delay="1000"/>
                                  </p:stCondLst>
                                  <p:childTnLst>
                                    <p:animScale>
                                      <p:cBhvr>
                                        <p:cTn id="702" dur="7000" fill="hold"/>
                                        <p:tgtEl>
                                          <p:spTgt spid="790"/>
                                        </p:tgtEl>
                                      </p:cBhvr>
                                      <p:by x="150000" y="150000"/>
                                    </p:animScale>
                                  </p:childTnLst>
                                </p:cTn>
                              </p:par>
                              <p:par>
                                <p:cTn id="703" presetID="6" presetClass="emph" presetSubtype="0" repeatCount="indefinite" fill="hold" grpId="0" nodeType="withEffect">
                                  <p:stCondLst>
                                    <p:cond delay="1000"/>
                                  </p:stCondLst>
                                  <p:childTnLst>
                                    <p:animScale>
                                      <p:cBhvr>
                                        <p:cTn id="704" dur="7000" fill="hold"/>
                                        <p:tgtEl>
                                          <p:spTgt spid="789"/>
                                        </p:tgtEl>
                                      </p:cBhvr>
                                      <p:by x="150000" y="150000"/>
                                    </p:animScale>
                                  </p:childTnLst>
                                </p:cTn>
                              </p:par>
                              <p:par>
                                <p:cTn id="705" presetID="42" presetClass="path" presetSubtype="0" repeatCount="indefinite" accel="50000" decel="50000" fill="hold" grpId="2" nodeType="withEffect">
                                  <p:stCondLst>
                                    <p:cond delay="1000"/>
                                  </p:stCondLst>
                                  <p:childTnLst>
                                    <p:animMotion origin="layout" path="M 1.38889E-6 -3.45679E-6 L 1.38889E-6 0.58025 " pathEditMode="relative" rAng="0" ptsTypes="AA">
                                      <p:cBhvr>
                                        <p:cTn id="706" dur="7000" fill="hold"/>
                                        <p:tgtEl>
                                          <p:spTgt spid="790"/>
                                        </p:tgtEl>
                                        <p:attrNameLst>
                                          <p:attrName>ppt_x</p:attrName>
                                          <p:attrName>ppt_y</p:attrName>
                                        </p:attrNameLst>
                                      </p:cBhvr>
                                      <p:rCtr x="0" y="29012"/>
                                    </p:animMotion>
                                  </p:childTnLst>
                                </p:cTn>
                              </p:par>
                              <p:par>
                                <p:cTn id="707" presetID="42" presetClass="path" presetSubtype="0" repeatCount="indefinite" accel="50000" decel="50000" fill="hold" grpId="1" nodeType="withEffect">
                                  <p:stCondLst>
                                    <p:cond delay="1000"/>
                                  </p:stCondLst>
                                  <p:childTnLst>
                                    <p:animMotion origin="layout" path="M 1.38889E-6 -7.40741E-7 L 1.38889E-6 0.57963 " pathEditMode="relative" rAng="0" ptsTypes="AA">
                                      <p:cBhvr>
                                        <p:cTn id="708" dur="7000" fill="hold"/>
                                        <p:tgtEl>
                                          <p:spTgt spid="789"/>
                                        </p:tgtEl>
                                        <p:attrNameLst>
                                          <p:attrName>ppt_x</p:attrName>
                                          <p:attrName>ppt_y</p:attrName>
                                        </p:attrNameLst>
                                      </p:cBhvr>
                                      <p:rCtr x="0" y="28981"/>
                                    </p:animMotion>
                                  </p:childTnLst>
                                </p:cTn>
                              </p:par>
                              <p:par>
                                <p:cTn id="709" presetID="26" presetClass="emph" presetSubtype="0" repeatCount="indefinite" fill="hold" grpId="0" nodeType="withEffect">
                                  <p:stCondLst>
                                    <p:cond delay="1000"/>
                                  </p:stCondLst>
                                  <p:childTnLst>
                                    <p:animEffect transition="out" filter="fade">
                                      <p:cBhvr>
                                        <p:cTn id="710" dur="1000" tmFilter="0, 0; .2, .5; .8, .5; 1, 0"/>
                                        <p:tgtEl>
                                          <p:spTgt spid="792"/>
                                        </p:tgtEl>
                                      </p:cBhvr>
                                    </p:animEffect>
                                    <p:animScale>
                                      <p:cBhvr>
                                        <p:cTn id="711" dur="500" autoRev="1" fill="hold"/>
                                        <p:tgtEl>
                                          <p:spTgt spid="792"/>
                                        </p:tgtEl>
                                      </p:cBhvr>
                                      <p:by x="105000" y="105000"/>
                                    </p:animScale>
                                  </p:childTnLst>
                                </p:cTn>
                              </p:par>
                              <p:par>
                                <p:cTn id="712" presetID="6" presetClass="emph" presetSubtype="0" repeatCount="indefinite" fill="hold" grpId="1" nodeType="withEffect">
                                  <p:stCondLst>
                                    <p:cond delay="1000"/>
                                  </p:stCondLst>
                                  <p:childTnLst>
                                    <p:animScale>
                                      <p:cBhvr>
                                        <p:cTn id="713" dur="7000" fill="hold"/>
                                        <p:tgtEl>
                                          <p:spTgt spid="792"/>
                                        </p:tgtEl>
                                      </p:cBhvr>
                                      <p:by x="150000" y="150000"/>
                                    </p:animScale>
                                  </p:childTnLst>
                                </p:cTn>
                              </p:par>
                              <p:par>
                                <p:cTn id="714" presetID="6" presetClass="emph" presetSubtype="0" repeatCount="indefinite" fill="hold" grpId="0" nodeType="withEffect">
                                  <p:stCondLst>
                                    <p:cond delay="1000"/>
                                  </p:stCondLst>
                                  <p:childTnLst>
                                    <p:animScale>
                                      <p:cBhvr>
                                        <p:cTn id="715" dur="7000" fill="hold"/>
                                        <p:tgtEl>
                                          <p:spTgt spid="791"/>
                                        </p:tgtEl>
                                      </p:cBhvr>
                                      <p:by x="150000" y="150000"/>
                                    </p:animScale>
                                  </p:childTnLst>
                                </p:cTn>
                              </p:par>
                              <p:par>
                                <p:cTn id="716" presetID="42" presetClass="path" presetSubtype="0" repeatCount="indefinite" accel="50000" decel="50000" fill="hold" grpId="2" nodeType="withEffect">
                                  <p:stCondLst>
                                    <p:cond delay="1000"/>
                                  </p:stCondLst>
                                  <p:childTnLst>
                                    <p:animMotion origin="layout" path="M 1.38889E-6 -3.45679E-6 L 1.38889E-6 0.58025 " pathEditMode="relative" rAng="0" ptsTypes="AA">
                                      <p:cBhvr>
                                        <p:cTn id="717" dur="7000" fill="hold"/>
                                        <p:tgtEl>
                                          <p:spTgt spid="792"/>
                                        </p:tgtEl>
                                        <p:attrNameLst>
                                          <p:attrName>ppt_x</p:attrName>
                                          <p:attrName>ppt_y</p:attrName>
                                        </p:attrNameLst>
                                      </p:cBhvr>
                                      <p:rCtr x="0" y="29012"/>
                                    </p:animMotion>
                                  </p:childTnLst>
                                </p:cTn>
                              </p:par>
                              <p:par>
                                <p:cTn id="718" presetID="42" presetClass="path" presetSubtype="0" repeatCount="indefinite" accel="50000" decel="50000" fill="hold" grpId="1" nodeType="withEffect">
                                  <p:stCondLst>
                                    <p:cond delay="1000"/>
                                  </p:stCondLst>
                                  <p:childTnLst>
                                    <p:animMotion origin="layout" path="M 1.38889E-6 -7.40741E-7 L 1.38889E-6 0.57963 " pathEditMode="relative" rAng="0" ptsTypes="AA">
                                      <p:cBhvr>
                                        <p:cTn id="719" dur="7000" fill="hold"/>
                                        <p:tgtEl>
                                          <p:spTgt spid="791"/>
                                        </p:tgtEl>
                                        <p:attrNameLst>
                                          <p:attrName>ppt_x</p:attrName>
                                          <p:attrName>ppt_y</p:attrName>
                                        </p:attrNameLst>
                                      </p:cBhvr>
                                      <p:rCtr x="0" y="28981"/>
                                    </p:animMotion>
                                  </p:childTnLst>
                                </p:cTn>
                              </p:par>
                              <p:par>
                                <p:cTn id="720" presetID="26" presetClass="emph" presetSubtype="0" repeatCount="indefinite" fill="hold" grpId="0" nodeType="withEffect">
                                  <p:stCondLst>
                                    <p:cond delay="1000"/>
                                  </p:stCondLst>
                                  <p:childTnLst>
                                    <p:animEffect transition="out" filter="fade">
                                      <p:cBhvr>
                                        <p:cTn id="721" dur="1000" tmFilter="0, 0; .2, .5; .8, .5; 1, 0"/>
                                        <p:tgtEl>
                                          <p:spTgt spid="794"/>
                                        </p:tgtEl>
                                      </p:cBhvr>
                                    </p:animEffect>
                                    <p:animScale>
                                      <p:cBhvr>
                                        <p:cTn id="722" dur="500" autoRev="1" fill="hold"/>
                                        <p:tgtEl>
                                          <p:spTgt spid="794"/>
                                        </p:tgtEl>
                                      </p:cBhvr>
                                      <p:by x="105000" y="105000"/>
                                    </p:animScale>
                                  </p:childTnLst>
                                </p:cTn>
                              </p:par>
                              <p:par>
                                <p:cTn id="723" presetID="6" presetClass="emph" presetSubtype="0" repeatCount="indefinite" fill="hold" grpId="1" nodeType="withEffect">
                                  <p:stCondLst>
                                    <p:cond delay="1000"/>
                                  </p:stCondLst>
                                  <p:childTnLst>
                                    <p:animScale>
                                      <p:cBhvr>
                                        <p:cTn id="724" dur="7000" fill="hold"/>
                                        <p:tgtEl>
                                          <p:spTgt spid="794"/>
                                        </p:tgtEl>
                                      </p:cBhvr>
                                      <p:by x="150000" y="150000"/>
                                    </p:animScale>
                                  </p:childTnLst>
                                </p:cTn>
                              </p:par>
                              <p:par>
                                <p:cTn id="725" presetID="6" presetClass="emph" presetSubtype="0" repeatCount="indefinite" fill="hold" grpId="0" nodeType="withEffect">
                                  <p:stCondLst>
                                    <p:cond delay="1000"/>
                                  </p:stCondLst>
                                  <p:childTnLst>
                                    <p:animScale>
                                      <p:cBhvr>
                                        <p:cTn id="726" dur="7000" fill="hold"/>
                                        <p:tgtEl>
                                          <p:spTgt spid="793"/>
                                        </p:tgtEl>
                                      </p:cBhvr>
                                      <p:by x="150000" y="150000"/>
                                    </p:animScale>
                                  </p:childTnLst>
                                </p:cTn>
                              </p:par>
                              <p:par>
                                <p:cTn id="727" presetID="42" presetClass="path" presetSubtype="0" repeatCount="indefinite" accel="50000" decel="50000" fill="hold" grpId="2" nodeType="withEffect">
                                  <p:stCondLst>
                                    <p:cond delay="1000"/>
                                  </p:stCondLst>
                                  <p:childTnLst>
                                    <p:animMotion origin="layout" path="M 1.38889E-6 -3.45679E-6 L 1.38889E-6 0.58025 " pathEditMode="relative" rAng="0" ptsTypes="AA">
                                      <p:cBhvr>
                                        <p:cTn id="728" dur="7000" fill="hold"/>
                                        <p:tgtEl>
                                          <p:spTgt spid="794"/>
                                        </p:tgtEl>
                                        <p:attrNameLst>
                                          <p:attrName>ppt_x</p:attrName>
                                          <p:attrName>ppt_y</p:attrName>
                                        </p:attrNameLst>
                                      </p:cBhvr>
                                      <p:rCtr x="0" y="29012"/>
                                    </p:animMotion>
                                  </p:childTnLst>
                                </p:cTn>
                              </p:par>
                              <p:par>
                                <p:cTn id="729" presetID="42" presetClass="path" presetSubtype="0" repeatCount="indefinite" accel="50000" decel="50000" fill="hold" grpId="1" nodeType="withEffect">
                                  <p:stCondLst>
                                    <p:cond delay="1000"/>
                                  </p:stCondLst>
                                  <p:childTnLst>
                                    <p:animMotion origin="layout" path="M 1.38889E-6 -7.40741E-7 L 1.38889E-6 0.57963 " pathEditMode="relative" rAng="0" ptsTypes="AA">
                                      <p:cBhvr>
                                        <p:cTn id="730" dur="7000" fill="hold"/>
                                        <p:tgtEl>
                                          <p:spTgt spid="793"/>
                                        </p:tgtEl>
                                        <p:attrNameLst>
                                          <p:attrName>ppt_x</p:attrName>
                                          <p:attrName>ppt_y</p:attrName>
                                        </p:attrNameLst>
                                      </p:cBhvr>
                                      <p:rCtr x="0" y="28981"/>
                                    </p:animMotion>
                                  </p:childTnLst>
                                </p:cTn>
                              </p:par>
                              <p:par>
                                <p:cTn id="731" presetID="26" presetClass="emph" presetSubtype="0" repeatCount="indefinite" fill="hold" grpId="0" nodeType="withEffect">
                                  <p:stCondLst>
                                    <p:cond delay="1000"/>
                                  </p:stCondLst>
                                  <p:childTnLst>
                                    <p:animEffect transition="out" filter="fade">
                                      <p:cBhvr>
                                        <p:cTn id="732" dur="1000" tmFilter="0, 0; .2, .5; .8, .5; 1, 0"/>
                                        <p:tgtEl>
                                          <p:spTgt spid="796"/>
                                        </p:tgtEl>
                                      </p:cBhvr>
                                    </p:animEffect>
                                    <p:animScale>
                                      <p:cBhvr>
                                        <p:cTn id="733" dur="500" autoRev="1" fill="hold"/>
                                        <p:tgtEl>
                                          <p:spTgt spid="796"/>
                                        </p:tgtEl>
                                      </p:cBhvr>
                                      <p:by x="105000" y="105000"/>
                                    </p:animScale>
                                  </p:childTnLst>
                                </p:cTn>
                              </p:par>
                              <p:par>
                                <p:cTn id="734" presetID="6" presetClass="emph" presetSubtype="0" repeatCount="indefinite" fill="hold" grpId="1" nodeType="withEffect">
                                  <p:stCondLst>
                                    <p:cond delay="1000"/>
                                  </p:stCondLst>
                                  <p:childTnLst>
                                    <p:animScale>
                                      <p:cBhvr>
                                        <p:cTn id="735" dur="7000" fill="hold"/>
                                        <p:tgtEl>
                                          <p:spTgt spid="796"/>
                                        </p:tgtEl>
                                      </p:cBhvr>
                                      <p:by x="150000" y="150000"/>
                                    </p:animScale>
                                  </p:childTnLst>
                                </p:cTn>
                              </p:par>
                              <p:par>
                                <p:cTn id="736" presetID="6" presetClass="emph" presetSubtype="0" repeatCount="indefinite" fill="hold" grpId="0" nodeType="withEffect">
                                  <p:stCondLst>
                                    <p:cond delay="1000"/>
                                  </p:stCondLst>
                                  <p:childTnLst>
                                    <p:animScale>
                                      <p:cBhvr>
                                        <p:cTn id="737" dur="7000" fill="hold"/>
                                        <p:tgtEl>
                                          <p:spTgt spid="795"/>
                                        </p:tgtEl>
                                      </p:cBhvr>
                                      <p:by x="150000" y="150000"/>
                                    </p:animScale>
                                  </p:childTnLst>
                                </p:cTn>
                              </p:par>
                              <p:par>
                                <p:cTn id="738" presetID="42" presetClass="path" presetSubtype="0" repeatCount="indefinite" accel="50000" decel="50000" fill="hold" grpId="2" nodeType="withEffect">
                                  <p:stCondLst>
                                    <p:cond delay="1000"/>
                                  </p:stCondLst>
                                  <p:childTnLst>
                                    <p:animMotion origin="layout" path="M 1.38889E-6 -3.45679E-6 L 1.38889E-6 0.58025 " pathEditMode="relative" rAng="0" ptsTypes="AA">
                                      <p:cBhvr>
                                        <p:cTn id="739" dur="7000" fill="hold"/>
                                        <p:tgtEl>
                                          <p:spTgt spid="796"/>
                                        </p:tgtEl>
                                        <p:attrNameLst>
                                          <p:attrName>ppt_x</p:attrName>
                                          <p:attrName>ppt_y</p:attrName>
                                        </p:attrNameLst>
                                      </p:cBhvr>
                                      <p:rCtr x="0" y="29012"/>
                                    </p:animMotion>
                                  </p:childTnLst>
                                </p:cTn>
                              </p:par>
                              <p:par>
                                <p:cTn id="740" presetID="42" presetClass="path" presetSubtype="0" repeatCount="indefinite" accel="50000" decel="50000" fill="hold" grpId="1" nodeType="withEffect">
                                  <p:stCondLst>
                                    <p:cond delay="1000"/>
                                  </p:stCondLst>
                                  <p:childTnLst>
                                    <p:animMotion origin="layout" path="M 1.38889E-6 -7.40741E-7 L 1.38889E-6 0.57963 " pathEditMode="relative" rAng="0" ptsTypes="AA">
                                      <p:cBhvr>
                                        <p:cTn id="741" dur="7000" fill="hold"/>
                                        <p:tgtEl>
                                          <p:spTgt spid="795"/>
                                        </p:tgtEl>
                                        <p:attrNameLst>
                                          <p:attrName>ppt_x</p:attrName>
                                          <p:attrName>ppt_y</p:attrName>
                                        </p:attrNameLst>
                                      </p:cBhvr>
                                      <p:rCtr x="0" y="28981"/>
                                    </p:animMotion>
                                  </p:childTnLst>
                                </p:cTn>
                              </p:par>
                              <p:par>
                                <p:cTn id="742" presetID="26" presetClass="emph" presetSubtype="0" repeatCount="indefinite" fill="hold" grpId="0" nodeType="withEffect">
                                  <p:stCondLst>
                                    <p:cond delay="1000"/>
                                  </p:stCondLst>
                                  <p:childTnLst>
                                    <p:animEffect transition="out" filter="fade">
                                      <p:cBhvr>
                                        <p:cTn id="743" dur="1000" tmFilter="0, 0; .2, .5; .8, .5; 1, 0"/>
                                        <p:tgtEl>
                                          <p:spTgt spid="798"/>
                                        </p:tgtEl>
                                      </p:cBhvr>
                                    </p:animEffect>
                                    <p:animScale>
                                      <p:cBhvr>
                                        <p:cTn id="744" dur="500" autoRev="1" fill="hold"/>
                                        <p:tgtEl>
                                          <p:spTgt spid="798"/>
                                        </p:tgtEl>
                                      </p:cBhvr>
                                      <p:by x="105000" y="105000"/>
                                    </p:animScale>
                                  </p:childTnLst>
                                </p:cTn>
                              </p:par>
                              <p:par>
                                <p:cTn id="745" presetID="6" presetClass="emph" presetSubtype="0" repeatCount="indefinite" fill="hold" grpId="1" nodeType="withEffect">
                                  <p:stCondLst>
                                    <p:cond delay="1000"/>
                                  </p:stCondLst>
                                  <p:childTnLst>
                                    <p:animScale>
                                      <p:cBhvr>
                                        <p:cTn id="746" dur="7000" fill="hold"/>
                                        <p:tgtEl>
                                          <p:spTgt spid="798"/>
                                        </p:tgtEl>
                                      </p:cBhvr>
                                      <p:by x="150000" y="150000"/>
                                    </p:animScale>
                                  </p:childTnLst>
                                </p:cTn>
                              </p:par>
                              <p:par>
                                <p:cTn id="747" presetID="6" presetClass="emph" presetSubtype="0" repeatCount="indefinite" fill="hold" grpId="0" nodeType="withEffect">
                                  <p:stCondLst>
                                    <p:cond delay="1000"/>
                                  </p:stCondLst>
                                  <p:childTnLst>
                                    <p:animScale>
                                      <p:cBhvr>
                                        <p:cTn id="748" dur="7000" fill="hold"/>
                                        <p:tgtEl>
                                          <p:spTgt spid="797"/>
                                        </p:tgtEl>
                                      </p:cBhvr>
                                      <p:by x="150000" y="150000"/>
                                    </p:animScale>
                                  </p:childTnLst>
                                </p:cTn>
                              </p:par>
                              <p:par>
                                <p:cTn id="749" presetID="42" presetClass="path" presetSubtype="0" repeatCount="indefinite" accel="50000" decel="50000" fill="hold" grpId="2" nodeType="withEffect">
                                  <p:stCondLst>
                                    <p:cond delay="1000"/>
                                  </p:stCondLst>
                                  <p:childTnLst>
                                    <p:animMotion origin="layout" path="M 1.38889E-6 -3.45679E-6 L 1.38889E-6 0.58025 " pathEditMode="relative" rAng="0" ptsTypes="AA">
                                      <p:cBhvr>
                                        <p:cTn id="750" dur="7000" fill="hold"/>
                                        <p:tgtEl>
                                          <p:spTgt spid="798"/>
                                        </p:tgtEl>
                                        <p:attrNameLst>
                                          <p:attrName>ppt_x</p:attrName>
                                          <p:attrName>ppt_y</p:attrName>
                                        </p:attrNameLst>
                                      </p:cBhvr>
                                      <p:rCtr x="0" y="29012"/>
                                    </p:animMotion>
                                  </p:childTnLst>
                                </p:cTn>
                              </p:par>
                              <p:par>
                                <p:cTn id="751" presetID="42" presetClass="path" presetSubtype="0" repeatCount="indefinite" accel="50000" decel="50000" fill="hold" grpId="1" nodeType="withEffect">
                                  <p:stCondLst>
                                    <p:cond delay="1000"/>
                                  </p:stCondLst>
                                  <p:childTnLst>
                                    <p:animMotion origin="layout" path="M 1.38889E-6 -7.40741E-7 L 1.38889E-6 0.57963 " pathEditMode="relative" rAng="0" ptsTypes="AA">
                                      <p:cBhvr>
                                        <p:cTn id="752" dur="7000" fill="hold"/>
                                        <p:tgtEl>
                                          <p:spTgt spid="797"/>
                                        </p:tgtEl>
                                        <p:attrNameLst>
                                          <p:attrName>ppt_x</p:attrName>
                                          <p:attrName>ppt_y</p:attrName>
                                        </p:attrNameLst>
                                      </p:cBhvr>
                                      <p:rCtr x="0" y="28981"/>
                                    </p:animMotion>
                                  </p:childTnLst>
                                </p:cTn>
                              </p:par>
                              <p:par>
                                <p:cTn id="753" presetID="26" presetClass="emph" presetSubtype="0" repeatCount="indefinite" fill="hold" grpId="0" nodeType="withEffect">
                                  <p:stCondLst>
                                    <p:cond delay="1000"/>
                                  </p:stCondLst>
                                  <p:childTnLst>
                                    <p:animEffect transition="out" filter="fade">
                                      <p:cBhvr>
                                        <p:cTn id="754" dur="1000" tmFilter="0, 0; .2, .5; .8, .5; 1, 0"/>
                                        <p:tgtEl>
                                          <p:spTgt spid="800"/>
                                        </p:tgtEl>
                                      </p:cBhvr>
                                    </p:animEffect>
                                    <p:animScale>
                                      <p:cBhvr>
                                        <p:cTn id="755" dur="500" autoRev="1" fill="hold"/>
                                        <p:tgtEl>
                                          <p:spTgt spid="800"/>
                                        </p:tgtEl>
                                      </p:cBhvr>
                                      <p:by x="105000" y="105000"/>
                                    </p:animScale>
                                  </p:childTnLst>
                                </p:cTn>
                              </p:par>
                              <p:par>
                                <p:cTn id="756" presetID="6" presetClass="emph" presetSubtype="0" repeatCount="indefinite" fill="hold" grpId="1" nodeType="withEffect">
                                  <p:stCondLst>
                                    <p:cond delay="1000"/>
                                  </p:stCondLst>
                                  <p:childTnLst>
                                    <p:animScale>
                                      <p:cBhvr>
                                        <p:cTn id="757" dur="7000" fill="hold"/>
                                        <p:tgtEl>
                                          <p:spTgt spid="800"/>
                                        </p:tgtEl>
                                      </p:cBhvr>
                                      <p:by x="150000" y="150000"/>
                                    </p:animScale>
                                  </p:childTnLst>
                                </p:cTn>
                              </p:par>
                              <p:par>
                                <p:cTn id="758" presetID="6" presetClass="emph" presetSubtype="0" repeatCount="indefinite" fill="hold" grpId="0" nodeType="withEffect">
                                  <p:stCondLst>
                                    <p:cond delay="1000"/>
                                  </p:stCondLst>
                                  <p:childTnLst>
                                    <p:animScale>
                                      <p:cBhvr>
                                        <p:cTn id="759" dur="7000" fill="hold"/>
                                        <p:tgtEl>
                                          <p:spTgt spid="799"/>
                                        </p:tgtEl>
                                      </p:cBhvr>
                                      <p:by x="150000" y="150000"/>
                                    </p:animScale>
                                  </p:childTnLst>
                                </p:cTn>
                              </p:par>
                              <p:par>
                                <p:cTn id="760" presetID="42" presetClass="path" presetSubtype="0" repeatCount="indefinite" accel="50000" decel="50000" fill="hold" grpId="2" nodeType="withEffect">
                                  <p:stCondLst>
                                    <p:cond delay="1000"/>
                                  </p:stCondLst>
                                  <p:childTnLst>
                                    <p:animMotion origin="layout" path="M 1.38889E-6 -3.45679E-6 L 1.38889E-6 0.58025 " pathEditMode="relative" rAng="0" ptsTypes="AA">
                                      <p:cBhvr>
                                        <p:cTn id="761" dur="7000" fill="hold"/>
                                        <p:tgtEl>
                                          <p:spTgt spid="800"/>
                                        </p:tgtEl>
                                        <p:attrNameLst>
                                          <p:attrName>ppt_x</p:attrName>
                                          <p:attrName>ppt_y</p:attrName>
                                        </p:attrNameLst>
                                      </p:cBhvr>
                                      <p:rCtr x="0" y="29012"/>
                                    </p:animMotion>
                                  </p:childTnLst>
                                </p:cTn>
                              </p:par>
                              <p:par>
                                <p:cTn id="762" presetID="42" presetClass="path" presetSubtype="0" repeatCount="indefinite" accel="50000" decel="50000" fill="hold" grpId="1" nodeType="withEffect">
                                  <p:stCondLst>
                                    <p:cond delay="1000"/>
                                  </p:stCondLst>
                                  <p:childTnLst>
                                    <p:animMotion origin="layout" path="M 1.38889E-6 -7.40741E-7 L 1.38889E-6 0.57963 " pathEditMode="relative" rAng="0" ptsTypes="AA">
                                      <p:cBhvr>
                                        <p:cTn id="763" dur="7000" fill="hold"/>
                                        <p:tgtEl>
                                          <p:spTgt spid="799"/>
                                        </p:tgtEl>
                                        <p:attrNameLst>
                                          <p:attrName>ppt_x</p:attrName>
                                          <p:attrName>ppt_y</p:attrName>
                                        </p:attrNameLst>
                                      </p:cBhvr>
                                      <p:rCtr x="0" y="28981"/>
                                    </p:animMotion>
                                  </p:childTnLst>
                                </p:cTn>
                              </p:par>
                              <p:par>
                                <p:cTn id="764" presetID="26" presetClass="emph" presetSubtype="0" repeatCount="indefinite" fill="hold" grpId="0" nodeType="withEffect">
                                  <p:stCondLst>
                                    <p:cond delay="1000"/>
                                  </p:stCondLst>
                                  <p:childTnLst>
                                    <p:animEffect transition="out" filter="fade">
                                      <p:cBhvr>
                                        <p:cTn id="765" dur="1000" tmFilter="0, 0; .2, .5; .8, .5; 1, 0"/>
                                        <p:tgtEl>
                                          <p:spTgt spid="802"/>
                                        </p:tgtEl>
                                      </p:cBhvr>
                                    </p:animEffect>
                                    <p:animScale>
                                      <p:cBhvr>
                                        <p:cTn id="766" dur="500" autoRev="1" fill="hold"/>
                                        <p:tgtEl>
                                          <p:spTgt spid="802"/>
                                        </p:tgtEl>
                                      </p:cBhvr>
                                      <p:by x="105000" y="105000"/>
                                    </p:animScale>
                                  </p:childTnLst>
                                </p:cTn>
                              </p:par>
                              <p:par>
                                <p:cTn id="767" presetID="6" presetClass="emph" presetSubtype="0" repeatCount="indefinite" fill="hold" grpId="1" nodeType="withEffect">
                                  <p:stCondLst>
                                    <p:cond delay="1000"/>
                                  </p:stCondLst>
                                  <p:childTnLst>
                                    <p:animScale>
                                      <p:cBhvr>
                                        <p:cTn id="768" dur="7000" fill="hold"/>
                                        <p:tgtEl>
                                          <p:spTgt spid="802"/>
                                        </p:tgtEl>
                                      </p:cBhvr>
                                      <p:by x="150000" y="150000"/>
                                    </p:animScale>
                                  </p:childTnLst>
                                </p:cTn>
                              </p:par>
                              <p:par>
                                <p:cTn id="769" presetID="6" presetClass="emph" presetSubtype="0" repeatCount="indefinite" fill="hold" grpId="0" nodeType="withEffect">
                                  <p:stCondLst>
                                    <p:cond delay="1000"/>
                                  </p:stCondLst>
                                  <p:childTnLst>
                                    <p:animScale>
                                      <p:cBhvr>
                                        <p:cTn id="770" dur="7000" fill="hold"/>
                                        <p:tgtEl>
                                          <p:spTgt spid="801"/>
                                        </p:tgtEl>
                                      </p:cBhvr>
                                      <p:by x="150000" y="150000"/>
                                    </p:animScale>
                                  </p:childTnLst>
                                </p:cTn>
                              </p:par>
                              <p:par>
                                <p:cTn id="771" presetID="42" presetClass="path" presetSubtype="0" repeatCount="indefinite" accel="50000" decel="50000" fill="hold" grpId="2" nodeType="withEffect">
                                  <p:stCondLst>
                                    <p:cond delay="1000"/>
                                  </p:stCondLst>
                                  <p:childTnLst>
                                    <p:animMotion origin="layout" path="M 1.38889E-6 -3.45679E-6 L 1.38889E-6 0.58025 " pathEditMode="relative" rAng="0" ptsTypes="AA">
                                      <p:cBhvr>
                                        <p:cTn id="772" dur="7000" fill="hold"/>
                                        <p:tgtEl>
                                          <p:spTgt spid="802"/>
                                        </p:tgtEl>
                                        <p:attrNameLst>
                                          <p:attrName>ppt_x</p:attrName>
                                          <p:attrName>ppt_y</p:attrName>
                                        </p:attrNameLst>
                                      </p:cBhvr>
                                      <p:rCtr x="0" y="29012"/>
                                    </p:animMotion>
                                  </p:childTnLst>
                                </p:cTn>
                              </p:par>
                              <p:par>
                                <p:cTn id="773" presetID="42" presetClass="path" presetSubtype="0" repeatCount="indefinite" accel="50000" decel="50000" fill="hold" grpId="1" nodeType="withEffect">
                                  <p:stCondLst>
                                    <p:cond delay="1000"/>
                                  </p:stCondLst>
                                  <p:childTnLst>
                                    <p:animMotion origin="layout" path="M 1.38889E-6 -7.40741E-7 L 1.38889E-6 0.57963 " pathEditMode="relative" rAng="0" ptsTypes="AA">
                                      <p:cBhvr>
                                        <p:cTn id="774" dur="7000" fill="hold"/>
                                        <p:tgtEl>
                                          <p:spTgt spid="801"/>
                                        </p:tgtEl>
                                        <p:attrNameLst>
                                          <p:attrName>ppt_x</p:attrName>
                                          <p:attrName>ppt_y</p:attrName>
                                        </p:attrNameLst>
                                      </p:cBhvr>
                                      <p:rCtr x="0" y="28981"/>
                                    </p:animMotion>
                                  </p:childTnLst>
                                </p:cTn>
                              </p:par>
                              <p:par>
                                <p:cTn id="775" presetID="26" presetClass="emph" presetSubtype="0" repeatCount="indefinite" fill="hold" grpId="0" nodeType="withEffect">
                                  <p:stCondLst>
                                    <p:cond delay="1000"/>
                                  </p:stCondLst>
                                  <p:childTnLst>
                                    <p:animEffect transition="out" filter="fade">
                                      <p:cBhvr>
                                        <p:cTn id="776" dur="1000" tmFilter="0, 0; .2, .5; .8, .5; 1, 0"/>
                                        <p:tgtEl>
                                          <p:spTgt spid="804"/>
                                        </p:tgtEl>
                                      </p:cBhvr>
                                    </p:animEffect>
                                    <p:animScale>
                                      <p:cBhvr>
                                        <p:cTn id="777" dur="500" autoRev="1" fill="hold"/>
                                        <p:tgtEl>
                                          <p:spTgt spid="804"/>
                                        </p:tgtEl>
                                      </p:cBhvr>
                                      <p:by x="105000" y="105000"/>
                                    </p:animScale>
                                  </p:childTnLst>
                                </p:cTn>
                              </p:par>
                              <p:par>
                                <p:cTn id="778" presetID="6" presetClass="emph" presetSubtype="0" repeatCount="indefinite" fill="hold" grpId="1" nodeType="withEffect">
                                  <p:stCondLst>
                                    <p:cond delay="1000"/>
                                  </p:stCondLst>
                                  <p:childTnLst>
                                    <p:animScale>
                                      <p:cBhvr>
                                        <p:cTn id="779" dur="7000" fill="hold"/>
                                        <p:tgtEl>
                                          <p:spTgt spid="804"/>
                                        </p:tgtEl>
                                      </p:cBhvr>
                                      <p:by x="150000" y="150000"/>
                                    </p:animScale>
                                  </p:childTnLst>
                                </p:cTn>
                              </p:par>
                              <p:par>
                                <p:cTn id="780" presetID="6" presetClass="emph" presetSubtype="0" repeatCount="indefinite" fill="hold" grpId="0" nodeType="withEffect">
                                  <p:stCondLst>
                                    <p:cond delay="1000"/>
                                  </p:stCondLst>
                                  <p:childTnLst>
                                    <p:animScale>
                                      <p:cBhvr>
                                        <p:cTn id="781" dur="7000" fill="hold"/>
                                        <p:tgtEl>
                                          <p:spTgt spid="803"/>
                                        </p:tgtEl>
                                      </p:cBhvr>
                                      <p:by x="150000" y="150000"/>
                                    </p:animScale>
                                  </p:childTnLst>
                                </p:cTn>
                              </p:par>
                              <p:par>
                                <p:cTn id="782" presetID="42" presetClass="path" presetSubtype="0" repeatCount="indefinite" accel="50000" decel="50000" fill="hold" grpId="2" nodeType="withEffect">
                                  <p:stCondLst>
                                    <p:cond delay="1000"/>
                                  </p:stCondLst>
                                  <p:childTnLst>
                                    <p:animMotion origin="layout" path="M 1.38889E-6 -3.45679E-6 L 1.38889E-6 0.58025 " pathEditMode="relative" rAng="0" ptsTypes="AA">
                                      <p:cBhvr>
                                        <p:cTn id="783" dur="7000" fill="hold"/>
                                        <p:tgtEl>
                                          <p:spTgt spid="804"/>
                                        </p:tgtEl>
                                        <p:attrNameLst>
                                          <p:attrName>ppt_x</p:attrName>
                                          <p:attrName>ppt_y</p:attrName>
                                        </p:attrNameLst>
                                      </p:cBhvr>
                                      <p:rCtr x="0" y="29012"/>
                                    </p:animMotion>
                                  </p:childTnLst>
                                </p:cTn>
                              </p:par>
                              <p:par>
                                <p:cTn id="784" presetID="42" presetClass="path" presetSubtype="0" repeatCount="indefinite" accel="50000" decel="50000" fill="hold" grpId="1" nodeType="withEffect">
                                  <p:stCondLst>
                                    <p:cond delay="1000"/>
                                  </p:stCondLst>
                                  <p:childTnLst>
                                    <p:animMotion origin="layout" path="M 1.38889E-6 -7.40741E-7 L 1.38889E-6 0.57963 " pathEditMode="relative" rAng="0" ptsTypes="AA">
                                      <p:cBhvr>
                                        <p:cTn id="785" dur="7000" fill="hold"/>
                                        <p:tgtEl>
                                          <p:spTgt spid="803"/>
                                        </p:tgtEl>
                                        <p:attrNameLst>
                                          <p:attrName>ppt_x</p:attrName>
                                          <p:attrName>ppt_y</p:attrName>
                                        </p:attrNameLst>
                                      </p:cBhvr>
                                      <p:rCtr x="0" y="28981"/>
                                    </p:animMotion>
                                  </p:childTnLst>
                                </p:cTn>
                              </p:par>
                              <p:par>
                                <p:cTn id="786" presetID="26" presetClass="emph" presetSubtype="0" repeatCount="indefinite" fill="hold" grpId="0" nodeType="withEffect">
                                  <p:stCondLst>
                                    <p:cond delay="1000"/>
                                  </p:stCondLst>
                                  <p:childTnLst>
                                    <p:animEffect transition="out" filter="fade">
                                      <p:cBhvr>
                                        <p:cTn id="787" dur="1000" tmFilter="0, 0; .2, .5; .8, .5; 1, 0"/>
                                        <p:tgtEl>
                                          <p:spTgt spid="806"/>
                                        </p:tgtEl>
                                      </p:cBhvr>
                                    </p:animEffect>
                                    <p:animScale>
                                      <p:cBhvr>
                                        <p:cTn id="788" dur="500" autoRev="1" fill="hold"/>
                                        <p:tgtEl>
                                          <p:spTgt spid="806"/>
                                        </p:tgtEl>
                                      </p:cBhvr>
                                      <p:by x="105000" y="105000"/>
                                    </p:animScale>
                                  </p:childTnLst>
                                </p:cTn>
                              </p:par>
                              <p:par>
                                <p:cTn id="789" presetID="6" presetClass="emph" presetSubtype="0" repeatCount="indefinite" fill="hold" grpId="1" nodeType="withEffect">
                                  <p:stCondLst>
                                    <p:cond delay="1000"/>
                                  </p:stCondLst>
                                  <p:childTnLst>
                                    <p:animScale>
                                      <p:cBhvr>
                                        <p:cTn id="790" dur="7000" fill="hold"/>
                                        <p:tgtEl>
                                          <p:spTgt spid="806"/>
                                        </p:tgtEl>
                                      </p:cBhvr>
                                      <p:by x="150000" y="150000"/>
                                    </p:animScale>
                                  </p:childTnLst>
                                </p:cTn>
                              </p:par>
                              <p:par>
                                <p:cTn id="791" presetID="6" presetClass="emph" presetSubtype="0" repeatCount="indefinite" fill="hold" grpId="0" nodeType="withEffect">
                                  <p:stCondLst>
                                    <p:cond delay="1000"/>
                                  </p:stCondLst>
                                  <p:childTnLst>
                                    <p:animScale>
                                      <p:cBhvr>
                                        <p:cTn id="792" dur="7000" fill="hold"/>
                                        <p:tgtEl>
                                          <p:spTgt spid="805"/>
                                        </p:tgtEl>
                                      </p:cBhvr>
                                      <p:by x="150000" y="150000"/>
                                    </p:animScale>
                                  </p:childTnLst>
                                </p:cTn>
                              </p:par>
                              <p:par>
                                <p:cTn id="793" presetID="42" presetClass="path" presetSubtype="0" repeatCount="indefinite" accel="50000" decel="50000" fill="hold" grpId="2" nodeType="withEffect">
                                  <p:stCondLst>
                                    <p:cond delay="1000"/>
                                  </p:stCondLst>
                                  <p:childTnLst>
                                    <p:animMotion origin="layout" path="M 1.38889E-6 -3.45679E-6 L 1.38889E-6 0.58025 " pathEditMode="relative" rAng="0" ptsTypes="AA">
                                      <p:cBhvr>
                                        <p:cTn id="794" dur="7000" fill="hold"/>
                                        <p:tgtEl>
                                          <p:spTgt spid="806"/>
                                        </p:tgtEl>
                                        <p:attrNameLst>
                                          <p:attrName>ppt_x</p:attrName>
                                          <p:attrName>ppt_y</p:attrName>
                                        </p:attrNameLst>
                                      </p:cBhvr>
                                      <p:rCtr x="0" y="29012"/>
                                    </p:animMotion>
                                  </p:childTnLst>
                                </p:cTn>
                              </p:par>
                              <p:par>
                                <p:cTn id="795" presetID="42" presetClass="path" presetSubtype="0" repeatCount="indefinite" accel="50000" decel="50000" fill="hold" grpId="1" nodeType="withEffect">
                                  <p:stCondLst>
                                    <p:cond delay="1000"/>
                                  </p:stCondLst>
                                  <p:childTnLst>
                                    <p:animMotion origin="layout" path="M 1.38889E-6 -7.40741E-7 L 1.38889E-6 0.57963 " pathEditMode="relative" rAng="0" ptsTypes="AA">
                                      <p:cBhvr>
                                        <p:cTn id="796" dur="7000" fill="hold"/>
                                        <p:tgtEl>
                                          <p:spTgt spid="805"/>
                                        </p:tgtEl>
                                        <p:attrNameLst>
                                          <p:attrName>ppt_x</p:attrName>
                                          <p:attrName>ppt_y</p:attrName>
                                        </p:attrNameLst>
                                      </p:cBhvr>
                                      <p:rCtr x="0" y="28981"/>
                                    </p:animMotion>
                                  </p:childTnLst>
                                </p:cTn>
                              </p:par>
                              <p:par>
                                <p:cTn id="797" presetID="26" presetClass="emph" presetSubtype="0" repeatCount="indefinite" fill="hold" grpId="0" nodeType="withEffect">
                                  <p:stCondLst>
                                    <p:cond delay="1250"/>
                                  </p:stCondLst>
                                  <p:childTnLst>
                                    <p:animEffect transition="out" filter="fade">
                                      <p:cBhvr>
                                        <p:cTn id="798" dur="1000" tmFilter="0, 0; .2, .5; .8, .5; 1, 0"/>
                                        <p:tgtEl>
                                          <p:spTgt spid="808"/>
                                        </p:tgtEl>
                                      </p:cBhvr>
                                    </p:animEffect>
                                    <p:animScale>
                                      <p:cBhvr>
                                        <p:cTn id="799" dur="500" autoRev="1" fill="hold"/>
                                        <p:tgtEl>
                                          <p:spTgt spid="808"/>
                                        </p:tgtEl>
                                      </p:cBhvr>
                                      <p:by x="105000" y="105000"/>
                                    </p:animScale>
                                  </p:childTnLst>
                                </p:cTn>
                              </p:par>
                              <p:par>
                                <p:cTn id="800" presetID="6" presetClass="emph" presetSubtype="0" repeatCount="indefinite" fill="hold" grpId="1" nodeType="withEffect">
                                  <p:stCondLst>
                                    <p:cond delay="1250"/>
                                  </p:stCondLst>
                                  <p:childTnLst>
                                    <p:animScale>
                                      <p:cBhvr>
                                        <p:cTn id="801" dur="7000" fill="hold"/>
                                        <p:tgtEl>
                                          <p:spTgt spid="808"/>
                                        </p:tgtEl>
                                      </p:cBhvr>
                                      <p:by x="150000" y="150000"/>
                                    </p:animScale>
                                  </p:childTnLst>
                                </p:cTn>
                              </p:par>
                              <p:par>
                                <p:cTn id="802" presetID="6" presetClass="emph" presetSubtype="0" repeatCount="indefinite" fill="hold" grpId="0" nodeType="withEffect">
                                  <p:stCondLst>
                                    <p:cond delay="1250"/>
                                  </p:stCondLst>
                                  <p:childTnLst>
                                    <p:animScale>
                                      <p:cBhvr>
                                        <p:cTn id="803" dur="7000" fill="hold"/>
                                        <p:tgtEl>
                                          <p:spTgt spid="807"/>
                                        </p:tgtEl>
                                      </p:cBhvr>
                                      <p:by x="150000" y="150000"/>
                                    </p:animScale>
                                  </p:childTnLst>
                                </p:cTn>
                              </p:par>
                              <p:par>
                                <p:cTn id="804" presetID="42" presetClass="path" presetSubtype="0" repeatCount="indefinite" accel="50000" decel="50000" fill="hold" grpId="2" nodeType="withEffect">
                                  <p:stCondLst>
                                    <p:cond delay="1250"/>
                                  </p:stCondLst>
                                  <p:childTnLst>
                                    <p:animMotion origin="layout" path="M 1.38889E-6 -3.45679E-6 L 1.38889E-6 0.58025 " pathEditMode="relative" rAng="0" ptsTypes="AA">
                                      <p:cBhvr>
                                        <p:cTn id="805" dur="7000" fill="hold"/>
                                        <p:tgtEl>
                                          <p:spTgt spid="808"/>
                                        </p:tgtEl>
                                        <p:attrNameLst>
                                          <p:attrName>ppt_x</p:attrName>
                                          <p:attrName>ppt_y</p:attrName>
                                        </p:attrNameLst>
                                      </p:cBhvr>
                                      <p:rCtr x="0" y="29012"/>
                                    </p:animMotion>
                                  </p:childTnLst>
                                </p:cTn>
                              </p:par>
                              <p:par>
                                <p:cTn id="806" presetID="42" presetClass="path" presetSubtype="0" repeatCount="indefinite" accel="50000" decel="50000" fill="hold" grpId="1" nodeType="withEffect">
                                  <p:stCondLst>
                                    <p:cond delay="1250"/>
                                  </p:stCondLst>
                                  <p:childTnLst>
                                    <p:animMotion origin="layout" path="M 1.38889E-6 -7.40741E-7 L 1.38889E-6 0.57963 " pathEditMode="relative" rAng="0" ptsTypes="AA">
                                      <p:cBhvr>
                                        <p:cTn id="807" dur="7000" fill="hold"/>
                                        <p:tgtEl>
                                          <p:spTgt spid="807"/>
                                        </p:tgtEl>
                                        <p:attrNameLst>
                                          <p:attrName>ppt_x</p:attrName>
                                          <p:attrName>ppt_y</p:attrName>
                                        </p:attrNameLst>
                                      </p:cBhvr>
                                      <p:rCtr x="0" y="28981"/>
                                    </p:animMotion>
                                  </p:childTnLst>
                                </p:cTn>
                              </p:par>
                              <p:par>
                                <p:cTn id="808" presetID="26" presetClass="emph" presetSubtype="0" repeatCount="indefinite" fill="hold" grpId="0" nodeType="withEffect">
                                  <p:stCondLst>
                                    <p:cond delay="1250"/>
                                  </p:stCondLst>
                                  <p:childTnLst>
                                    <p:animEffect transition="out" filter="fade">
                                      <p:cBhvr>
                                        <p:cTn id="809" dur="1000" tmFilter="0, 0; .2, .5; .8, .5; 1, 0"/>
                                        <p:tgtEl>
                                          <p:spTgt spid="810"/>
                                        </p:tgtEl>
                                      </p:cBhvr>
                                    </p:animEffect>
                                    <p:animScale>
                                      <p:cBhvr>
                                        <p:cTn id="810" dur="500" autoRev="1" fill="hold"/>
                                        <p:tgtEl>
                                          <p:spTgt spid="810"/>
                                        </p:tgtEl>
                                      </p:cBhvr>
                                      <p:by x="105000" y="105000"/>
                                    </p:animScale>
                                  </p:childTnLst>
                                </p:cTn>
                              </p:par>
                              <p:par>
                                <p:cTn id="811" presetID="6" presetClass="emph" presetSubtype="0" repeatCount="indefinite" fill="hold" grpId="1" nodeType="withEffect">
                                  <p:stCondLst>
                                    <p:cond delay="1250"/>
                                  </p:stCondLst>
                                  <p:childTnLst>
                                    <p:animScale>
                                      <p:cBhvr>
                                        <p:cTn id="812" dur="7000" fill="hold"/>
                                        <p:tgtEl>
                                          <p:spTgt spid="810"/>
                                        </p:tgtEl>
                                      </p:cBhvr>
                                      <p:by x="150000" y="150000"/>
                                    </p:animScale>
                                  </p:childTnLst>
                                </p:cTn>
                              </p:par>
                              <p:par>
                                <p:cTn id="813" presetID="6" presetClass="emph" presetSubtype="0" repeatCount="indefinite" fill="hold" grpId="0" nodeType="withEffect">
                                  <p:stCondLst>
                                    <p:cond delay="1250"/>
                                  </p:stCondLst>
                                  <p:childTnLst>
                                    <p:animScale>
                                      <p:cBhvr>
                                        <p:cTn id="814" dur="7000" fill="hold"/>
                                        <p:tgtEl>
                                          <p:spTgt spid="809"/>
                                        </p:tgtEl>
                                      </p:cBhvr>
                                      <p:by x="150000" y="150000"/>
                                    </p:animScale>
                                  </p:childTnLst>
                                </p:cTn>
                              </p:par>
                              <p:par>
                                <p:cTn id="815" presetID="42" presetClass="path" presetSubtype="0" repeatCount="indefinite" accel="50000" decel="50000" fill="hold" grpId="2" nodeType="withEffect">
                                  <p:stCondLst>
                                    <p:cond delay="1250"/>
                                  </p:stCondLst>
                                  <p:childTnLst>
                                    <p:animMotion origin="layout" path="M 1.38889E-6 -3.45679E-6 L 1.38889E-6 0.58025 " pathEditMode="relative" rAng="0" ptsTypes="AA">
                                      <p:cBhvr>
                                        <p:cTn id="816" dur="7000" fill="hold"/>
                                        <p:tgtEl>
                                          <p:spTgt spid="810"/>
                                        </p:tgtEl>
                                        <p:attrNameLst>
                                          <p:attrName>ppt_x</p:attrName>
                                          <p:attrName>ppt_y</p:attrName>
                                        </p:attrNameLst>
                                      </p:cBhvr>
                                      <p:rCtr x="0" y="29012"/>
                                    </p:animMotion>
                                  </p:childTnLst>
                                </p:cTn>
                              </p:par>
                              <p:par>
                                <p:cTn id="817" presetID="42" presetClass="path" presetSubtype="0" repeatCount="indefinite" accel="50000" decel="50000" fill="hold" grpId="1" nodeType="withEffect">
                                  <p:stCondLst>
                                    <p:cond delay="1250"/>
                                  </p:stCondLst>
                                  <p:childTnLst>
                                    <p:animMotion origin="layout" path="M 1.38889E-6 -7.40741E-7 L 1.38889E-6 0.57963 " pathEditMode="relative" rAng="0" ptsTypes="AA">
                                      <p:cBhvr>
                                        <p:cTn id="818" dur="7000" fill="hold"/>
                                        <p:tgtEl>
                                          <p:spTgt spid="809"/>
                                        </p:tgtEl>
                                        <p:attrNameLst>
                                          <p:attrName>ppt_x</p:attrName>
                                          <p:attrName>ppt_y</p:attrName>
                                        </p:attrNameLst>
                                      </p:cBhvr>
                                      <p:rCtr x="0" y="28981"/>
                                    </p:animMotion>
                                  </p:childTnLst>
                                </p:cTn>
                              </p:par>
                              <p:par>
                                <p:cTn id="819" presetID="26" presetClass="emph" presetSubtype="0" repeatCount="indefinite" fill="hold" grpId="0" nodeType="withEffect">
                                  <p:stCondLst>
                                    <p:cond delay="1250"/>
                                  </p:stCondLst>
                                  <p:childTnLst>
                                    <p:animEffect transition="out" filter="fade">
                                      <p:cBhvr>
                                        <p:cTn id="820" dur="1000" tmFilter="0, 0; .2, .5; .8, .5; 1, 0"/>
                                        <p:tgtEl>
                                          <p:spTgt spid="812"/>
                                        </p:tgtEl>
                                      </p:cBhvr>
                                    </p:animEffect>
                                    <p:animScale>
                                      <p:cBhvr>
                                        <p:cTn id="821" dur="500" autoRev="1" fill="hold"/>
                                        <p:tgtEl>
                                          <p:spTgt spid="812"/>
                                        </p:tgtEl>
                                      </p:cBhvr>
                                      <p:by x="105000" y="105000"/>
                                    </p:animScale>
                                  </p:childTnLst>
                                </p:cTn>
                              </p:par>
                              <p:par>
                                <p:cTn id="822" presetID="6" presetClass="emph" presetSubtype="0" repeatCount="indefinite" fill="hold" grpId="1" nodeType="withEffect">
                                  <p:stCondLst>
                                    <p:cond delay="1250"/>
                                  </p:stCondLst>
                                  <p:childTnLst>
                                    <p:animScale>
                                      <p:cBhvr>
                                        <p:cTn id="823" dur="7000" fill="hold"/>
                                        <p:tgtEl>
                                          <p:spTgt spid="812"/>
                                        </p:tgtEl>
                                      </p:cBhvr>
                                      <p:by x="150000" y="150000"/>
                                    </p:animScale>
                                  </p:childTnLst>
                                </p:cTn>
                              </p:par>
                              <p:par>
                                <p:cTn id="824" presetID="6" presetClass="emph" presetSubtype="0" repeatCount="indefinite" fill="hold" grpId="0" nodeType="withEffect">
                                  <p:stCondLst>
                                    <p:cond delay="1250"/>
                                  </p:stCondLst>
                                  <p:childTnLst>
                                    <p:animScale>
                                      <p:cBhvr>
                                        <p:cTn id="825" dur="7000" fill="hold"/>
                                        <p:tgtEl>
                                          <p:spTgt spid="811"/>
                                        </p:tgtEl>
                                      </p:cBhvr>
                                      <p:by x="150000" y="150000"/>
                                    </p:animScale>
                                  </p:childTnLst>
                                </p:cTn>
                              </p:par>
                              <p:par>
                                <p:cTn id="826" presetID="42" presetClass="path" presetSubtype="0" repeatCount="indefinite" accel="50000" decel="50000" fill="hold" grpId="2" nodeType="withEffect">
                                  <p:stCondLst>
                                    <p:cond delay="1250"/>
                                  </p:stCondLst>
                                  <p:childTnLst>
                                    <p:animMotion origin="layout" path="M 1.38889E-6 -3.45679E-6 L 1.38889E-6 0.58025 " pathEditMode="relative" rAng="0" ptsTypes="AA">
                                      <p:cBhvr>
                                        <p:cTn id="827" dur="7000" fill="hold"/>
                                        <p:tgtEl>
                                          <p:spTgt spid="812"/>
                                        </p:tgtEl>
                                        <p:attrNameLst>
                                          <p:attrName>ppt_x</p:attrName>
                                          <p:attrName>ppt_y</p:attrName>
                                        </p:attrNameLst>
                                      </p:cBhvr>
                                      <p:rCtr x="0" y="29012"/>
                                    </p:animMotion>
                                  </p:childTnLst>
                                </p:cTn>
                              </p:par>
                              <p:par>
                                <p:cTn id="828" presetID="42" presetClass="path" presetSubtype="0" repeatCount="indefinite" accel="50000" decel="50000" fill="hold" grpId="1" nodeType="withEffect">
                                  <p:stCondLst>
                                    <p:cond delay="1250"/>
                                  </p:stCondLst>
                                  <p:childTnLst>
                                    <p:animMotion origin="layout" path="M 1.38889E-6 -7.40741E-7 L 1.38889E-6 0.57963 " pathEditMode="relative" rAng="0" ptsTypes="AA">
                                      <p:cBhvr>
                                        <p:cTn id="829" dur="7000" fill="hold"/>
                                        <p:tgtEl>
                                          <p:spTgt spid="811"/>
                                        </p:tgtEl>
                                        <p:attrNameLst>
                                          <p:attrName>ppt_x</p:attrName>
                                          <p:attrName>ppt_y</p:attrName>
                                        </p:attrNameLst>
                                      </p:cBhvr>
                                      <p:rCtr x="0" y="28981"/>
                                    </p:animMotion>
                                  </p:childTnLst>
                                </p:cTn>
                              </p:par>
                              <p:par>
                                <p:cTn id="830" presetID="26" presetClass="emph" presetSubtype="0" repeatCount="indefinite" fill="hold" grpId="0" nodeType="withEffect">
                                  <p:stCondLst>
                                    <p:cond delay="1250"/>
                                  </p:stCondLst>
                                  <p:childTnLst>
                                    <p:animEffect transition="out" filter="fade">
                                      <p:cBhvr>
                                        <p:cTn id="831" dur="1000" tmFilter="0, 0; .2, .5; .8, .5; 1, 0"/>
                                        <p:tgtEl>
                                          <p:spTgt spid="814"/>
                                        </p:tgtEl>
                                      </p:cBhvr>
                                    </p:animEffect>
                                    <p:animScale>
                                      <p:cBhvr>
                                        <p:cTn id="832" dur="500" autoRev="1" fill="hold"/>
                                        <p:tgtEl>
                                          <p:spTgt spid="814"/>
                                        </p:tgtEl>
                                      </p:cBhvr>
                                      <p:by x="105000" y="105000"/>
                                    </p:animScale>
                                  </p:childTnLst>
                                </p:cTn>
                              </p:par>
                              <p:par>
                                <p:cTn id="833" presetID="6" presetClass="emph" presetSubtype="0" repeatCount="indefinite" fill="hold" grpId="1" nodeType="withEffect">
                                  <p:stCondLst>
                                    <p:cond delay="1250"/>
                                  </p:stCondLst>
                                  <p:childTnLst>
                                    <p:animScale>
                                      <p:cBhvr>
                                        <p:cTn id="834" dur="7000" fill="hold"/>
                                        <p:tgtEl>
                                          <p:spTgt spid="814"/>
                                        </p:tgtEl>
                                      </p:cBhvr>
                                      <p:by x="150000" y="150000"/>
                                    </p:animScale>
                                  </p:childTnLst>
                                </p:cTn>
                              </p:par>
                              <p:par>
                                <p:cTn id="835" presetID="6" presetClass="emph" presetSubtype="0" repeatCount="indefinite" fill="hold" grpId="0" nodeType="withEffect">
                                  <p:stCondLst>
                                    <p:cond delay="1250"/>
                                  </p:stCondLst>
                                  <p:childTnLst>
                                    <p:animScale>
                                      <p:cBhvr>
                                        <p:cTn id="836" dur="7000" fill="hold"/>
                                        <p:tgtEl>
                                          <p:spTgt spid="813"/>
                                        </p:tgtEl>
                                      </p:cBhvr>
                                      <p:by x="150000" y="150000"/>
                                    </p:animScale>
                                  </p:childTnLst>
                                </p:cTn>
                              </p:par>
                              <p:par>
                                <p:cTn id="837" presetID="42" presetClass="path" presetSubtype="0" repeatCount="indefinite" accel="50000" decel="50000" fill="hold" grpId="2" nodeType="withEffect">
                                  <p:stCondLst>
                                    <p:cond delay="1250"/>
                                  </p:stCondLst>
                                  <p:childTnLst>
                                    <p:animMotion origin="layout" path="M 1.38889E-6 -3.45679E-6 L 1.38889E-6 0.58025 " pathEditMode="relative" rAng="0" ptsTypes="AA">
                                      <p:cBhvr>
                                        <p:cTn id="838" dur="7000" fill="hold"/>
                                        <p:tgtEl>
                                          <p:spTgt spid="814"/>
                                        </p:tgtEl>
                                        <p:attrNameLst>
                                          <p:attrName>ppt_x</p:attrName>
                                          <p:attrName>ppt_y</p:attrName>
                                        </p:attrNameLst>
                                      </p:cBhvr>
                                      <p:rCtr x="0" y="29012"/>
                                    </p:animMotion>
                                  </p:childTnLst>
                                </p:cTn>
                              </p:par>
                              <p:par>
                                <p:cTn id="839" presetID="42" presetClass="path" presetSubtype="0" repeatCount="indefinite" accel="50000" decel="50000" fill="hold" grpId="1" nodeType="withEffect">
                                  <p:stCondLst>
                                    <p:cond delay="1250"/>
                                  </p:stCondLst>
                                  <p:childTnLst>
                                    <p:animMotion origin="layout" path="M 1.38889E-6 -7.40741E-7 L 1.38889E-6 0.57963 " pathEditMode="relative" rAng="0" ptsTypes="AA">
                                      <p:cBhvr>
                                        <p:cTn id="840" dur="7000" fill="hold"/>
                                        <p:tgtEl>
                                          <p:spTgt spid="813"/>
                                        </p:tgtEl>
                                        <p:attrNameLst>
                                          <p:attrName>ppt_x</p:attrName>
                                          <p:attrName>ppt_y</p:attrName>
                                        </p:attrNameLst>
                                      </p:cBhvr>
                                      <p:rCtr x="0" y="28981"/>
                                    </p:animMotion>
                                  </p:childTnLst>
                                </p:cTn>
                              </p:par>
                              <p:par>
                                <p:cTn id="841" presetID="26" presetClass="emph" presetSubtype="0" repeatCount="indefinite" fill="hold" grpId="0" nodeType="withEffect">
                                  <p:stCondLst>
                                    <p:cond delay="1250"/>
                                  </p:stCondLst>
                                  <p:childTnLst>
                                    <p:animEffect transition="out" filter="fade">
                                      <p:cBhvr>
                                        <p:cTn id="842" dur="1000" tmFilter="0, 0; .2, .5; .8, .5; 1, 0"/>
                                        <p:tgtEl>
                                          <p:spTgt spid="816"/>
                                        </p:tgtEl>
                                      </p:cBhvr>
                                    </p:animEffect>
                                    <p:animScale>
                                      <p:cBhvr>
                                        <p:cTn id="843" dur="500" autoRev="1" fill="hold"/>
                                        <p:tgtEl>
                                          <p:spTgt spid="816"/>
                                        </p:tgtEl>
                                      </p:cBhvr>
                                      <p:by x="105000" y="105000"/>
                                    </p:animScale>
                                  </p:childTnLst>
                                </p:cTn>
                              </p:par>
                              <p:par>
                                <p:cTn id="844" presetID="6" presetClass="emph" presetSubtype="0" repeatCount="indefinite" fill="hold" grpId="1" nodeType="withEffect">
                                  <p:stCondLst>
                                    <p:cond delay="1250"/>
                                  </p:stCondLst>
                                  <p:childTnLst>
                                    <p:animScale>
                                      <p:cBhvr>
                                        <p:cTn id="845" dur="7000" fill="hold"/>
                                        <p:tgtEl>
                                          <p:spTgt spid="816"/>
                                        </p:tgtEl>
                                      </p:cBhvr>
                                      <p:by x="150000" y="150000"/>
                                    </p:animScale>
                                  </p:childTnLst>
                                </p:cTn>
                              </p:par>
                              <p:par>
                                <p:cTn id="846" presetID="6" presetClass="emph" presetSubtype="0" repeatCount="indefinite" fill="hold" grpId="0" nodeType="withEffect">
                                  <p:stCondLst>
                                    <p:cond delay="1250"/>
                                  </p:stCondLst>
                                  <p:childTnLst>
                                    <p:animScale>
                                      <p:cBhvr>
                                        <p:cTn id="847" dur="7000" fill="hold"/>
                                        <p:tgtEl>
                                          <p:spTgt spid="815"/>
                                        </p:tgtEl>
                                      </p:cBhvr>
                                      <p:by x="150000" y="150000"/>
                                    </p:animScale>
                                  </p:childTnLst>
                                </p:cTn>
                              </p:par>
                              <p:par>
                                <p:cTn id="848" presetID="42" presetClass="path" presetSubtype="0" repeatCount="indefinite" accel="50000" decel="50000" fill="hold" grpId="2" nodeType="withEffect">
                                  <p:stCondLst>
                                    <p:cond delay="1250"/>
                                  </p:stCondLst>
                                  <p:childTnLst>
                                    <p:animMotion origin="layout" path="M 1.38889E-6 -3.45679E-6 L 1.38889E-6 0.58025 " pathEditMode="relative" rAng="0" ptsTypes="AA">
                                      <p:cBhvr>
                                        <p:cTn id="849" dur="7000" fill="hold"/>
                                        <p:tgtEl>
                                          <p:spTgt spid="816"/>
                                        </p:tgtEl>
                                        <p:attrNameLst>
                                          <p:attrName>ppt_x</p:attrName>
                                          <p:attrName>ppt_y</p:attrName>
                                        </p:attrNameLst>
                                      </p:cBhvr>
                                      <p:rCtr x="0" y="29012"/>
                                    </p:animMotion>
                                  </p:childTnLst>
                                </p:cTn>
                              </p:par>
                              <p:par>
                                <p:cTn id="850" presetID="42" presetClass="path" presetSubtype="0" repeatCount="indefinite" accel="50000" decel="50000" fill="hold" grpId="1" nodeType="withEffect">
                                  <p:stCondLst>
                                    <p:cond delay="1250"/>
                                  </p:stCondLst>
                                  <p:childTnLst>
                                    <p:animMotion origin="layout" path="M 1.38889E-6 -7.40741E-7 L 1.38889E-6 0.57963 " pathEditMode="relative" rAng="0" ptsTypes="AA">
                                      <p:cBhvr>
                                        <p:cTn id="851" dur="7000" fill="hold"/>
                                        <p:tgtEl>
                                          <p:spTgt spid="815"/>
                                        </p:tgtEl>
                                        <p:attrNameLst>
                                          <p:attrName>ppt_x</p:attrName>
                                          <p:attrName>ppt_y</p:attrName>
                                        </p:attrNameLst>
                                      </p:cBhvr>
                                      <p:rCtr x="0" y="28981"/>
                                    </p:animMotion>
                                  </p:childTnLst>
                                </p:cTn>
                              </p:par>
                              <p:par>
                                <p:cTn id="852" presetID="26" presetClass="emph" presetSubtype="0" repeatCount="indefinite" fill="hold" grpId="0" nodeType="withEffect">
                                  <p:stCondLst>
                                    <p:cond delay="1250"/>
                                  </p:stCondLst>
                                  <p:childTnLst>
                                    <p:animEffect transition="out" filter="fade">
                                      <p:cBhvr>
                                        <p:cTn id="853" dur="1000" tmFilter="0, 0; .2, .5; .8, .5; 1, 0"/>
                                        <p:tgtEl>
                                          <p:spTgt spid="818"/>
                                        </p:tgtEl>
                                      </p:cBhvr>
                                    </p:animEffect>
                                    <p:animScale>
                                      <p:cBhvr>
                                        <p:cTn id="854" dur="500" autoRev="1" fill="hold"/>
                                        <p:tgtEl>
                                          <p:spTgt spid="818"/>
                                        </p:tgtEl>
                                      </p:cBhvr>
                                      <p:by x="105000" y="105000"/>
                                    </p:animScale>
                                  </p:childTnLst>
                                </p:cTn>
                              </p:par>
                              <p:par>
                                <p:cTn id="855" presetID="6" presetClass="emph" presetSubtype="0" repeatCount="indefinite" fill="hold" grpId="1" nodeType="withEffect">
                                  <p:stCondLst>
                                    <p:cond delay="1250"/>
                                  </p:stCondLst>
                                  <p:childTnLst>
                                    <p:animScale>
                                      <p:cBhvr>
                                        <p:cTn id="856" dur="7000" fill="hold"/>
                                        <p:tgtEl>
                                          <p:spTgt spid="818"/>
                                        </p:tgtEl>
                                      </p:cBhvr>
                                      <p:by x="150000" y="150000"/>
                                    </p:animScale>
                                  </p:childTnLst>
                                </p:cTn>
                              </p:par>
                              <p:par>
                                <p:cTn id="857" presetID="6" presetClass="emph" presetSubtype="0" repeatCount="indefinite" fill="hold" grpId="0" nodeType="withEffect">
                                  <p:stCondLst>
                                    <p:cond delay="1250"/>
                                  </p:stCondLst>
                                  <p:childTnLst>
                                    <p:animScale>
                                      <p:cBhvr>
                                        <p:cTn id="858" dur="7000" fill="hold"/>
                                        <p:tgtEl>
                                          <p:spTgt spid="817"/>
                                        </p:tgtEl>
                                      </p:cBhvr>
                                      <p:by x="150000" y="150000"/>
                                    </p:animScale>
                                  </p:childTnLst>
                                </p:cTn>
                              </p:par>
                              <p:par>
                                <p:cTn id="859" presetID="42" presetClass="path" presetSubtype="0" repeatCount="indefinite" accel="50000" decel="50000" fill="hold" grpId="2" nodeType="withEffect">
                                  <p:stCondLst>
                                    <p:cond delay="1250"/>
                                  </p:stCondLst>
                                  <p:childTnLst>
                                    <p:animMotion origin="layout" path="M 1.38889E-6 -3.45679E-6 L 1.38889E-6 0.58025 " pathEditMode="relative" rAng="0" ptsTypes="AA">
                                      <p:cBhvr>
                                        <p:cTn id="860" dur="7000" fill="hold"/>
                                        <p:tgtEl>
                                          <p:spTgt spid="818"/>
                                        </p:tgtEl>
                                        <p:attrNameLst>
                                          <p:attrName>ppt_x</p:attrName>
                                          <p:attrName>ppt_y</p:attrName>
                                        </p:attrNameLst>
                                      </p:cBhvr>
                                      <p:rCtr x="0" y="29012"/>
                                    </p:animMotion>
                                  </p:childTnLst>
                                </p:cTn>
                              </p:par>
                              <p:par>
                                <p:cTn id="861" presetID="42" presetClass="path" presetSubtype="0" repeatCount="indefinite" accel="50000" decel="50000" fill="hold" grpId="1" nodeType="withEffect">
                                  <p:stCondLst>
                                    <p:cond delay="1250"/>
                                  </p:stCondLst>
                                  <p:childTnLst>
                                    <p:animMotion origin="layout" path="M 1.38889E-6 -7.40741E-7 L 1.38889E-6 0.57963 " pathEditMode="relative" rAng="0" ptsTypes="AA">
                                      <p:cBhvr>
                                        <p:cTn id="862" dur="7000" fill="hold"/>
                                        <p:tgtEl>
                                          <p:spTgt spid="817"/>
                                        </p:tgtEl>
                                        <p:attrNameLst>
                                          <p:attrName>ppt_x</p:attrName>
                                          <p:attrName>ppt_y</p:attrName>
                                        </p:attrNameLst>
                                      </p:cBhvr>
                                      <p:rCtr x="0" y="28981"/>
                                    </p:animMotion>
                                  </p:childTnLst>
                                </p:cTn>
                              </p:par>
                              <p:par>
                                <p:cTn id="863" presetID="26" presetClass="emph" presetSubtype="0" repeatCount="indefinite" fill="hold" grpId="0" nodeType="withEffect">
                                  <p:stCondLst>
                                    <p:cond delay="1250"/>
                                  </p:stCondLst>
                                  <p:childTnLst>
                                    <p:animEffect transition="out" filter="fade">
                                      <p:cBhvr>
                                        <p:cTn id="864" dur="1000" tmFilter="0, 0; .2, .5; .8, .5; 1, 0"/>
                                        <p:tgtEl>
                                          <p:spTgt spid="820"/>
                                        </p:tgtEl>
                                      </p:cBhvr>
                                    </p:animEffect>
                                    <p:animScale>
                                      <p:cBhvr>
                                        <p:cTn id="865" dur="500" autoRev="1" fill="hold"/>
                                        <p:tgtEl>
                                          <p:spTgt spid="820"/>
                                        </p:tgtEl>
                                      </p:cBhvr>
                                      <p:by x="105000" y="105000"/>
                                    </p:animScale>
                                  </p:childTnLst>
                                </p:cTn>
                              </p:par>
                              <p:par>
                                <p:cTn id="866" presetID="6" presetClass="emph" presetSubtype="0" repeatCount="indefinite" fill="hold" grpId="1" nodeType="withEffect">
                                  <p:stCondLst>
                                    <p:cond delay="1250"/>
                                  </p:stCondLst>
                                  <p:childTnLst>
                                    <p:animScale>
                                      <p:cBhvr>
                                        <p:cTn id="867" dur="7000" fill="hold"/>
                                        <p:tgtEl>
                                          <p:spTgt spid="820"/>
                                        </p:tgtEl>
                                      </p:cBhvr>
                                      <p:by x="150000" y="150000"/>
                                    </p:animScale>
                                  </p:childTnLst>
                                </p:cTn>
                              </p:par>
                              <p:par>
                                <p:cTn id="868" presetID="6" presetClass="emph" presetSubtype="0" repeatCount="indefinite" fill="hold" grpId="0" nodeType="withEffect">
                                  <p:stCondLst>
                                    <p:cond delay="1250"/>
                                  </p:stCondLst>
                                  <p:childTnLst>
                                    <p:animScale>
                                      <p:cBhvr>
                                        <p:cTn id="869" dur="7000" fill="hold"/>
                                        <p:tgtEl>
                                          <p:spTgt spid="819"/>
                                        </p:tgtEl>
                                      </p:cBhvr>
                                      <p:by x="150000" y="150000"/>
                                    </p:animScale>
                                  </p:childTnLst>
                                </p:cTn>
                              </p:par>
                              <p:par>
                                <p:cTn id="870" presetID="42" presetClass="path" presetSubtype="0" repeatCount="indefinite" accel="50000" decel="50000" fill="hold" grpId="2" nodeType="withEffect">
                                  <p:stCondLst>
                                    <p:cond delay="1250"/>
                                  </p:stCondLst>
                                  <p:childTnLst>
                                    <p:animMotion origin="layout" path="M 1.38889E-6 -3.45679E-6 L 1.38889E-6 0.58025 " pathEditMode="relative" rAng="0" ptsTypes="AA">
                                      <p:cBhvr>
                                        <p:cTn id="871" dur="7000" fill="hold"/>
                                        <p:tgtEl>
                                          <p:spTgt spid="820"/>
                                        </p:tgtEl>
                                        <p:attrNameLst>
                                          <p:attrName>ppt_x</p:attrName>
                                          <p:attrName>ppt_y</p:attrName>
                                        </p:attrNameLst>
                                      </p:cBhvr>
                                      <p:rCtr x="0" y="29012"/>
                                    </p:animMotion>
                                  </p:childTnLst>
                                </p:cTn>
                              </p:par>
                              <p:par>
                                <p:cTn id="872" presetID="42" presetClass="path" presetSubtype="0" repeatCount="indefinite" accel="50000" decel="50000" fill="hold" grpId="1" nodeType="withEffect">
                                  <p:stCondLst>
                                    <p:cond delay="1250"/>
                                  </p:stCondLst>
                                  <p:childTnLst>
                                    <p:animMotion origin="layout" path="M 1.38889E-6 -7.40741E-7 L 1.38889E-6 0.57963 " pathEditMode="relative" rAng="0" ptsTypes="AA">
                                      <p:cBhvr>
                                        <p:cTn id="873" dur="7000" fill="hold"/>
                                        <p:tgtEl>
                                          <p:spTgt spid="819"/>
                                        </p:tgtEl>
                                        <p:attrNameLst>
                                          <p:attrName>ppt_x</p:attrName>
                                          <p:attrName>ppt_y</p:attrName>
                                        </p:attrNameLst>
                                      </p:cBhvr>
                                      <p:rCtr x="0" y="28981"/>
                                    </p:animMotion>
                                  </p:childTnLst>
                                </p:cTn>
                              </p:par>
                              <p:par>
                                <p:cTn id="874" presetID="26" presetClass="emph" presetSubtype="0" repeatCount="indefinite" fill="hold" grpId="0" nodeType="withEffect">
                                  <p:stCondLst>
                                    <p:cond delay="1250"/>
                                  </p:stCondLst>
                                  <p:childTnLst>
                                    <p:animEffect transition="out" filter="fade">
                                      <p:cBhvr>
                                        <p:cTn id="875" dur="1000" tmFilter="0, 0; .2, .5; .8, .5; 1, 0"/>
                                        <p:tgtEl>
                                          <p:spTgt spid="822"/>
                                        </p:tgtEl>
                                      </p:cBhvr>
                                    </p:animEffect>
                                    <p:animScale>
                                      <p:cBhvr>
                                        <p:cTn id="876" dur="500" autoRev="1" fill="hold"/>
                                        <p:tgtEl>
                                          <p:spTgt spid="822"/>
                                        </p:tgtEl>
                                      </p:cBhvr>
                                      <p:by x="105000" y="105000"/>
                                    </p:animScale>
                                  </p:childTnLst>
                                </p:cTn>
                              </p:par>
                              <p:par>
                                <p:cTn id="877" presetID="6" presetClass="emph" presetSubtype="0" repeatCount="indefinite" fill="hold" grpId="1" nodeType="withEffect">
                                  <p:stCondLst>
                                    <p:cond delay="1250"/>
                                  </p:stCondLst>
                                  <p:childTnLst>
                                    <p:animScale>
                                      <p:cBhvr>
                                        <p:cTn id="878" dur="7000" fill="hold"/>
                                        <p:tgtEl>
                                          <p:spTgt spid="822"/>
                                        </p:tgtEl>
                                      </p:cBhvr>
                                      <p:by x="150000" y="150000"/>
                                    </p:animScale>
                                  </p:childTnLst>
                                </p:cTn>
                              </p:par>
                              <p:par>
                                <p:cTn id="879" presetID="6" presetClass="emph" presetSubtype="0" repeatCount="indefinite" fill="hold" grpId="0" nodeType="withEffect">
                                  <p:stCondLst>
                                    <p:cond delay="1250"/>
                                  </p:stCondLst>
                                  <p:childTnLst>
                                    <p:animScale>
                                      <p:cBhvr>
                                        <p:cTn id="880" dur="7000" fill="hold"/>
                                        <p:tgtEl>
                                          <p:spTgt spid="821"/>
                                        </p:tgtEl>
                                      </p:cBhvr>
                                      <p:by x="150000" y="150000"/>
                                    </p:animScale>
                                  </p:childTnLst>
                                </p:cTn>
                              </p:par>
                              <p:par>
                                <p:cTn id="881" presetID="42" presetClass="path" presetSubtype="0" repeatCount="indefinite" accel="50000" decel="50000" fill="hold" grpId="2" nodeType="withEffect">
                                  <p:stCondLst>
                                    <p:cond delay="1250"/>
                                  </p:stCondLst>
                                  <p:childTnLst>
                                    <p:animMotion origin="layout" path="M 1.38889E-6 -3.45679E-6 L 1.38889E-6 0.58025 " pathEditMode="relative" rAng="0" ptsTypes="AA">
                                      <p:cBhvr>
                                        <p:cTn id="882" dur="7000" fill="hold"/>
                                        <p:tgtEl>
                                          <p:spTgt spid="822"/>
                                        </p:tgtEl>
                                        <p:attrNameLst>
                                          <p:attrName>ppt_x</p:attrName>
                                          <p:attrName>ppt_y</p:attrName>
                                        </p:attrNameLst>
                                      </p:cBhvr>
                                      <p:rCtr x="0" y="29012"/>
                                    </p:animMotion>
                                  </p:childTnLst>
                                </p:cTn>
                              </p:par>
                              <p:par>
                                <p:cTn id="883" presetID="42" presetClass="path" presetSubtype="0" repeatCount="indefinite" accel="50000" decel="50000" fill="hold" grpId="1" nodeType="withEffect">
                                  <p:stCondLst>
                                    <p:cond delay="1250"/>
                                  </p:stCondLst>
                                  <p:childTnLst>
                                    <p:animMotion origin="layout" path="M 1.38889E-6 -7.40741E-7 L 1.38889E-6 0.57963 " pathEditMode="relative" rAng="0" ptsTypes="AA">
                                      <p:cBhvr>
                                        <p:cTn id="884" dur="7000" fill="hold"/>
                                        <p:tgtEl>
                                          <p:spTgt spid="821"/>
                                        </p:tgtEl>
                                        <p:attrNameLst>
                                          <p:attrName>ppt_x</p:attrName>
                                          <p:attrName>ppt_y</p:attrName>
                                        </p:attrNameLst>
                                      </p:cBhvr>
                                      <p:rCtr x="0" y="28981"/>
                                    </p:animMotion>
                                  </p:childTnLst>
                                </p:cTn>
                              </p:par>
                              <p:par>
                                <p:cTn id="885" presetID="26" presetClass="emph" presetSubtype="0" repeatCount="indefinite" fill="hold" grpId="0" nodeType="withEffect">
                                  <p:stCondLst>
                                    <p:cond delay="1250"/>
                                  </p:stCondLst>
                                  <p:childTnLst>
                                    <p:animEffect transition="out" filter="fade">
                                      <p:cBhvr>
                                        <p:cTn id="886" dur="1000" tmFilter="0, 0; .2, .5; .8, .5; 1, 0"/>
                                        <p:tgtEl>
                                          <p:spTgt spid="824"/>
                                        </p:tgtEl>
                                      </p:cBhvr>
                                    </p:animEffect>
                                    <p:animScale>
                                      <p:cBhvr>
                                        <p:cTn id="887" dur="500" autoRev="1" fill="hold"/>
                                        <p:tgtEl>
                                          <p:spTgt spid="824"/>
                                        </p:tgtEl>
                                      </p:cBhvr>
                                      <p:by x="105000" y="105000"/>
                                    </p:animScale>
                                  </p:childTnLst>
                                </p:cTn>
                              </p:par>
                              <p:par>
                                <p:cTn id="888" presetID="6" presetClass="emph" presetSubtype="0" repeatCount="indefinite" fill="hold" grpId="1" nodeType="withEffect">
                                  <p:stCondLst>
                                    <p:cond delay="1250"/>
                                  </p:stCondLst>
                                  <p:childTnLst>
                                    <p:animScale>
                                      <p:cBhvr>
                                        <p:cTn id="889" dur="7000" fill="hold"/>
                                        <p:tgtEl>
                                          <p:spTgt spid="824"/>
                                        </p:tgtEl>
                                      </p:cBhvr>
                                      <p:by x="150000" y="150000"/>
                                    </p:animScale>
                                  </p:childTnLst>
                                </p:cTn>
                              </p:par>
                              <p:par>
                                <p:cTn id="890" presetID="6" presetClass="emph" presetSubtype="0" repeatCount="indefinite" fill="hold" grpId="0" nodeType="withEffect">
                                  <p:stCondLst>
                                    <p:cond delay="1250"/>
                                  </p:stCondLst>
                                  <p:childTnLst>
                                    <p:animScale>
                                      <p:cBhvr>
                                        <p:cTn id="891" dur="7000" fill="hold"/>
                                        <p:tgtEl>
                                          <p:spTgt spid="823"/>
                                        </p:tgtEl>
                                      </p:cBhvr>
                                      <p:by x="150000" y="150000"/>
                                    </p:animScale>
                                  </p:childTnLst>
                                </p:cTn>
                              </p:par>
                              <p:par>
                                <p:cTn id="892" presetID="42" presetClass="path" presetSubtype="0" repeatCount="indefinite" accel="50000" decel="50000" fill="hold" grpId="2" nodeType="withEffect">
                                  <p:stCondLst>
                                    <p:cond delay="1250"/>
                                  </p:stCondLst>
                                  <p:childTnLst>
                                    <p:animMotion origin="layout" path="M 1.38889E-6 -3.45679E-6 L 1.38889E-6 0.58025 " pathEditMode="relative" rAng="0" ptsTypes="AA">
                                      <p:cBhvr>
                                        <p:cTn id="893" dur="7000" fill="hold"/>
                                        <p:tgtEl>
                                          <p:spTgt spid="824"/>
                                        </p:tgtEl>
                                        <p:attrNameLst>
                                          <p:attrName>ppt_x</p:attrName>
                                          <p:attrName>ppt_y</p:attrName>
                                        </p:attrNameLst>
                                      </p:cBhvr>
                                      <p:rCtr x="0" y="29012"/>
                                    </p:animMotion>
                                  </p:childTnLst>
                                </p:cTn>
                              </p:par>
                              <p:par>
                                <p:cTn id="894" presetID="42" presetClass="path" presetSubtype="0" repeatCount="indefinite" accel="50000" decel="50000" fill="hold" grpId="1" nodeType="withEffect">
                                  <p:stCondLst>
                                    <p:cond delay="1250"/>
                                  </p:stCondLst>
                                  <p:childTnLst>
                                    <p:animMotion origin="layout" path="M 1.38889E-6 -7.40741E-7 L 1.38889E-6 0.57963 " pathEditMode="relative" rAng="0" ptsTypes="AA">
                                      <p:cBhvr>
                                        <p:cTn id="895" dur="7000" fill="hold"/>
                                        <p:tgtEl>
                                          <p:spTgt spid="823"/>
                                        </p:tgtEl>
                                        <p:attrNameLst>
                                          <p:attrName>ppt_x</p:attrName>
                                          <p:attrName>ppt_y</p:attrName>
                                        </p:attrNameLst>
                                      </p:cBhvr>
                                      <p:rCtr x="0" y="28981"/>
                                    </p:animMotion>
                                  </p:childTnLst>
                                </p:cTn>
                              </p:par>
                              <p:par>
                                <p:cTn id="896" presetID="26" presetClass="emph" presetSubtype="0" repeatCount="indefinite" fill="hold" grpId="0" nodeType="withEffect">
                                  <p:stCondLst>
                                    <p:cond delay="1250"/>
                                  </p:stCondLst>
                                  <p:childTnLst>
                                    <p:animEffect transition="out" filter="fade">
                                      <p:cBhvr>
                                        <p:cTn id="897" dur="1000" tmFilter="0, 0; .2, .5; .8, .5; 1, 0"/>
                                        <p:tgtEl>
                                          <p:spTgt spid="826"/>
                                        </p:tgtEl>
                                      </p:cBhvr>
                                    </p:animEffect>
                                    <p:animScale>
                                      <p:cBhvr>
                                        <p:cTn id="898" dur="500" autoRev="1" fill="hold"/>
                                        <p:tgtEl>
                                          <p:spTgt spid="826"/>
                                        </p:tgtEl>
                                      </p:cBhvr>
                                      <p:by x="105000" y="105000"/>
                                    </p:animScale>
                                  </p:childTnLst>
                                </p:cTn>
                              </p:par>
                              <p:par>
                                <p:cTn id="899" presetID="6" presetClass="emph" presetSubtype="0" repeatCount="indefinite" fill="hold" grpId="1" nodeType="withEffect">
                                  <p:stCondLst>
                                    <p:cond delay="1250"/>
                                  </p:stCondLst>
                                  <p:childTnLst>
                                    <p:animScale>
                                      <p:cBhvr>
                                        <p:cTn id="900" dur="7000" fill="hold"/>
                                        <p:tgtEl>
                                          <p:spTgt spid="826"/>
                                        </p:tgtEl>
                                      </p:cBhvr>
                                      <p:by x="150000" y="150000"/>
                                    </p:animScale>
                                  </p:childTnLst>
                                </p:cTn>
                              </p:par>
                              <p:par>
                                <p:cTn id="901" presetID="6" presetClass="emph" presetSubtype="0" repeatCount="indefinite" fill="hold" grpId="0" nodeType="withEffect">
                                  <p:stCondLst>
                                    <p:cond delay="1250"/>
                                  </p:stCondLst>
                                  <p:childTnLst>
                                    <p:animScale>
                                      <p:cBhvr>
                                        <p:cTn id="902" dur="7000" fill="hold"/>
                                        <p:tgtEl>
                                          <p:spTgt spid="825"/>
                                        </p:tgtEl>
                                      </p:cBhvr>
                                      <p:by x="150000" y="150000"/>
                                    </p:animScale>
                                  </p:childTnLst>
                                </p:cTn>
                              </p:par>
                              <p:par>
                                <p:cTn id="903" presetID="42" presetClass="path" presetSubtype="0" repeatCount="indefinite" accel="50000" decel="50000" fill="hold" grpId="2" nodeType="withEffect">
                                  <p:stCondLst>
                                    <p:cond delay="1250"/>
                                  </p:stCondLst>
                                  <p:childTnLst>
                                    <p:animMotion origin="layout" path="M 1.38889E-6 -3.45679E-6 L 1.38889E-6 0.58025 " pathEditMode="relative" rAng="0" ptsTypes="AA">
                                      <p:cBhvr>
                                        <p:cTn id="904" dur="7000" fill="hold"/>
                                        <p:tgtEl>
                                          <p:spTgt spid="826"/>
                                        </p:tgtEl>
                                        <p:attrNameLst>
                                          <p:attrName>ppt_x</p:attrName>
                                          <p:attrName>ppt_y</p:attrName>
                                        </p:attrNameLst>
                                      </p:cBhvr>
                                      <p:rCtr x="0" y="29012"/>
                                    </p:animMotion>
                                  </p:childTnLst>
                                </p:cTn>
                              </p:par>
                              <p:par>
                                <p:cTn id="905" presetID="42" presetClass="path" presetSubtype="0" repeatCount="indefinite" accel="50000" decel="50000" fill="hold" grpId="1" nodeType="withEffect">
                                  <p:stCondLst>
                                    <p:cond delay="1250"/>
                                  </p:stCondLst>
                                  <p:childTnLst>
                                    <p:animMotion origin="layout" path="M 1.38889E-6 -7.40741E-7 L 1.38889E-6 0.57963 " pathEditMode="relative" rAng="0" ptsTypes="AA">
                                      <p:cBhvr>
                                        <p:cTn id="906" dur="7000" fill="hold"/>
                                        <p:tgtEl>
                                          <p:spTgt spid="825"/>
                                        </p:tgtEl>
                                        <p:attrNameLst>
                                          <p:attrName>ppt_x</p:attrName>
                                          <p:attrName>ppt_y</p:attrName>
                                        </p:attrNameLst>
                                      </p:cBhvr>
                                      <p:rCtr x="0" y="28981"/>
                                    </p:animMotion>
                                  </p:childTnLst>
                                </p:cTn>
                              </p:par>
                              <p:par>
                                <p:cTn id="907" presetID="26" presetClass="emph" presetSubtype="0" repeatCount="indefinite" fill="hold" grpId="0" nodeType="withEffect">
                                  <p:stCondLst>
                                    <p:cond delay="2500"/>
                                  </p:stCondLst>
                                  <p:childTnLst>
                                    <p:animEffect transition="out" filter="fade">
                                      <p:cBhvr>
                                        <p:cTn id="908" dur="1000" tmFilter="0, 0; .2, .5; .8, .5; 1, 0"/>
                                        <p:tgtEl>
                                          <p:spTgt spid="828"/>
                                        </p:tgtEl>
                                      </p:cBhvr>
                                    </p:animEffect>
                                    <p:animScale>
                                      <p:cBhvr>
                                        <p:cTn id="909" dur="500" autoRev="1" fill="hold"/>
                                        <p:tgtEl>
                                          <p:spTgt spid="828"/>
                                        </p:tgtEl>
                                      </p:cBhvr>
                                      <p:by x="105000" y="105000"/>
                                    </p:animScale>
                                  </p:childTnLst>
                                </p:cTn>
                              </p:par>
                              <p:par>
                                <p:cTn id="910" presetID="6" presetClass="emph" presetSubtype="0" repeatCount="indefinite" fill="hold" grpId="1" nodeType="withEffect">
                                  <p:stCondLst>
                                    <p:cond delay="2500"/>
                                  </p:stCondLst>
                                  <p:childTnLst>
                                    <p:animScale>
                                      <p:cBhvr>
                                        <p:cTn id="911" dur="7000" fill="hold"/>
                                        <p:tgtEl>
                                          <p:spTgt spid="828"/>
                                        </p:tgtEl>
                                      </p:cBhvr>
                                      <p:by x="150000" y="150000"/>
                                    </p:animScale>
                                  </p:childTnLst>
                                </p:cTn>
                              </p:par>
                              <p:par>
                                <p:cTn id="912" presetID="6" presetClass="emph" presetSubtype="0" repeatCount="indefinite" fill="hold" grpId="0" nodeType="withEffect">
                                  <p:stCondLst>
                                    <p:cond delay="2500"/>
                                  </p:stCondLst>
                                  <p:childTnLst>
                                    <p:animScale>
                                      <p:cBhvr>
                                        <p:cTn id="913" dur="7000" fill="hold"/>
                                        <p:tgtEl>
                                          <p:spTgt spid="827"/>
                                        </p:tgtEl>
                                      </p:cBhvr>
                                      <p:by x="150000" y="150000"/>
                                    </p:animScale>
                                  </p:childTnLst>
                                </p:cTn>
                              </p:par>
                              <p:par>
                                <p:cTn id="914" presetID="42" presetClass="path" presetSubtype="0" repeatCount="indefinite" accel="50000" decel="50000" fill="hold" grpId="2" nodeType="withEffect">
                                  <p:stCondLst>
                                    <p:cond delay="2500"/>
                                  </p:stCondLst>
                                  <p:childTnLst>
                                    <p:animMotion origin="layout" path="M -4.44444E-6 0.00432 L -4.44444E-6 0.58457 " pathEditMode="relative" rAng="0" ptsTypes="AA">
                                      <p:cBhvr>
                                        <p:cTn id="915" dur="7000" fill="hold"/>
                                        <p:tgtEl>
                                          <p:spTgt spid="828"/>
                                        </p:tgtEl>
                                        <p:attrNameLst>
                                          <p:attrName>ppt_x</p:attrName>
                                          <p:attrName>ppt_y</p:attrName>
                                        </p:attrNameLst>
                                      </p:cBhvr>
                                      <p:rCtr x="0" y="29012"/>
                                    </p:animMotion>
                                  </p:childTnLst>
                                </p:cTn>
                              </p:par>
                              <p:par>
                                <p:cTn id="916" presetID="42" presetClass="path" presetSubtype="0" repeatCount="indefinite" accel="50000" decel="50000" fill="hold" grpId="1" nodeType="withEffect">
                                  <p:stCondLst>
                                    <p:cond delay="2500"/>
                                  </p:stCondLst>
                                  <p:childTnLst>
                                    <p:animMotion origin="layout" path="M -4.44444E-6 0.00432 L -4.44444E-6 0.58395 " pathEditMode="relative" rAng="0" ptsTypes="AA">
                                      <p:cBhvr>
                                        <p:cTn id="917" dur="7000" fill="hold"/>
                                        <p:tgtEl>
                                          <p:spTgt spid="827"/>
                                        </p:tgtEl>
                                        <p:attrNameLst>
                                          <p:attrName>ppt_x</p:attrName>
                                          <p:attrName>ppt_y</p:attrName>
                                        </p:attrNameLst>
                                      </p:cBhvr>
                                      <p:rCtr x="0" y="28981"/>
                                    </p:animMotion>
                                  </p:childTnLst>
                                </p:cTn>
                              </p:par>
                              <p:par>
                                <p:cTn id="918" presetID="26" presetClass="emph" presetSubtype="0" repeatCount="indefinite" fill="hold" grpId="0" nodeType="withEffect">
                                  <p:stCondLst>
                                    <p:cond delay="2500"/>
                                  </p:stCondLst>
                                  <p:childTnLst>
                                    <p:animEffect transition="out" filter="fade">
                                      <p:cBhvr>
                                        <p:cTn id="919" dur="1000" tmFilter="0, 0; .2, .5; .8, .5; 1, 0"/>
                                        <p:tgtEl>
                                          <p:spTgt spid="830"/>
                                        </p:tgtEl>
                                      </p:cBhvr>
                                    </p:animEffect>
                                    <p:animScale>
                                      <p:cBhvr>
                                        <p:cTn id="920" dur="500" autoRev="1" fill="hold"/>
                                        <p:tgtEl>
                                          <p:spTgt spid="830"/>
                                        </p:tgtEl>
                                      </p:cBhvr>
                                      <p:by x="105000" y="105000"/>
                                    </p:animScale>
                                  </p:childTnLst>
                                </p:cTn>
                              </p:par>
                              <p:par>
                                <p:cTn id="921" presetID="6" presetClass="emph" presetSubtype="0" repeatCount="indefinite" fill="hold" grpId="1" nodeType="withEffect">
                                  <p:stCondLst>
                                    <p:cond delay="2500"/>
                                  </p:stCondLst>
                                  <p:childTnLst>
                                    <p:animScale>
                                      <p:cBhvr>
                                        <p:cTn id="922" dur="7000" fill="hold"/>
                                        <p:tgtEl>
                                          <p:spTgt spid="830"/>
                                        </p:tgtEl>
                                      </p:cBhvr>
                                      <p:by x="150000" y="150000"/>
                                    </p:animScale>
                                  </p:childTnLst>
                                </p:cTn>
                              </p:par>
                              <p:par>
                                <p:cTn id="923" presetID="6" presetClass="emph" presetSubtype="0" repeatCount="indefinite" fill="hold" grpId="0" nodeType="withEffect">
                                  <p:stCondLst>
                                    <p:cond delay="2500"/>
                                  </p:stCondLst>
                                  <p:childTnLst>
                                    <p:animScale>
                                      <p:cBhvr>
                                        <p:cTn id="924" dur="7000" fill="hold"/>
                                        <p:tgtEl>
                                          <p:spTgt spid="829"/>
                                        </p:tgtEl>
                                      </p:cBhvr>
                                      <p:by x="150000" y="150000"/>
                                    </p:animScale>
                                  </p:childTnLst>
                                </p:cTn>
                              </p:par>
                              <p:par>
                                <p:cTn id="925" presetID="42" presetClass="path" presetSubtype="0" repeatCount="indefinite" accel="50000" decel="50000" fill="hold" grpId="2" nodeType="withEffect">
                                  <p:stCondLst>
                                    <p:cond delay="2500"/>
                                  </p:stCondLst>
                                  <p:childTnLst>
                                    <p:animMotion origin="layout" path="M -3.88889E-6 0.00433 L -3.88889E-6 0.58457 " pathEditMode="relative" rAng="0" ptsTypes="AA">
                                      <p:cBhvr>
                                        <p:cTn id="926" dur="7000" fill="hold"/>
                                        <p:tgtEl>
                                          <p:spTgt spid="830"/>
                                        </p:tgtEl>
                                        <p:attrNameLst>
                                          <p:attrName>ppt_x</p:attrName>
                                          <p:attrName>ppt_y</p:attrName>
                                        </p:attrNameLst>
                                      </p:cBhvr>
                                      <p:rCtr x="0" y="29012"/>
                                    </p:animMotion>
                                  </p:childTnLst>
                                </p:cTn>
                              </p:par>
                              <p:par>
                                <p:cTn id="927" presetID="42" presetClass="path" presetSubtype="0" repeatCount="indefinite" accel="50000" decel="50000" fill="hold" grpId="1" nodeType="withEffect">
                                  <p:stCondLst>
                                    <p:cond delay="2500"/>
                                  </p:stCondLst>
                                  <p:childTnLst>
                                    <p:animMotion origin="layout" path="M -3.88889E-6 0.00432 L -3.88889E-6 0.58395 " pathEditMode="relative" rAng="0" ptsTypes="AA">
                                      <p:cBhvr>
                                        <p:cTn id="928" dur="7000" fill="hold"/>
                                        <p:tgtEl>
                                          <p:spTgt spid="829"/>
                                        </p:tgtEl>
                                        <p:attrNameLst>
                                          <p:attrName>ppt_x</p:attrName>
                                          <p:attrName>ppt_y</p:attrName>
                                        </p:attrNameLst>
                                      </p:cBhvr>
                                      <p:rCtr x="0" y="28981"/>
                                    </p:animMotion>
                                  </p:childTnLst>
                                </p:cTn>
                              </p:par>
                              <p:par>
                                <p:cTn id="929" presetID="26" presetClass="emph" presetSubtype="0" repeatCount="indefinite" fill="hold" grpId="0" nodeType="withEffect">
                                  <p:stCondLst>
                                    <p:cond delay="2500"/>
                                  </p:stCondLst>
                                  <p:childTnLst>
                                    <p:animEffect transition="out" filter="fade">
                                      <p:cBhvr>
                                        <p:cTn id="930" dur="1000" tmFilter="0, 0; .2, .5; .8, .5; 1, 0"/>
                                        <p:tgtEl>
                                          <p:spTgt spid="832"/>
                                        </p:tgtEl>
                                      </p:cBhvr>
                                    </p:animEffect>
                                    <p:animScale>
                                      <p:cBhvr>
                                        <p:cTn id="931" dur="500" autoRev="1" fill="hold"/>
                                        <p:tgtEl>
                                          <p:spTgt spid="832"/>
                                        </p:tgtEl>
                                      </p:cBhvr>
                                      <p:by x="105000" y="105000"/>
                                    </p:animScale>
                                  </p:childTnLst>
                                </p:cTn>
                              </p:par>
                              <p:par>
                                <p:cTn id="932" presetID="6" presetClass="emph" presetSubtype="0" repeatCount="indefinite" fill="hold" grpId="1" nodeType="withEffect">
                                  <p:stCondLst>
                                    <p:cond delay="2500"/>
                                  </p:stCondLst>
                                  <p:childTnLst>
                                    <p:animScale>
                                      <p:cBhvr>
                                        <p:cTn id="933" dur="7000" fill="hold"/>
                                        <p:tgtEl>
                                          <p:spTgt spid="832"/>
                                        </p:tgtEl>
                                      </p:cBhvr>
                                      <p:by x="150000" y="150000"/>
                                    </p:animScale>
                                  </p:childTnLst>
                                </p:cTn>
                              </p:par>
                              <p:par>
                                <p:cTn id="934" presetID="6" presetClass="emph" presetSubtype="0" repeatCount="indefinite" fill="hold" grpId="0" nodeType="withEffect">
                                  <p:stCondLst>
                                    <p:cond delay="2500"/>
                                  </p:stCondLst>
                                  <p:childTnLst>
                                    <p:animScale>
                                      <p:cBhvr>
                                        <p:cTn id="935" dur="7000" fill="hold"/>
                                        <p:tgtEl>
                                          <p:spTgt spid="831"/>
                                        </p:tgtEl>
                                      </p:cBhvr>
                                      <p:by x="150000" y="150000"/>
                                    </p:animScale>
                                  </p:childTnLst>
                                </p:cTn>
                              </p:par>
                              <p:par>
                                <p:cTn id="936" presetID="42" presetClass="path" presetSubtype="0" repeatCount="indefinite" accel="50000" decel="50000" fill="hold" grpId="2" nodeType="withEffect">
                                  <p:stCondLst>
                                    <p:cond delay="2500"/>
                                  </p:stCondLst>
                                  <p:childTnLst>
                                    <p:animMotion origin="layout" path="M -1.94444E-6 0.00432 L -1.94444E-6 0.58457 " pathEditMode="relative" rAng="0" ptsTypes="AA">
                                      <p:cBhvr>
                                        <p:cTn id="937" dur="7000" fill="hold"/>
                                        <p:tgtEl>
                                          <p:spTgt spid="832"/>
                                        </p:tgtEl>
                                        <p:attrNameLst>
                                          <p:attrName>ppt_x</p:attrName>
                                          <p:attrName>ppt_y</p:attrName>
                                        </p:attrNameLst>
                                      </p:cBhvr>
                                      <p:rCtr x="0" y="29012"/>
                                    </p:animMotion>
                                  </p:childTnLst>
                                </p:cTn>
                              </p:par>
                              <p:par>
                                <p:cTn id="938" presetID="42" presetClass="path" presetSubtype="0" repeatCount="indefinite" accel="50000" decel="50000" fill="hold" grpId="1" nodeType="withEffect">
                                  <p:stCondLst>
                                    <p:cond delay="2500"/>
                                  </p:stCondLst>
                                  <p:childTnLst>
                                    <p:animMotion origin="layout" path="M -1.94444E-6 0.00432 L -1.94444E-6 0.58395 " pathEditMode="relative" rAng="0" ptsTypes="AA">
                                      <p:cBhvr>
                                        <p:cTn id="939" dur="7000" fill="hold"/>
                                        <p:tgtEl>
                                          <p:spTgt spid="831"/>
                                        </p:tgtEl>
                                        <p:attrNameLst>
                                          <p:attrName>ppt_x</p:attrName>
                                          <p:attrName>ppt_y</p:attrName>
                                        </p:attrNameLst>
                                      </p:cBhvr>
                                      <p:rCtr x="0" y="28981"/>
                                    </p:animMotion>
                                  </p:childTnLst>
                                </p:cTn>
                              </p:par>
                              <p:par>
                                <p:cTn id="940" presetID="26" presetClass="emph" presetSubtype="0" repeatCount="indefinite" fill="hold" grpId="0" nodeType="withEffect">
                                  <p:stCondLst>
                                    <p:cond delay="2500"/>
                                  </p:stCondLst>
                                  <p:childTnLst>
                                    <p:animEffect transition="out" filter="fade">
                                      <p:cBhvr>
                                        <p:cTn id="941" dur="1000" tmFilter="0, 0; .2, .5; .8, .5; 1, 0"/>
                                        <p:tgtEl>
                                          <p:spTgt spid="834"/>
                                        </p:tgtEl>
                                      </p:cBhvr>
                                    </p:animEffect>
                                    <p:animScale>
                                      <p:cBhvr>
                                        <p:cTn id="942" dur="500" autoRev="1" fill="hold"/>
                                        <p:tgtEl>
                                          <p:spTgt spid="834"/>
                                        </p:tgtEl>
                                      </p:cBhvr>
                                      <p:by x="105000" y="105000"/>
                                    </p:animScale>
                                  </p:childTnLst>
                                </p:cTn>
                              </p:par>
                              <p:par>
                                <p:cTn id="943" presetID="6" presetClass="emph" presetSubtype="0" repeatCount="indefinite" fill="hold" grpId="1" nodeType="withEffect">
                                  <p:stCondLst>
                                    <p:cond delay="2500"/>
                                  </p:stCondLst>
                                  <p:childTnLst>
                                    <p:animScale>
                                      <p:cBhvr>
                                        <p:cTn id="944" dur="7000" fill="hold"/>
                                        <p:tgtEl>
                                          <p:spTgt spid="834"/>
                                        </p:tgtEl>
                                      </p:cBhvr>
                                      <p:by x="150000" y="150000"/>
                                    </p:animScale>
                                  </p:childTnLst>
                                </p:cTn>
                              </p:par>
                              <p:par>
                                <p:cTn id="945" presetID="6" presetClass="emph" presetSubtype="0" repeatCount="indefinite" fill="hold" grpId="0" nodeType="withEffect">
                                  <p:stCondLst>
                                    <p:cond delay="2500"/>
                                  </p:stCondLst>
                                  <p:childTnLst>
                                    <p:animScale>
                                      <p:cBhvr>
                                        <p:cTn id="946" dur="7000" fill="hold"/>
                                        <p:tgtEl>
                                          <p:spTgt spid="833"/>
                                        </p:tgtEl>
                                      </p:cBhvr>
                                      <p:by x="150000" y="150000"/>
                                    </p:animScale>
                                  </p:childTnLst>
                                </p:cTn>
                              </p:par>
                              <p:par>
                                <p:cTn id="947" presetID="42" presetClass="path" presetSubtype="0" repeatCount="indefinite" accel="50000" decel="50000" fill="hold" grpId="2" nodeType="withEffect">
                                  <p:stCondLst>
                                    <p:cond delay="2500"/>
                                  </p:stCondLst>
                                  <p:childTnLst>
                                    <p:animMotion origin="layout" path="M 2.22222E-6 0.00432 L 2.22222E-6 0.58457 " pathEditMode="relative" rAng="0" ptsTypes="AA">
                                      <p:cBhvr>
                                        <p:cTn id="948" dur="7000" fill="hold"/>
                                        <p:tgtEl>
                                          <p:spTgt spid="834"/>
                                        </p:tgtEl>
                                        <p:attrNameLst>
                                          <p:attrName>ppt_x</p:attrName>
                                          <p:attrName>ppt_y</p:attrName>
                                        </p:attrNameLst>
                                      </p:cBhvr>
                                      <p:rCtr x="0" y="29012"/>
                                    </p:animMotion>
                                  </p:childTnLst>
                                </p:cTn>
                              </p:par>
                              <p:par>
                                <p:cTn id="949" presetID="42" presetClass="path" presetSubtype="0" repeatCount="indefinite" accel="50000" decel="50000" fill="hold" grpId="1" nodeType="withEffect">
                                  <p:stCondLst>
                                    <p:cond delay="2500"/>
                                  </p:stCondLst>
                                  <p:childTnLst>
                                    <p:animMotion origin="layout" path="M 2.22222E-6 0.00432 L 2.22222E-6 0.58395 " pathEditMode="relative" rAng="0" ptsTypes="AA">
                                      <p:cBhvr>
                                        <p:cTn id="950" dur="7000" fill="hold"/>
                                        <p:tgtEl>
                                          <p:spTgt spid="833"/>
                                        </p:tgtEl>
                                        <p:attrNameLst>
                                          <p:attrName>ppt_x</p:attrName>
                                          <p:attrName>ppt_y</p:attrName>
                                        </p:attrNameLst>
                                      </p:cBhvr>
                                      <p:rCtr x="0" y="28981"/>
                                    </p:animMotion>
                                  </p:childTnLst>
                                </p:cTn>
                              </p:par>
                              <p:par>
                                <p:cTn id="951" presetID="26" presetClass="emph" presetSubtype="0" repeatCount="indefinite" fill="hold" grpId="0" nodeType="withEffect">
                                  <p:stCondLst>
                                    <p:cond delay="2500"/>
                                  </p:stCondLst>
                                  <p:childTnLst>
                                    <p:animEffect transition="out" filter="fade">
                                      <p:cBhvr>
                                        <p:cTn id="952" dur="1000" tmFilter="0, 0; .2, .5; .8, .5; 1, 0"/>
                                        <p:tgtEl>
                                          <p:spTgt spid="836"/>
                                        </p:tgtEl>
                                      </p:cBhvr>
                                    </p:animEffect>
                                    <p:animScale>
                                      <p:cBhvr>
                                        <p:cTn id="953" dur="500" autoRev="1" fill="hold"/>
                                        <p:tgtEl>
                                          <p:spTgt spid="836"/>
                                        </p:tgtEl>
                                      </p:cBhvr>
                                      <p:by x="105000" y="105000"/>
                                    </p:animScale>
                                  </p:childTnLst>
                                </p:cTn>
                              </p:par>
                              <p:par>
                                <p:cTn id="954" presetID="6" presetClass="emph" presetSubtype="0" repeatCount="indefinite" fill="hold" grpId="1" nodeType="withEffect">
                                  <p:stCondLst>
                                    <p:cond delay="2500"/>
                                  </p:stCondLst>
                                  <p:childTnLst>
                                    <p:animScale>
                                      <p:cBhvr>
                                        <p:cTn id="955" dur="7000" fill="hold"/>
                                        <p:tgtEl>
                                          <p:spTgt spid="836"/>
                                        </p:tgtEl>
                                      </p:cBhvr>
                                      <p:by x="150000" y="150000"/>
                                    </p:animScale>
                                  </p:childTnLst>
                                </p:cTn>
                              </p:par>
                              <p:par>
                                <p:cTn id="956" presetID="6" presetClass="emph" presetSubtype="0" repeatCount="indefinite" fill="hold" grpId="0" nodeType="withEffect">
                                  <p:stCondLst>
                                    <p:cond delay="2500"/>
                                  </p:stCondLst>
                                  <p:childTnLst>
                                    <p:animScale>
                                      <p:cBhvr>
                                        <p:cTn id="957" dur="7000" fill="hold"/>
                                        <p:tgtEl>
                                          <p:spTgt spid="835"/>
                                        </p:tgtEl>
                                      </p:cBhvr>
                                      <p:by x="150000" y="150000"/>
                                    </p:animScale>
                                  </p:childTnLst>
                                </p:cTn>
                              </p:par>
                              <p:par>
                                <p:cTn id="958" presetID="42" presetClass="path" presetSubtype="0" repeatCount="indefinite" accel="50000" decel="50000" fill="hold" grpId="2" nodeType="withEffect">
                                  <p:stCondLst>
                                    <p:cond delay="2500"/>
                                  </p:stCondLst>
                                  <p:childTnLst>
                                    <p:animMotion origin="layout" path="M -2.77778E-6 0.00432 L -2.77778E-6 0.58457 " pathEditMode="relative" rAng="0" ptsTypes="AA">
                                      <p:cBhvr>
                                        <p:cTn id="959" dur="7000" fill="hold"/>
                                        <p:tgtEl>
                                          <p:spTgt spid="836"/>
                                        </p:tgtEl>
                                        <p:attrNameLst>
                                          <p:attrName>ppt_x</p:attrName>
                                          <p:attrName>ppt_y</p:attrName>
                                        </p:attrNameLst>
                                      </p:cBhvr>
                                      <p:rCtr x="0" y="29012"/>
                                    </p:animMotion>
                                  </p:childTnLst>
                                </p:cTn>
                              </p:par>
                              <p:par>
                                <p:cTn id="960" presetID="42" presetClass="path" presetSubtype="0" repeatCount="indefinite" accel="50000" decel="50000" fill="hold" grpId="1" nodeType="withEffect">
                                  <p:stCondLst>
                                    <p:cond delay="2500"/>
                                  </p:stCondLst>
                                  <p:childTnLst>
                                    <p:animMotion origin="layout" path="M -2.77778E-6 0.00433 L -2.77778E-6 0.58396 " pathEditMode="relative" rAng="0" ptsTypes="AA">
                                      <p:cBhvr>
                                        <p:cTn id="961" dur="7000" fill="hold"/>
                                        <p:tgtEl>
                                          <p:spTgt spid="835"/>
                                        </p:tgtEl>
                                        <p:attrNameLst>
                                          <p:attrName>ppt_x</p:attrName>
                                          <p:attrName>ppt_y</p:attrName>
                                        </p:attrNameLst>
                                      </p:cBhvr>
                                      <p:rCtr x="0" y="28981"/>
                                    </p:animMotion>
                                  </p:childTnLst>
                                </p:cTn>
                              </p:par>
                              <p:par>
                                <p:cTn id="962" presetID="26" presetClass="emph" presetSubtype="0" repeatCount="indefinite" fill="hold" grpId="0" nodeType="withEffect">
                                  <p:stCondLst>
                                    <p:cond delay="2500"/>
                                  </p:stCondLst>
                                  <p:childTnLst>
                                    <p:animEffect transition="out" filter="fade">
                                      <p:cBhvr>
                                        <p:cTn id="963" dur="1000" tmFilter="0, 0; .2, .5; .8, .5; 1, 0"/>
                                        <p:tgtEl>
                                          <p:spTgt spid="838"/>
                                        </p:tgtEl>
                                      </p:cBhvr>
                                    </p:animEffect>
                                    <p:animScale>
                                      <p:cBhvr>
                                        <p:cTn id="964" dur="500" autoRev="1" fill="hold"/>
                                        <p:tgtEl>
                                          <p:spTgt spid="838"/>
                                        </p:tgtEl>
                                      </p:cBhvr>
                                      <p:by x="105000" y="105000"/>
                                    </p:animScale>
                                  </p:childTnLst>
                                </p:cTn>
                              </p:par>
                              <p:par>
                                <p:cTn id="965" presetID="6" presetClass="emph" presetSubtype="0" repeatCount="indefinite" fill="hold" grpId="1" nodeType="withEffect">
                                  <p:stCondLst>
                                    <p:cond delay="2500"/>
                                  </p:stCondLst>
                                  <p:childTnLst>
                                    <p:animScale>
                                      <p:cBhvr>
                                        <p:cTn id="966" dur="7000" fill="hold"/>
                                        <p:tgtEl>
                                          <p:spTgt spid="838"/>
                                        </p:tgtEl>
                                      </p:cBhvr>
                                      <p:by x="150000" y="150000"/>
                                    </p:animScale>
                                  </p:childTnLst>
                                </p:cTn>
                              </p:par>
                              <p:par>
                                <p:cTn id="967" presetID="6" presetClass="emph" presetSubtype="0" repeatCount="indefinite" fill="hold" grpId="0" nodeType="withEffect">
                                  <p:stCondLst>
                                    <p:cond delay="2500"/>
                                  </p:stCondLst>
                                  <p:childTnLst>
                                    <p:animScale>
                                      <p:cBhvr>
                                        <p:cTn id="968" dur="7000" fill="hold"/>
                                        <p:tgtEl>
                                          <p:spTgt spid="837"/>
                                        </p:tgtEl>
                                      </p:cBhvr>
                                      <p:by x="150000" y="150000"/>
                                    </p:animScale>
                                  </p:childTnLst>
                                </p:cTn>
                              </p:par>
                              <p:par>
                                <p:cTn id="969" presetID="42" presetClass="path" presetSubtype="0" repeatCount="indefinite" accel="50000" decel="50000" fill="hold" grpId="2" nodeType="withEffect">
                                  <p:stCondLst>
                                    <p:cond delay="2500"/>
                                  </p:stCondLst>
                                  <p:childTnLst>
                                    <p:animMotion origin="layout" path="M 1.38889E-6 0.00432 L 1.38889E-6 0.58457 " pathEditMode="relative" rAng="0" ptsTypes="AA">
                                      <p:cBhvr>
                                        <p:cTn id="970" dur="7000" fill="hold"/>
                                        <p:tgtEl>
                                          <p:spTgt spid="838"/>
                                        </p:tgtEl>
                                        <p:attrNameLst>
                                          <p:attrName>ppt_x</p:attrName>
                                          <p:attrName>ppt_y</p:attrName>
                                        </p:attrNameLst>
                                      </p:cBhvr>
                                      <p:rCtr x="0" y="29012"/>
                                    </p:animMotion>
                                  </p:childTnLst>
                                </p:cTn>
                              </p:par>
                              <p:par>
                                <p:cTn id="971" presetID="42" presetClass="path" presetSubtype="0" repeatCount="indefinite" accel="50000" decel="50000" fill="hold" grpId="1" nodeType="withEffect">
                                  <p:stCondLst>
                                    <p:cond delay="2500"/>
                                  </p:stCondLst>
                                  <p:childTnLst>
                                    <p:animMotion origin="layout" path="M 1.38889E-6 0.00432 L 1.38889E-6 0.58395 " pathEditMode="relative" rAng="0" ptsTypes="AA">
                                      <p:cBhvr>
                                        <p:cTn id="972" dur="7000" fill="hold"/>
                                        <p:tgtEl>
                                          <p:spTgt spid="837"/>
                                        </p:tgtEl>
                                        <p:attrNameLst>
                                          <p:attrName>ppt_x</p:attrName>
                                          <p:attrName>ppt_y</p:attrName>
                                        </p:attrNameLst>
                                      </p:cBhvr>
                                      <p:rCtr x="0" y="28981"/>
                                    </p:animMotion>
                                  </p:childTnLst>
                                </p:cTn>
                              </p:par>
                              <p:par>
                                <p:cTn id="973" presetID="26" presetClass="emph" presetSubtype="0" repeatCount="indefinite" fill="hold" grpId="0" nodeType="withEffect">
                                  <p:stCondLst>
                                    <p:cond delay="2500"/>
                                  </p:stCondLst>
                                  <p:childTnLst>
                                    <p:animEffect transition="out" filter="fade">
                                      <p:cBhvr>
                                        <p:cTn id="974" dur="1000" tmFilter="0, 0; .2, .5; .8, .5; 1, 0"/>
                                        <p:tgtEl>
                                          <p:spTgt spid="840"/>
                                        </p:tgtEl>
                                      </p:cBhvr>
                                    </p:animEffect>
                                    <p:animScale>
                                      <p:cBhvr>
                                        <p:cTn id="975" dur="500" autoRev="1" fill="hold"/>
                                        <p:tgtEl>
                                          <p:spTgt spid="840"/>
                                        </p:tgtEl>
                                      </p:cBhvr>
                                      <p:by x="105000" y="105000"/>
                                    </p:animScale>
                                  </p:childTnLst>
                                </p:cTn>
                              </p:par>
                              <p:par>
                                <p:cTn id="976" presetID="6" presetClass="emph" presetSubtype="0" repeatCount="indefinite" fill="hold" grpId="1" nodeType="withEffect">
                                  <p:stCondLst>
                                    <p:cond delay="2500"/>
                                  </p:stCondLst>
                                  <p:childTnLst>
                                    <p:animScale>
                                      <p:cBhvr>
                                        <p:cTn id="977" dur="7000" fill="hold"/>
                                        <p:tgtEl>
                                          <p:spTgt spid="840"/>
                                        </p:tgtEl>
                                      </p:cBhvr>
                                      <p:by x="150000" y="150000"/>
                                    </p:animScale>
                                  </p:childTnLst>
                                </p:cTn>
                              </p:par>
                              <p:par>
                                <p:cTn id="978" presetID="6" presetClass="emph" presetSubtype="0" repeatCount="indefinite" fill="hold" grpId="0" nodeType="withEffect">
                                  <p:stCondLst>
                                    <p:cond delay="2500"/>
                                  </p:stCondLst>
                                  <p:childTnLst>
                                    <p:animScale>
                                      <p:cBhvr>
                                        <p:cTn id="979" dur="7000" fill="hold"/>
                                        <p:tgtEl>
                                          <p:spTgt spid="839"/>
                                        </p:tgtEl>
                                      </p:cBhvr>
                                      <p:by x="150000" y="150000"/>
                                    </p:animScale>
                                  </p:childTnLst>
                                </p:cTn>
                              </p:par>
                              <p:par>
                                <p:cTn id="980" presetID="42" presetClass="path" presetSubtype="0" repeatCount="indefinite" accel="50000" decel="50000" fill="hold" grpId="2" nodeType="withEffect">
                                  <p:stCondLst>
                                    <p:cond delay="2500"/>
                                  </p:stCondLst>
                                  <p:childTnLst>
                                    <p:animMotion origin="layout" path="M -1.11111E-6 0.00432 L -1.11111E-6 0.58457 " pathEditMode="relative" rAng="0" ptsTypes="AA">
                                      <p:cBhvr>
                                        <p:cTn id="981" dur="7000" fill="hold"/>
                                        <p:tgtEl>
                                          <p:spTgt spid="840"/>
                                        </p:tgtEl>
                                        <p:attrNameLst>
                                          <p:attrName>ppt_x</p:attrName>
                                          <p:attrName>ppt_y</p:attrName>
                                        </p:attrNameLst>
                                      </p:cBhvr>
                                      <p:rCtr x="0" y="29012"/>
                                    </p:animMotion>
                                  </p:childTnLst>
                                </p:cTn>
                              </p:par>
                              <p:par>
                                <p:cTn id="982" presetID="42" presetClass="path" presetSubtype="0" repeatCount="indefinite" accel="50000" decel="50000" fill="hold" grpId="1" nodeType="withEffect">
                                  <p:stCondLst>
                                    <p:cond delay="2500"/>
                                  </p:stCondLst>
                                  <p:childTnLst>
                                    <p:animMotion origin="layout" path="M -1.11111E-6 0.00432 L -1.11111E-6 0.58395 " pathEditMode="relative" rAng="0" ptsTypes="AA">
                                      <p:cBhvr>
                                        <p:cTn id="983" dur="7000" fill="hold"/>
                                        <p:tgtEl>
                                          <p:spTgt spid="839"/>
                                        </p:tgtEl>
                                        <p:attrNameLst>
                                          <p:attrName>ppt_x</p:attrName>
                                          <p:attrName>ppt_y</p:attrName>
                                        </p:attrNameLst>
                                      </p:cBhvr>
                                      <p:rCtr x="0" y="28981"/>
                                    </p:animMotion>
                                  </p:childTnLst>
                                </p:cTn>
                              </p:par>
                              <p:par>
                                <p:cTn id="984" presetID="26" presetClass="emph" presetSubtype="0" repeatCount="indefinite" fill="hold" grpId="0" nodeType="withEffect">
                                  <p:stCondLst>
                                    <p:cond delay="2500"/>
                                  </p:stCondLst>
                                  <p:childTnLst>
                                    <p:animEffect transition="out" filter="fade">
                                      <p:cBhvr>
                                        <p:cTn id="985" dur="1000" tmFilter="0, 0; .2, .5; .8, .5; 1, 0"/>
                                        <p:tgtEl>
                                          <p:spTgt spid="842"/>
                                        </p:tgtEl>
                                      </p:cBhvr>
                                    </p:animEffect>
                                    <p:animScale>
                                      <p:cBhvr>
                                        <p:cTn id="986" dur="500" autoRev="1" fill="hold"/>
                                        <p:tgtEl>
                                          <p:spTgt spid="842"/>
                                        </p:tgtEl>
                                      </p:cBhvr>
                                      <p:by x="105000" y="105000"/>
                                    </p:animScale>
                                  </p:childTnLst>
                                </p:cTn>
                              </p:par>
                              <p:par>
                                <p:cTn id="987" presetID="6" presetClass="emph" presetSubtype="0" repeatCount="indefinite" fill="hold" grpId="1" nodeType="withEffect">
                                  <p:stCondLst>
                                    <p:cond delay="2500"/>
                                  </p:stCondLst>
                                  <p:childTnLst>
                                    <p:animScale>
                                      <p:cBhvr>
                                        <p:cTn id="988" dur="7000" fill="hold"/>
                                        <p:tgtEl>
                                          <p:spTgt spid="842"/>
                                        </p:tgtEl>
                                      </p:cBhvr>
                                      <p:by x="150000" y="150000"/>
                                    </p:animScale>
                                  </p:childTnLst>
                                </p:cTn>
                              </p:par>
                              <p:par>
                                <p:cTn id="989" presetID="6" presetClass="emph" presetSubtype="0" repeatCount="indefinite" fill="hold" grpId="0" nodeType="withEffect">
                                  <p:stCondLst>
                                    <p:cond delay="2500"/>
                                  </p:stCondLst>
                                  <p:childTnLst>
                                    <p:animScale>
                                      <p:cBhvr>
                                        <p:cTn id="990" dur="7000" fill="hold"/>
                                        <p:tgtEl>
                                          <p:spTgt spid="841"/>
                                        </p:tgtEl>
                                      </p:cBhvr>
                                      <p:by x="150000" y="150000"/>
                                    </p:animScale>
                                  </p:childTnLst>
                                </p:cTn>
                              </p:par>
                              <p:par>
                                <p:cTn id="991" presetID="42" presetClass="path" presetSubtype="0" repeatCount="indefinite" accel="50000" decel="50000" fill="hold" grpId="2" nodeType="withEffect">
                                  <p:stCondLst>
                                    <p:cond delay="2500"/>
                                  </p:stCondLst>
                                  <p:childTnLst>
                                    <p:animMotion origin="layout" path="M -5.55556E-7 0.00432 L -5.55556E-7 0.58457 " pathEditMode="relative" rAng="0" ptsTypes="AA">
                                      <p:cBhvr>
                                        <p:cTn id="992" dur="7000" fill="hold"/>
                                        <p:tgtEl>
                                          <p:spTgt spid="842"/>
                                        </p:tgtEl>
                                        <p:attrNameLst>
                                          <p:attrName>ppt_x</p:attrName>
                                          <p:attrName>ppt_y</p:attrName>
                                        </p:attrNameLst>
                                      </p:cBhvr>
                                      <p:rCtr x="0" y="29012"/>
                                    </p:animMotion>
                                  </p:childTnLst>
                                </p:cTn>
                              </p:par>
                              <p:par>
                                <p:cTn id="993" presetID="42" presetClass="path" presetSubtype="0" repeatCount="indefinite" accel="50000" decel="50000" fill="hold" grpId="1" nodeType="withEffect">
                                  <p:stCondLst>
                                    <p:cond delay="2500"/>
                                  </p:stCondLst>
                                  <p:childTnLst>
                                    <p:animMotion origin="layout" path="M -5.55556E-7 0.00432 L -5.55556E-7 0.58395 " pathEditMode="relative" rAng="0" ptsTypes="AA">
                                      <p:cBhvr>
                                        <p:cTn id="994" dur="7000" fill="hold"/>
                                        <p:tgtEl>
                                          <p:spTgt spid="841"/>
                                        </p:tgtEl>
                                        <p:attrNameLst>
                                          <p:attrName>ppt_x</p:attrName>
                                          <p:attrName>ppt_y</p:attrName>
                                        </p:attrNameLst>
                                      </p:cBhvr>
                                      <p:rCtr x="0" y="28981"/>
                                    </p:animMotion>
                                  </p:childTnLst>
                                </p:cTn>
                              </p:par>
                              <p:par>
                                <p:cTn id="995" presetID="26" presetClass="emph" presetSubtype="0" repeatCount="indefinite" fill="hold" grpId="0" nodeType="withEffect">
                                  <p:stCondLst>
                                    <p:cond delay="2500"/>
                                  </p:stCondLst>
                                  <p:childTnLst>
                                    <p:animEffect transition="out" filter="fade">
                                      <p:cBhvr>
                                        <p:cTn id="996" dur="1000" tmFilter="0, 0; .2, .5; .8, .5; 1, 0"/>
                                        <p:tgtEl>
                                          <p:spTgt spid="844"/>
                                        </p:tgtEl>
                                      </p:cBhvr>
                                    </p:animEffect>
                                    <p:animScale>
                                      <p:cBhvr>
                                        <p:cTn id="997" dur="500" autoRev="1" fill="hold"/>
                                        <p:tgtEl>
                                          <p:spTgt spid="844"/>
                                        </p:tgtEl>
                                      </p:cBhvr>
                                      <p:by x="105000" y="105000"/>
                                    </p:animScale>
                                  </p:childTnLst>
                                </p:cTn>
                              </p:par>
                              <p:par>
                                <p:cTn id="998" presetID="6" presetClass="emph" presetSubtype="0" repeatCount="indefinite" fill="hold" grpId="1" nodeType="withEffect">
                                  <p:stCondLst>
                                    <p:cond delay="2500"/>
                                  </p:stCondLst>
                                  <p:childTnLst>
                                    <p:animScale>
                                      <p:cBhvr>
                                        <p:cTn id="999" dur="7000" fill="hold"/>
                                        <p:tgtEl>
                                          <p:spTgt spid="844"/>
                                        </p:tgtEl>
                                      </p:cBhvr>
                                      <p:by x="150000" y="150000"/>
                                    </p:animScale>
                                  </p:childTnLst>
                                </p:cTn>
                              </p:par>
                              <p:par>
                                <p:cTn id="1000" presetID="6" presetClass="emph" presetSubtype="0" repeatCount="indefinite" fill="hold" grpId="0" nodeType="withEffect">
                                  <p:stCondLst>
                                    <p:cond delay="2500"/>
                                  </p:stCondLst>
                                  <p:childTnLst>
                                    <p:animScale>
                                      <p:cBhvr>
                                        <p:cTn id="1001" dur="7000" fill="hold"/>
                                        <p:tgtEl>
                                          <p:spTgt spid="843"/>
                                        </p:tgtEl>
                                      </p:cBhvr>
                                      <p:by x="150000" y="150000"/>
                                    </p:animScale>
                                  </p:childTnLst>
                                </p:cTn>
                              </p:par>
                              <p:par>
                                <p:cTn id="1002" presetID="42" presetClass="path" presetSubtype="0" repeatCount="indefinite" accel="50000" decel="50000" fill="hold" grpId="2" nodeType="withEffect">
                                  <p:stCondLst>
                                    <p:cond delay="2500"/>
                                  </p:stCondLst>
                                  <p:childTnLst>
                                    <p:animMotion origin="layout" path="M 4.72222E-6 0.00432 L 4.72222E-6 0.58457 " pathEditMode="relative" rAng="0" ptsTypes="AA">
                                      <p:cBhvr>
                                        <p:cTn id="1003" dur="7000" fill="hold"/>
                                        <p:tgtEl>
                                          <p:spTgt spid="844"/>
                                        </p:tgtEl>
                                        <p:attrNameLst>
                                          <p:attrName>ppt_x</p:attrName>
                                          <p:attrName>ppt_y</p:attrName>
                                        </p:attrNameLst>
                                      </p:cBhvr>
                                      <p:rCtr x="0" y="29012"/>
                                    </p:animMotion>
                                  </p:childTnLst>
                                </p:cTn>
                              </p:par>
                              <p:par>
                                <p:cTn id="1004" presetID="42" presetClass="path" presetSubtype="0" repeatCount="indefinite" accel="50000" decel="50000" fill="hold" grpId="1" nodeType="withEffect">
                                  <p:stCondLst>
                                    <p:cond delay="2500"/>
                                  </p:stCondLst>
                                  <p:childTnLst>
                                    <p:animMotion origin="layout" path="M 4.72222E-6 0.00432 L 4.72222E-6 0.58395 " pathEditMode="relative" rAng="0" ptsTypes="AA">
                                      <p:cBhvr>
                                        <p:cTn id="1005" dur="7000" fill="hold"/>
                                        <p:tgtEl>
                                          <p:spTgt spid="843"/>
                                        </p:tgtEl>
                                        <p:attrNameLst>
                                          <p:attrName>ppt_x</p:attrName>
                                          <p:attrName>ppt_y</p:attrName>
                                        </p:attrNameLst>
                                      </p:cBhvr>
                                      <p:rCtr x="0" y="28981"/>
                                    </p:animMotion>
                                  </p:childTnLst>
                                </p:cTn>
                              </p:par>
                              <p:par>
                                <p:cTn id="1006" presetID="26" presetClass="emph" presetSubtype="0" repeatCount="indefinite" fill="hold" grpId="0" nodeType="withEffect">
                                  <p:stCondLst>
                                    <p:cond delay="2500"/>
                                  </p:stCondLst>
                                  <p:childTnLst>
                                    <p:animEffect transition="out" filter="fade">
                                      <p:cBhvr>
                                        <p:cTn id="1007" dur="1000" tmFilter="0, 0; .2, .5; .8, .5; 1, 0"/>
                                        <p:tgtEl>
                                          <p:spTgt spid="846"/>
                                        </p:tgtEl>
                                      </p:cBhvr>
                                    </p:animEffect>
                                    <p:animScale>
                                      <p:cBhvr>
                                        <p:cTn id="1008" dur="500" autoRev="1" fill="hold"/>
                                        <p:tgtEl>
                                          <p:spTgt spid="846"/>
                                        </p:tgtEl>
                                      </p:cBhvr>
                                      <p:by x="105000" y="105000"/>
                                    </p:animScale>
                                  </p:childTnLst>
                                </p:cTn>
                              </p:par>
                              <p:par>
                                <p:cTn id="1009" presetID="6" presetClass="emph" presetSubtype="0" repeatCount="indefinite" fill="hold" grpId="1" nodeType="withEffect">
                                  <p:stCondLst>
                                    <p:cond delay="2500"/>
                                  </p:stCondLst>
                                  <p:childTnLst>
                                    <p:animScale>
                                      <p:cBhvr>
                                        <p:cTn id="1010" dur="7000" fill="hold"/>
                                        <p:tgtEl>
                                          <p:spTgt spid="846"/>
                                        </p:tgtEl>
                                      </p:cBhvr>
                                      <p:by x="150000" y="150000"/>
                                    </p:animScale>
                                  </p:childTnLst>
                                </p:cTn>
                              </p:par>
                              <p:par>
                                <p:cTn id="1011" presetID="6" presetClass="emph" presetSubtype="0" repeatCount="indefinite" fill="hold" grpId="0" nodeType="withEffect">
                                  <p:stCondLst>
                                    <p:cond delay="2500"/>
                                  </p:stCondLst>
                                  <p:childTnLst>
                                    <p:animScale>
                                      <p:cBhvr>
                                        <p:cTn id="1012" dur="7000" fill="hold"/>
                                        <p:tgtEl>
                                          <p:spTgt spid="845"/>
                                        </p:tgtEl>
                                      </p:cBhvr>
                                      <p:by x="150000" y="150000"/>
                                    </p:animScale>
                                  </p:childTnLst>
                                </p:cTn>
                              </p:par>
                              <p:par>
                                <p:cTn id="1013" presetID="42" presetClass="path" presetSubtype="0" repeatCount="indefinite" accel="50000" decel="50000" fill="hold" grpId="2" nodeType="withEffect">
                                  <p:stCondLst>
                                    <p:cond delay="2500"/>
                                  </p:stCondLst>
                                  <p:childTnLst>
                                    <p:animMotion origin="layout" path="M -1.11111E-6 0.00432 L -1.11111E-6 0.58457 " pathEditMode="relative" rAng="0" ptsTypes="AA">
                                      <p:cBhvr>
                                        <p:cTn id="1014" dur="7000" fill="hold"/>
                                        <p:tgtEl>
                                          <p:spTgt spid="846"/>
                                        </p:tgtEl>
                                        <p:attrNameLst>
                                          <p:attrName>ppt_x</p:attrName>
                                          <p:attrName>ppt_y</p:attrName>
                                        </p:attrNameLst>
                                      </p:cBhvr>
                                      <p:rCtr x="0" y="29012"/>
                                    </p:animMotion>
                                  </p:childTnLst>
                                </p:cTn>
                              </p:par>
                              <p:par>
                                <p:cTn id="1015" presetID="42" presetClass="path" presetSubtype="0" repeatCount="indefinite" accel="50000" decel="50000" fill="hold" grpId="1" nodeType="withEffect">
                                  <p:stCondLst>
                                    <p:cond delay="2500"/>
                                  </p:stCondLst>
                                  <p:childTnLst>
                                    <p:animMotion origin="layout" path="M -1.11111E-6 0.00432 L -1.11111E-6 0.58395 " pathEditMode="relative" rAng="0" ptsTypes="AA">
                                      <p:cBhvr>
                                        <p:cTn id="1016" dur="7000" fill="hold"/>
                                        <p:tgtEl>
                                          <p:spTgt spid="845"/>
                                        </p:tgtEl>
                                        <p:attrNameLst>
                                          <p:attrName>ppt_x</p:attrName>
                                          <p:attrName>ppt_y</p:attrName>
                                        </p:attrNameLst>
                                      </p:cBhvr>
                                      <p:rCtr x="0" y="28981"/>
                                    </p:animMotion>
                                  </p:childTnLst>
                                </p:cTn>
                              </p:par>
                              <p:par>
                                <p:cTn id="1017" presetID="26" presetClass="emph" presetSubtype="0" repeatCount="indefinite" fill="hold" grpId="0" nodeType="withEffect">
                                  <p:stCondLst>
                                    <p:cond delay="2500"/>
                                  </p:stCondLst>
                                  <p:childTnLst>
                                    <p:animEffect transition="out" filter="fade">
                                      <p:cBhvr>
                                        <p:cTn id="1018" dur="1000" tmFilter="0, 0; .2, .5; .8, .5; 1, 0"/>
                                        <p:tgtEl>
                                          <p:spTgt spid="848"/>
                                        </p:tgtEl>
                                      </p:cBhvr>
                                    </p:animEffect>
                                    <p:animScale>
                                      <p:cBhvr>
                                        <p:cTn id="1019" dur="500" autoRev="1" fill="hold"/>
                                        <p:tgtEl>
                                          <p:spTgt spid="848"/>
                                        </p:tgtEl>
                                      </p:cBhvr>
                                      <p:by x="105000" y="105000"/>
                                    </p:animScale>
                                  </p:childTnLst>
                                </p:cTn>
                              </p:par>
                              <p:par>
                                <p:cTn id="1020" presetID="6" presetClass="emph" presetSubtype="0" repeatCount="indefinite" fill="hold" grpId="1" nodeType="withEffect">
                                  <p:stCondLst>
                                    <p:cond delay="2500"/>
                                  </p:stCondLst>
                                  <p:childTnLst>
                                    <p:animScale>
                                      <p:cBhvr>
                                        <p:cTn id="1021" dur="7000" fill="hold"/>
                                        <p:tgtEl>
                                          <p:spTgt spid="848"/>
                                        </p:tgtEl>
                                      </p:cBhvr>
                                      <p:by x="150000" y="150000"/>
                                    </p:animScale>
                                  </p:childTnLst>
                                </p:cTn>
                              </p:par>
                              <p:par>
                                <p:cTn id="1022" presetID="6" presetClass="emph" presetSubtype="0" repeatCount="indefinite" fill="hold" grpId="0" nodeType="withEffect">
                                  <p:stCondLst>
                                    <p:cond delay="2500"/>
                                  </p:stCondLst>
                                  <p:childTnLst>
                                    <p:animScale>
                                      <p:cBhvr>
                                        <p:cTn id="1023" dur="7000" fill="hold"/>
                                        <p:tgtEl>
                                          <p:spTgt spid="847"/>
                                        </p:tgtEl>
                                      </p:cBhvr>
                                      <p:by x="150000" y="150000"/>
                                    </p:animScale>
                                  </p:childTnLst>
                                </p:cTn>
                              </p:par>
                              <p:par>
                                <p:cTn id="1024" presetID="42" presetClass="path" presetSubtype="0" repeatCount="indefinite" accel="50000" decel="50000" fill="hold" grpId="2" nodeType="withEffect">
                                  <p:stCondLst>
                                    <p:cond delay="2500"/>
                                  </p:stCondLst>
                                  <p:childTnLst>
                                    <p:animMotion origin="layout" path="M 3.88889E-6 0.00432 L 3.88889E-6 0.58457 " pathEditMode="relative" rAng="0" ptsTypes="AA">
                                      <p:cBhvr>
                                        <p:cTn id="1025" dur="7000" fill="hold"/>
                                        <p:tgtEl>
                                          <p:spTgt spid="848"/>
                                        </p:tgtEl>
                                        <p:attrNameLst>
                                          <p:attrName>ppt_x</p:attrName>
                                          <p:attrName>ppt_y</p:attrName>
                                        </p:attrNameLst>
                                      </p:cBhvr>
                                      <p:rCtr x="0" y="29012"/>
                                    </p:animMotion>
                                  </p:childTnLst>
                                </p:cTn>
                              </p:par>
                              <p:par>
                                <p:cTn id="1026" presetID="42" presetClass="path" presetSubtype="0" repeatCount="indefinite" accel="50000" decel="50000" fill="hold" grpId="1" nodeType="withEffect">
                                  <p:stCondLst>
                                    <p:cond delay="2500"/>
                                  </p:stCondLst>
                                  <p:childTnLst>
                                    <p:animMotion origin="layout" path="M 3.88889E-6 0.00432 L 3.88889E-6 0.58395 " pathEditMode="relative" rAng="0" ptsTypes="AA">
                                      <p:cBhvr>
                                        <p:cTn id="1027" dur="7000" fill="hold"/>
                                        <p:tgtEl>
                                          <p:spTgt spid="847"/>
                                        </p:tgtEl>
                                        <p:attrNameLst>
                                          <p:attrName>ppt_x</p:attrName>
                                          <p:attrName>ppt_y</p:attrName>
                                        </p:attrNameLst>
                                      </p:cBhvr>
                                      <p:rCtr x="0" y="28981"/>
                                    </p:animMotion>
                                  </p:childTnLst>
                                </p:cTn>
                              </p:par>
                              <p:par>
                                <p:cTn id="1028" presetID="26" presetClass="emph" presetSubtype="0" repeatCount="indefinite" fill="hold" grpId="0" nodeType="withEffect">
                                  <p:stCondLst>
                                    <p:cond delay="2500"/>
                                  </p:stCondLst>
                                  <p:childTnLst>
                                    <p:animEffect transition="out" filter="fade">
                                      <p:cBhvr>
                                        <p:cTn id="1029" dur="1000" tmFilter="0, 0; .2, .5; .8, .5; 1, 0"/>
                                        <p:tgtEl>
                                          <p:spTgt spid="850"/>
                                        </p:tgtEl>
                                      </p:cBhvr>
                                    </p:animEffect>
                                    <p:animScale>
                                      <p:cBhvr>
                                        <p:cTn id="1030" dur="500" autoRev="1" fill="hold"/>
                                        <p:tgtEl>
                                          <p:spTgt spid="850"/>
                                        </p:tgtEl>
                                      </p:cBhvr>
                                      <p:by x="105000" y="105000"/>
                                    </p:animScale>
                                  </p:childTnLst>
                                </p:cTn>
                              </p:par>
                              <p:par>
                                <p:cTn id="1031" presetID="6" presetClass="emph" presetSubtype="0" repeatCount="indefinite" fill="hold" grpId="1" nodeType="withEffect">
                                  <p:stCondLst>
                                    <p:cond delay="2500"/>
                                  </p:stCondLst>
                                  <p:childTnLst>
                                    <p:animScale>
                                      <p:cBhvr>
                                        <p:cTn id="1032" dur="7000" fill="hold"/>
                                        <p:tgtEl>
                                          <p:spTgt spid="850"/>
                                        </p:tgtEl>
                                      </p:cBhvr>
                                      <p:by x="150000" y="150000"/>
                                    </p:animScale>
                                  </p:childTnLst>
                                </p:cTn>
                              </p:par>
                              <p:par>
                                <p:cTn id="1033" presetID="6" presetClass="emph" presetSubtype="0" repeatCount="indefinite" fill="hold" grpId="0" nodeType="withEffect">
                                  <p:stCondLst>
                                    <p:cond delay="2500"/>
                                  </p:stCondLst>
                                  <p:childTnLst>
                                    <p:animScale>
                                      <p:cBhvr>
                                        <p:cTn id="1034" dur="7000" fill="hold"/>
                                        <p:tgtEl>
                                          <p:spTgt spid="849"/>
                                        </p:tgtEl>
                                      </p:cBhvr>
                                      <p:by x="150000" y="150000"/>
                                    </p:animScale>
                                  </p:childTnLst>
                                </p:cTn>
                              </p:par>
                              <p:par>
                                <p:cTn id="1035" presetID="42" presetClass="path" presetSubtype="0" repeatCount="indefinite" accel="50000" decel="50000" fill="hold" grpId="2" nodeType="withEffect">
                                  <p:stCondLst>
                                    <p:cond delay="2500"/>
                                  </p:stCondLst>
                                  <p:childTnLst>
                                    <p:animMotion origin="layout" path="M -1.94444E-6 0.00432 L -1.94444E-6 0.58457 " pathEditMode="relative" rAng="0" ptsTypes="AA">
                                      <p:cBhvr>
                                        <p:cTn id="1036" dur="7000" fill="hold"/>
                                        <p:tgtEl>
                                          <p:spTgt spid="850"/>
                                        </p:tgtEl>
                                        <p:attrNameLst>
                                          <p:attrName>ppt_x</p:attrName>
                                          <p:attrName>ppt_y</p:attrName>
                                        </p:attrNameLst>
                                      </p:cBhvr>
                                      <p:rCtr x="0" y="29012"/>
                                    </p:animMotion>
                                  </p:childTnLst>
                                </p:cTn>
                              </p:par>
                              <p:par>
                                <p:cTn id="1037" presetID="42" presetClass="path" presetSubtype="0" repeatCount="indefinite" accel="50000" decel="50000" fill="hold" grpId="1" nodeType="withEffect">
                                  <p:stCondLst>
                                    <p:cond delay="2500"/>
                                  </p:stCondLst>
                                  <p:childTnLst>
                                    <p:animMotion origin="layout" path="M -1.94444E-6 0.00432 L -1.94444E-6 0.58395 " pathEditMode="relative" rAng="0" ptsTypes="AA">
                                      <p:cBhvr>
                                        <p:cTn id="1038" dur="7000" fill="hold"/>
                                        <p:tgtEl>
                                          <p:spTgt spid="849"/>
                                        </p:tgtEl>
                                        <p:attrNameLst>
                                          <p:attrName>ppt_x</p:attrName>
                                          <p:attrName>ppt_y</p:attrName>
                                        </p:attrNameLst>
                                      </p:cBhvr>
                                      <p:rCtr x="0" y="28981"/>
                                    </p:animMotion>
                                  </p:childTnLst>
                                </p:cTn>
                              </p:par>
                              <p:par>
                                <p:cTn id="1039" presetID="26" presetClass="emph" presetSubtype="0" repeatCount="indefinite" fill="hold" grpId="0" nodeType="withEffect">
                                  <p:stCondLst>
                                    <p:cond delay="2500"/>
                                  </p:stCondLst>
                                  <p:childTnLst>
                                    <p:animEffect transition="out" filter="fade">
                                      <p:cBhvr>
                                        <p:cTn id="1040" dur="1000" tmFilter="0, 0; .2, .5; .8, .5; 1, 0"/>
                                        <p:tgtEl>
                                          <p:spTgt spid="852"/>
                                        </p:tgtEl>
                                      </p:cBhvr>
                                    </p:animEffect>
                                    <p:animScale>
                                      <p:cBhvr>
                                        <p:cTn id="1041" dur="500" autoRev="1" fill="hold"/>
                                        <p:tgtEl>
                                          <p:spTgt spid="852"/>
                                        </p:tgtEl>
                                      </p:cBhvr>
                                      <p:by x="105000" y="105000"/>
                                    </p:animScale>
                                  </p:childTnLst>
                                </p:cTn>
                              </p:par>
                              <p:par>
                                <p:cTn id="1042" presetID="6" presetClass="emph" presetSubtype="0" repeatCount="indefinite" fill="hold" grpId="1" nodeType="withEffect">
                                  <p:stCondLst>
                                    <p:cond delay="2500"/>
                                  </p:stCondLst>
                                  <p:childTnLst>
                                    <p:animScale>
                                      <p:cBhvr>
                                        <p:cTn id="1043" dur="7000" fill="hold"/>
                                        <p:tgtEl>
                                          <p:spTgt spid="852"/>
                                        </p:tgtEl>
                                      </p:cBhvr>
                                      <p:by x="150000" y="150000"/>
                                    </p:animScale>
                                  </p:childTnLst>
                                </p:cTn>
                              </p:par>
                              <p:par>
                                <p:cTn id="1044" presetID="6" presetClass="emph" presetSubtype="0" repeatCount="indefinite" fill="hold" grpId="0" nodeType="withEffect">
                                  <p:stCondLst>
                                    <p:cond delay="2500"/>
                                  </p:stCondLst>
                                  <p:childTnLst>
                                    <p:animScale>
                                      <p:cBhvr>
                                        <p:cTn id="1045" dur="7000" fill="hold"/>
                                        <p:tgtEl>
                                          <p:spTgt spid="851"/>
                                        </p:tgtEl>
                                      </p:cBhvr>
                                      <p:by x="150000" y="150000"/>
                                    </p:animScale>
                                  </p:childTnLst>
                                </p:cTn>
                              </p:par>
                              <p:par>
                                <p:cTn id="1046" presetID="42" presetClass="path" presetSubtype="0" repeatCount="indefinite" accel="50000" decel="50000" fill="hold" grpId="2" nodeType="withEffect">
                                  <p:stCondLst>
                                    <p:cond delay="2500"/>
                                  </p:stCondLst>
                                  <p:childTnLst>
                                    <p:animMotion origin="layout" path="M -4.44444E-6 0.00432 L -4.44444E-6 0.58457 " pathEditMode="relative" rAng="0" ptsTypes="AA">
                                      <p:cBhvr>
                                        <p:cTn id="1047" dur="7000" fill="hold"/>
                                        <p:tgtEl>
                                          <p:spTgt spid="852"/>
                                        </p:tgtEl>
                                        <p:attrNameLst>
                                          <p:attrName>ppt_x</p:attrName>
                                          <p:attrName>ppt_y</p:attrName>
                                        </p:attrNameLst>
                                      </p:cBhvr>
                                      <p:rCtr x="0" y="29012"/>
                                    </p:animMotion>
                                  </p:childTnLst>
                                </p:cTn>
                              </p:par>
                              <p:par>
                                <p:cTn id="1048" presetID="42" presetClass="path" presetSubtype="0" repeatCount="indefinite" accel="50000" decel="50000" fill="hold" grpId="1" nodeType="withEffect">
                                  <p:stCondLst>
                                    <p:cond delay="2500"/>
                                  </p:stCondLst>
                                  <p:childTnLst>
                                    <p:animMotion origin="layout" path="M -4.44444E-6 0.00432 L -4.44444E-6 0.58395 " pathEditMode="relative" rAng="0" ptsTypes="AA">
                                      <p:cBhvr>
                                        <p:cTn id="1049" dur="7000" fill="hold"/>
                                        <p:tgtEl>
                                          <p:spTgt spid="851"/>
                                        </p:tgtEl>
                                        <p:attrNameLst>
                                          <p:attrName>ppt_x</p:attrName>
                                          <p:attrName>ppt_y</p:attrName>
                                        </p:attrNameLst>
                                      </p:cBhvr>
                                      <p:rCtr x="0" y="28981"/>
                                    </p:animMotion>
                                  </p:childTnLst>
                                </p:cTn>
                              </p:par>
                              <p:par>
                                <p:cTn id="1050" presetID="26" presetClass="emph" presetSubtype="0" repeatCount="indefinite" fill="hold" grpId="0" nodeType="withEffect">
                                  <p:stCondLst>
                                    <p:cond delay="2500"/>
                                  </p:stCondLst>
                                  <p:childTnLst>
                                    <p:animEffect transition="out" filter="fade">
                                      <p:cBhvr>
                                        <p:cTn id="1051" dur="1000" tmFilter="0, 0; .2, .5; .8, .5; 1, 0"/>
                                        <p:tgtEl>
                                          <p:spTgt spid="854"/>
                                        </p:tgtEl>
                                      </p:cBhvr>
                                    </p:animEffect>
                                    <p:animScale>
                                      <p:cBhvr>
                                        <p:cTn id="1052" dur="500" autoRev="1" fill="hold"/>
                                        <p:tgtEl>
                                          <p:spTgt spid="854"/>
                                        </p:tgtEl>
                                      </p:cBhvr>
                                      <p:by x="105000" y="105000"/>
                                    </p:animScale>
                                  </p:childTnLst>
                                </p:cTn>
                              </p:par>
                              <p:par>
                                <p:cTn id="1053" presetID="6" presetClass="emph" presetSubtype="0" repeatCount="indefinite" fill="hold" grpId="1" nodeType="withEffect">
                                  <p:stCondLst>
                                    <p:cond delay="2500"/>
                                  </p:stCondLst>
                                  <p:childTnLst>
                                    <p:animScale>
                                      <p:cBhvr>
                                        <p:cTn id="1054" dur="7000" fill="hold"/>
                                        <p:tgtEl>
                                          <p:spTgt spid="854"/>
                                        </p:tgtEl>
                                      </p:cBhvr>
                                      <p:by x="150000" y="150000"/>
                                    </p:animScale>
                                  </p:childTnLst>
                                </p:cTn>
                              </p:par>
                              <p:par>
                                <p:cTn id="1055" presetID="6" presetClass="emph" presetSubtype="0" repeatCount="indefinite" fill="hold" grpId="0" nodeType="withEffect">
                                  <p:stCondLst>
                                    <p:cond delay="2500"/>
                                  </p:stCondLst>
                                  <p:childTnLst>
                                    <p:animScale>
                                      <p:cBhvr>
                                        <p:cTn id="1056" dur="7000" fill="hold"/>
                                        <p:tgtEl>
                                          <p:spTgt spid="853"/>
                                        </p:tgtEl>
                                      </p:cBhvr>
                                      <p:by x="150000" y="150000"/>
                                    </p:animScale>
                                  </p:childTnLst>
                                </p:cTn>
                              </p:par>
                              <p:par>
                                <p:cTn id="1057" presetID="42" presetClass="path" presetSubtype="0" repeatCount="indefinite" accel="50000" decel="50000" fill="hold" grpId="2" nodeType="withEffect">
                                  <p:stCondLst>
                                    <p:cond delay="2500"/>
                                  </p:stCondLst>
                                  <p:childTnLst>
                                    <p:animMotion origin="layout" path="M -3.88889E-6 0.00433 L -3.88889E-6 0.58457 " pathEditMode="relative" rAng="0" ptsTypes="AA">
                                      <p:cBhvr>
                                        <p:cTn id="1058" dur="7000" fill="hold"/>
                                        <p:tgtEl>
                                          <p:spTgt spid="854"/>
                                        </p:tgtEl>
                                        <p:attrNameLst>
                                          <p:attrName>ppt_x</p:attrName>
                                          <p:attrName>ppt_y</p:attrName>
                                        </p:attrNameLst>
                                      </p:cBhvr>
                                      <p:rCtr x="0" y="29012"/>
                                    </p:animMotion>
                                  </p:childTnLst>
                                </p:cTn>
                              </p:par>
                              <p:par>
                                <p:cTn id="1059" presetID="42" presetClass="path" presetSubtype="0" repeatCount="indefinite" accel="50000" decel="50000" fill="hold" grpId="1" nodeType="withEffect">
                                  <p:stCondLst>
                                    <p:cond delay="2500"/>
                                  </p:stCondLst>
                                  <p:childTnLst>
                                    <p:animMotion origin="layout" path="M -3.88889E-6 0.00432 L -3.88889E-6 0.58395 " pathEditMode="relative" rAng="0" ptsTypes="AA">
                                      <p:cBhvr>
                                        <p:cTn id="1060" dur="7000" fill="hold"/>
                                        <p:tgtEl>
                                          <p:spTgt spid="853"/>
                                        </p:tgtEl>
                                        <p:attrNameLst>
                                          <p:attrName>ppt_x</p:attrName>
                                          <p:attrName>ppt_y</p:attrName>
                                        </p:attrNameLst>
                                      </p:cBhvr>
                                      <p:rCtr x="0" y="28981"/>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45" grpId="0" animBg="1"/>
      <p:bldP spid="345" grpId="1" animBg="1"/>
      <p:bldP spid="418" grpId="0" animBg="1"/>
      <p:bldP spid="418" grpId="1" animBg="1"/>
      <p:bldP spid="418" grpId="2" animBg="1"/>
      <p:bldP spid="473" grpId="0" animBg="1"/>
      <p:bldP spid="473" grpId="1" animBg="1"/>
      <p:bldP spid="474" grpId="0" animBg="1"/>
      <p:bldP spid="474" grpId="1" animBg="1"/>
      <p:bldP spid="474" grpId="2" animBg="1"/>
      <p:bldP spid="475" grpId="0" animBg="1"/>
      <p:bldP spid="475" grpId="1" animBg="1"/>
      <p:bldP spid="476" grpId="0" animBg="1"/>
      <p:bldP spid="476" grpId="1" animBg="1"/>
      <p:bldP spid="476" grpId="2" animBg="1"/>
      <p:bldP spid="477" grpId="0" animBg="1"/>
      <p:bldP spid="477" grpId="1" animBg="1"/>
      <p:bldP spid="478" grpId="0" animBg="1"/>
      <p:bldP spid="478" grpId="1" animBg="1"/>
      <p:bldP spid="478" grpId="2" animBg="1"/>
      <p:bldP spid="479" grpId="0" animBg="1"/>
      <p:bldP spid="479" grpId="1" animBg="1"/>
      <p:bldP spid="480" grpId="0" animBg="1"/>
      <p:bldP spid="480" grpId="1" animBg="1"/>
      <p:bldP spid="480" grpId="2" animBg="1"/>
      <p:bldP spid="481" grpId="0" animBg="1"/>
      <p:bldP spid="481" grpId="1" animBg="1"/>
      <p:bldP spid="482" grpId="0" animBg="1"/>
      <p:bldP spid="482" grpId="1" animBg="1"/>
      <p:bldP spid="482" grpId="2" animBg="1"/>
      <p:bldP spid="483" grpId="0" animBg="1"/>
      <p:bldP spid="483" grpId="1" animBg="1"/>
      <p:bldP spid="484" grpId="0" animBg="1"/>
      <p:bldP spid="484" grpId="1" animBg="1"/>
      <p:bldP spid="484" grpId="2" animBg="1"/>
      <p:bldP spid="485" grpId="0" animBg="1"/>
      <p:bldP spid="485" grpId="1" animBg="1"/>
      <p:bldP spid="486" grpId="0" animBg="1"/>
      <p:bldP spid="486" grpId="1" animBg="1"/>
      <p:bldP spid="486" grpId="2" animBg="1"/>
      <p:bldP spid="487" grpId="0" animBg="1"/>
      <p:bldP spid="487" grpId="1" animBg="1"/>
      <p:bldP spid="488" grpId="0" animBg="1"/>
      <p:bldP spid="488" grpId="1" animBg="1"/>
      <p:bldP spid="488" grpId="2" animBg="1"/>
      <p:bldP spid="489" grpId="0" animBg="1"/>
      <p:bldP spid="489" grpId="1" animBg="1"/>
      <p:bldP spid="490" grpId="0" animBg="1"/>
      <p:bldP spid="490" grpId="1" animBg="1"/>
      <p:bldP spid="490" grpId="2" animBg="1"/>
      <p:bldP spid="491" grpId="0" animBg="1"/>
      <p:bldP spid="491" grpId="1" animBg="1"/>
      <p:bldP spid="492" grpId="0" animBg="1"/>
      <p:bldP spid="492" grpId="1" animBg="1"/>
      <p:bldP spid="492" grpId="2" animBg="1"/>
      <p:bldP spid="493" grpId="0" animBg="1"/>
      <p:bldP spid="493" grpId="1" animBg="1"/>
      <p:bldP spid="494" grpId="0" animBg="1"/>
      <p:bldP spid="494" grpId="1" animBg="1"/>
      <p:bldP spid="494" grpId="2" animBg="1"/>
      <p:bldP spid="495" grpId="0" animBg="1"/>
      <p:bldP spid="495" grpId="1" animBg="1"/>
      <p:bldP spid="496" grpId="0" animBg="1"/>
      <p:bldP spid="496" grpId="1" animBg="1"/>
      <p:bldP spid="496" grpId="2" animBg="1"/>
      <p:bldP spid="497" grpId="0" animBg="1"/>
      <p:bldP spid="497" grpId="1" animBg="1"/>
      <p:bldP spid="498" grpId="0" animBg="1"/>
      <p:bldP spid="498" grpId="1" animBg="1"/>
      <p:bldP spid="498" grpId="2" animBg="1"/>
      <p:bldP spid="499" grpId="0" animBg="1"/>
      <p:bldP spid="499" grpId="1" animBg="1"/>
      <p:bldP spid="500" grpId="0" animBg="1"/>
      <p:bldP spid="500" grpId="1" animBg="1"/>
      <p:bldP spid="500" grpId="2" animBg="1"/>
      <p:bldP spid="501" grpId="0" animBg="1"/>
      <p:bldP spid="501" grpId="1" animBg="1"/>
      <p:bldP spid="502" grpId="0" animBg="1"/>
      <p:bldP spid="502" grpId="1" animBg="1"/>
      <p:bldP spid="502" grpId="2" animBg="1"/>
      <p:bldP spid="503" grpId="0" animBg="1"/>
      <p:bldP spid="503" grpId="1" animBg="1"/>
      <p:bldP spid="504" grpId="0" animBg="1"/>
      <p:bldP spid="504" grpId="1" animBg="1"/>
      <p:bldP spid="504" grpId="2" animBg="1"/>
      <p:bldP spid="505" grpId="0" animBg="1"/>
      <p:bldP spid="505" grpId="1" animBg="1"/>
      <p:bldP spid="506" grpId="0" animBg="1"/>
      <p:bldP spid="506" grpId="1" animBg="1"/>
      <p:bldP spid="506" grpId="2" animBg="1"/>
      <p:bldP spid="507" grpId="0" animBg="1"/>
      <p:bldP spid="507" grpId="1" animBg="1"/>
      <p:bldP spid="508" grpId="0" animBg="1"/>
      <p:bldP spid="508" grpId="1" animBg="1"/>
      <p:bldP spid="508" grpId="2" animBg="1"/>
      <p:bldP spid="509" grpId="0" animBg="1"/>
      <p:bldP spid="509" grpId="1" animBg="1"/>
      <p:bldP spid="510" grpId="0" animBg="1"/>
      <p:bldP spid="510" grpId="1" animBg="1"/>
      <p:bldP spid="510" grpId="2" animBg="1"/>
      <p:bldP spid="511" grpId="0" animBg="1"/>
      <p:bldP spid="511" grpId="1" animBg="1"/>
      <p:bldP spid="512" grpId="0" animBg="1"/>
      <p:bldP spid="512" grpId="1" animBg="1"/>
      <p:bldP spid="512" grpId="2" animBg="1"/>
      <p:bldP spid="513" grpId="0" animBg="1"/>
      <p:bldP spid="513" grpId="1" animBg="1"/>
      <p:bldP spid="514" grpId="0" animBg="1"/>
      <p:bldP spid="514" grpId="1" animBg="1"/>
      <p:bldP spid="514" grpId="2" animBg="1"/>
      <p:bldP spid="515" grpId="0" animBg="1"/>
      <p:bldP spid="515" grpId="1" animBg="1"/>
      <p:bldP spid="516" grpId="0" animBg="1"/>
      <p:bldP spid="516" grpId="1" animBg="1"/>
      <p:bldP spid="516" grpId="2" animBg="1"/>
      <p:bldP spid="517" grpId="0" animBg="1"/>
      <p:bldP spid="517" grpId="1" animBg="1"/>
      <p:bldP spid="518" grpId="0" animBg="1"/>
      <p:bldP spid="518" grpId="1" animBg="1"/>
      <p:bldP spid="518" grpId="2" animBg="1"/>
      <p:bldP spid="519" grpId="0" animBg="1"/>
      <p:bldP spid="519" grpId="1" animBg="1"/>
      <p:bldP spid="520" grpId="0" animBg="1"/>
      <p:bldP spid="520" grpId="1" animBg="1"/>
      <p:bldP spid="520" grpId="2" animBg="1"/>
      <p:bldP spid="521" grpId="0" animBg="1"/>
      <p:bldP spid="521" grpId="1" animBg="1"/>
      <p:bldP spid="522" grpId="0" animBg="1"/>
      <p:bldP spid="522" grpId="1" animBg="1"/>
      <p:bldP spid="522" grpId="2" animBg="1"/>
      <p:bldP spid="523" grpId="0" animBg="1"/>
      <p:bldP spid="523" grpId="1" animBg="1"/>
      <p:bldP spid="524" grpId="0" animBg="1"/>
      <p:bldP spid="524" grpId="1" animBg="1"/>
      <p:bldP spid="524" grpId="2" animBg="1"/>
      <p:bldP spid="525" grpId="0" animBg="1"/>
      <p:bldP spid="525" grpId="1" animBg="1"/>
      <p:bldP spid="526" grpId="0" animBg="1"/>
      <p:bldP spid="526" grpId="1" animBg="1"/>
      <p:bldP spid="526" grpId="2" animBg="1"/>
      <p:bldP spid="527" grpId="0" animBg="1"/>
      <p:bldP spid="527" grpId="1" animBg="1"/>
      <p:bldP spid="528" grpId="0" animBg="1"/>
      <p:bldP spid="528" grpId="1" animBg="1"/>
      <p:bldP spid="528" grpId="2" animBg="1"/>
      <p:bldP spid="529" grpId="0" animBg="1"/>
      <p:bldP spid="529" grpId="1" animBg="1"/>
      <p:bldP spid="530" grpId="0" animBg="1"/>
      <p:bldP spid="530" grpId="1" animBg="1"/>
      <p:bldP spid="530" grpId="2" animBg="1"/>
      <p:bldP spid="531" grpId="0" animBg="1"/>
      <p:bldP spid="531" grpId="1" animBg="1"/>
      <p:bldP spid="532" grpId="0" animBg="1"/>
      <p:bldP spid="532" grpId="1" animBg="1"/>
      <p:bldP spid="532" grpId="2" animBg="1"/>
      <p:bldP spid="533" grpId="0" animBg="1"/>
      <p:bldP spid="533" grpId="1" animBg="1"/>
      <p:bldP spid="534" grpId="0" animBg="1"/>
      <p:bldP spid="534" grpId="1" animBg="1"/>
      <p:bldP spid="534" grpId="2" animBg="1"/>
      <p:bldP spid="535" grpId="0" animBg="1"/>
      <p:bldP spid="535" grpId="1" animBg="1"/>
      <p:bldP spid="536" grpId="0" animBg="1"/>
      <p:bldP spid="536" grpId="1" animBg="1"/>
      <p:bldP spid="536" grpId="2" animBg="1"/>
      <p:bldP spid="537" grpId="0" animBg="1"/>
      <p:bldP spid="537" grpId="1" animBg="1"/>
      <p:bldP spid="538" grpId="0" animBg="1"/>
      <p:bldP spid="538" grpId="1" animBg="1"/>
      <p:bldP spid="538" grpId="2" animBg="1"/>
      <p:bldP spid="539" grpId="0" animBg="1"/>
      <p:bldP spid="539" grpId="1" animBg="1"/>
      <p:bldP spid="540" grpId="0" animBg="1"/>
      <p:bldP spid="540" grpId="1" animBg="1"/>
      <p:bldP spid="540" grpId="2" animBg="1"/>
      <p:bldP spid="541" grpId="0" animBg="1"/>
      <p:bldP spid="541" grpId="1" animBg="1"/>
      <p:bldP spid="542" grpId="0" animBg="1"/>
      <p:bldP spid="542" grpId="1" animBg="1"/>
      <p:bldP spid="542" grpId="2" animBg="1"/>
      <p:bldP spid="543" grpId="0" animBg="1"/>
      <p:bldP spid="543" grpId="1" animBg="1"/>
      <p:bldP spid="544" grpId="0" animBg="1"/>
      <p:bldP spid="544" grpId="1" animBg="1"/>
      <p:bldP spid="544" grpId="2" animBg="1"/>
      <p:bldP spid="545" grpId="0" animBg="1"/>
      <p:bldP spid="545" grpId="1" animBg="1"/>
      <p:bldP spid="546" grpId="0" animBg="1"/>
      <p:bldP spid="546" grpId="1" animBg="1"/>
      <p:bldP spid="546" grpId="2" animBg="1"/>
      <p:bldP spid="547" grpId="0" animBg="1"/>
      <p:bldP spid="547" grpId="1" animBg="1"/>
      <p:bldP spid="548" grpId="0" animBg="1"/>
      <p:bldP spid="548" grpId="1" animBg="1"/>
      <p:bldP spid="548" grpId="2" animBg="1"/>
      <p:bldP spid="549" grpId="0" animBg="1"/>
      <p:bldP spid="549" grpId="1" animBg="1"/>
      <p:bldP spid="550" grpId="0" animBg="1"/>
      <p:bldP spid="550" grpId="1" animBg="1"/>
      <p:bldP spid="550" grpId="2" animBg="1"/>
      <p:bldP spid="551" grpId="0" animBg="1"/>
      <p:bldP spid="551" grpId="1" animBg="1"/>
      <p:bldP spid="552" grpId="0" animBg="1"/>
      <p:bldP spid="552" grpId="1" animBg="1"/>
      <p:bldP spid="552" grpId="2" animBg="1"/>
      <p:bldP spid="553" grpId="0" animBg="1"/>
      <p:bldP spid="553" grpId="1" animBg="1"/>
      <p:bldP spid="554" grpId="0" animBg="1"/>
      <p:bldP spid="554" grpId="1" animBg="1"/>
      <p:bldP spid="554" grpId="2" animBg="1"/>
      <p:bldP spid="555" grpId="0" animBg="1"/>
      <p:bldP spid="555" grpId="1" animBg="1"/>
      <p:bldP spid="556" grpId="0" animBg="1"/>
      <p:bldP spid="556" grpId="1" animBg="1"/>
      <p:bldP spid="556" grpId="2" animBg="1"/>
      <p:bldP spid="557" grpId="0" animBg="1"/>
      <p:bldP spid="557" grpId="1" animBg="1"/>
      <p:bldP spid="558" grpId="0" animBg="1"/>
      <p:bldP spid="558" grpId="1" animBg="1"/>
      <p:bldP spid="558" grpId="2" animBg="1"/>
      <p:bldP spid="559" grpId="0" animBg="1"/>
      <p:bldP spid="559" grpId="1" animBg="1"/>
      <p:bldP spid="560" grpId="0" animBg="1"/>
      <p:bldP spid="560" grpId="1" animBg="1"/>
      <p:bldP spid="560" grpId="2" animBg="1"/>
      <p:bldP spid="561" grpId="0" animBg="1"/>
      <p:bldP spid="561" grpId="1" animBg="1"/>
      <p:bldP spid="562" grpId="0" animBg="1"/>
      <p:bldP spid="562" grpId="1" animBg="1"/>
      <p:bldP spid="562" grpId="2" animBg="1"/>
      <p:bldP spid="563" grpId="0" animBg="1"/>
      <p:bldP spid="563" grpId="1" animBg="1"/>
      <p:bldP spid="564" grpId="0" animBg="1"/>
      <p:bldP spid="564" grpId="1" animBg="1"/>
      <p:bldP spid="564" grpId="2" animBg="1"/>
      <p:bldP spid="565" grpId="0" animBg="1"/>
      <p:bldP spid="565" grpId="1" animBg="1"/>
      <p:bldP spid="566" grpId="0" animBg="1"/>
      <p:bldP spid="566" grpId="1" animBg="1"/>
      <p:bldP spid="566" grpId="2" animBg="1"/>
      <p:bldP spid="759" grpId="0" animBg="1"/>
      <p:bldP spid="759" grpId="1" animBg="1"/>
      <p:bldP spid="760" grpId="0" animBg="1"/>
      <p:bldP spid="760" grpId="1" animBg="1"/>
      <p:bldP spid="760" grpId="2" animBg="1"/>
      <p:bldP spid="761" grpId="0" animBg="1"/>
      <p:bldP spid="761" grpId="1" animBg="1"/>
      <p:bldP spid="762" grpId="0" animBg="1"/>
      <p:bldP spid="762" grpId="1" animBg="1"/>
      <p:bldP spid="762" grpId="2" animBg="1"/>
      <p:bldP spid="763" grpId="0" animBg="1"/>
      <p:bldP spid="763" grpId="1" animBg="1"/>
      <p:bldP spid="764" grpId="0" animBg="1"/>
      <p:bldP spid="764" grpId="1" animBg="1"/>
      <p:bldP spid="764" grpId="2" animBg="1"/>
      <p:bldP spid="765" grpId="0" animBg="1"/>
      <p:bldP spid="765" grpId="1" animBg="1"/>
      <p:bldP spid="766" grpId="0" animBg="1"/>
      <p:bldP spid="766" grpId="1" animBg="1"/>
      <p:bldP spid="766" grpId="2" animBg="1"/>
      <p:bldP spid="767" grpId="0" animBg="1"/>
      <p:bldP spid="767" grpId="1" animBg="1"/>
      <p:bldP spid="768" grpId="0" animBg="1"/>
      <p:bldP spid="768" grpId="1" animBg="1"/>
      <p:bldP spid="768" grpId="2" animBg="1"/>
      <p:bldP spid="769" grpId="0" animBg="1"/>
      <p:bldP spid="769" grpId="1" animBg="1"/>
      <p:bldP spid="770" grpId="0" animBg="1"/>
      <p:bldP spid="770" grpId="1" animBg="1"/>
      <p:bldP spid="770" grpId="2" animBg="1"/>
      <p:bldP spid="771" grpId="0" animBg="1"/>
      <p:bldP spid="771" grpId="1" animBg="1"/>
      <p:bldP spid="772" grpId="0" animBg="1"/>
      <p:bldP spid="772" grpId="1" animBg="1"/>
      <p:bldP spid="772" grpId="2" animBg="1"/>
      <p:bldP spid="773" grpId="0" animBg="1"/>
      <p:bldP spid="773" grpId="1" animBg="1"/>
      <p:bldP spid="774" grpId="0" animBg="1"/>
      <p:bldP spid="774" grpId="1" animBg="1"/>
      <p:bldP spid="774" grpId="2" animBg="1"/>
      <p:bldP spid="775" grpId="0" animBg="1"/>
      <p:bldP spid="775" grpId="1" animBg="1"/>
      <p:bldP spid="776" grpId="0" animBg="1"/>
      <p:bldP spid="776" grpId="1" animBg="1"/>
      <p:bldP spid="776" grpId="2" animBg="1"/>
      <p:bldP spid="777" grpId="0" animBg="1"/>
      <p:bldP spid="777" grpId="1" animBg="1"/>
      <p:bldP spid="778" grpId="0" animBg="1"/>
      <p:bldP spid="778" grpId="1" animBg="1"/>
      <p:bldP spid="778" grpId="2" animBg="1"/>
      <p:bldP spid="779" grpId="0" animBg="1"/>
      <p:bldP spid="779" grpId="1" animBg="1"/>
      <p:bldP spid="780" grpId="0" animBg="1"/>
      <p:bldP spid="780" grpId="1" animBg="1"/>
      <p:bldP spid="780" grpId="2" animBg="1"/>
      <p:bldP spid="781" grpId="0" animBg="1"/>
      <p:bldP spid="781" grpId="1" animBg="1"/>
      <p:bldP spid="782" grpId="0" animBg="1"/>
      <p:bldP spid="782" grpId="1" animBg="1"/>
      <p:bldP spid="782" grpId="2" animBg="1"/>
      <p:bldP spid="783" grpId="0" animBg="1"/>
      <p:bldP spid="783" grpId="1" animBg="1"/>
      <p:bldP spid="784" grpId="0" animBg="1"/>
      <p:bldP spid="784" grpId="1" animBg="1"/>
      <p:bldP spid="784" grpId="2" animBg="1"/>
      <p:bldP spid="785" grpId="0" animBg="1"/>
      <p:bldP spid="785" grpId="1" animBg="1"/>
      <p:bldP spid="786" grpId="0" animBg="1"/>
      <p:bldP spid="786" grpId="1" animBg="1"/>
      <p:bldP spid="786" grpId="2" animBg="1"/>
      <p:bldP spid="787" grpId="0" animBg="1"/>
      <p:bldP spid="787" grpId="1" animBg="1"/>
      <p:bldP spid="788" grpId="0" animBg="1"/>
      <p:bldP spid="788" grpId="1" animBg="1"/>
      <p:bldP spid="788" grpId="2" animBg="1"/>
      <p:bldP spid="789" grpId="0" animBg="1"/>
      <p:bldP spid="789" grpId="1" animBg="1"/>
      <p:bldP spid="790" grpId="0" animBg="1"/>
      <p:bldP spid="790" grpId="1" animBg="1"/>
      <p:bldP spid="790" grpId="2" animBg="1"/>
      <p:bldP spid="791" grpId="0" animBg="1"/>
      <p:bldP spid="791" grpId="1" animBg="1"/>
      <p:bldP spid="792" grpId="0" animBg="1"/>
      <p:bldP spid="792" grpId="1" animBg="1"/>
      <p:bldP spid="792" grpId="2" animBg="1"/>
      <p:bldP spid="793" grpId="0" animBg="1"/>
      <p:bldP spid="793" grpId="1" animBg="1"/>
      <p:bldP spid="794" grpId="0" animBg="1"/>
      <p:bldP spid="794" grpId="1" animBg="1"/>
      <p:bldP spid="794" grpId="2" animBg="1"/>
      <p:bldP spid="795" grpId="0" animBg="1"/>
      <p:bldP spid="795" grpId="1" animBg="1"/>
      <p:bldP spid="796" grpId="0" animBg="1"/>
      <p:bldP spid="796" grpId="1" animBg="1"/>
      <p:bldP spid="796" grpId="2" animBg="1"/>
      <p:bldP spid="797" grpId="0" animBg="1"/>
      <p:bldP spid="797" grpId="1" animBg="1"/>
      <p:bldP spid="798" grpId="0" animBg="1"/>
      <p:bldP spid="798" grpId="1" animBg="1"/>
      <p:bldP spid="798" grpId="2" animBg="1"/>
      <p:bldP spid="799" grpId="0" animBg="1"/>
      <p:bldP spid="799" grpId="1" animBg="1"/>
      <p:bldP spid="800" grpId="0" animBg="1"/>
      <p:bldP spid="800" grpId="1" animBg="1"/>
      <p:bldP spid="800" grpId="2" animBg="1"/>
      <p:bldP spid="801" grpId="0" animBg="1"/>
      <p:bldP spid="801" grpId="1" animBg="1"/>
      <p:bldP spid="802" grpId="0" animBg="1"/>
      <p:bldP spid="802" grpId="1" animBg="1"/>
      <p:bldP spid="802" grpId="2" animBg="1"/>
      <p:bldP spid="803" grpId="0" animBg="1"/>
      <p:bldP spid="803" grpId="1" animBg="1"/>
      <p:bldP spid="804" grpId="0" animBg="1"/>
      <p:bldP spid="804" grpId="1" animBg="1"/>
      <p:bldP spid="804" grpId="2" animBg="1"/>
      <p:bldP spid="805" grpId="0" animBg="1"/>
      <p:bldP spid="805" grpId="1" animBg="1"/>
      <p:bldP spid="806" grpId="0" animBg="1"/>
      <p:bldP spid="806" grpId="1" animBg="1"/>
      <p:bldP spid="806" grpId="2" animBg="1"/>
      <p:bldP spid="807" grpId="0" animBg="1"/>
      <p:bldP spid="807" grpId="1" animBg="1"/>
      <p:bldP spid="808" grpId="0" animBg="1"/>
      <p:bldP spid="808" grpId="1" animBg="1"/>
      <p:bldP spid="808" grpId="2" animBg="1"/>
      <p:bldP spid="809" grpId="0" animBg="1"/>
      <p:bldP spid="809" grpId="1" animBg="1"/>
      <p:bldP spid="810" grpId="0" animBg="1"/>
      <p:bldP spid="810" grpId="1" animBg="1"/>
      <p:bldP spid="810" grpId="2" animBg="1"/>
      <p:bldP spid="811" grpId="0" animBg="1"/>
      <p:bldP spid="811" grpId="1" animBg="1"/>
      <p:bldP spid="812" grpId="0" animBg="1"/>
      <p:bldP spid="812" grpId="1" animBg="1"/>
      <p:bldP spid="812" grpId="2" animBg="1"/>
      <p:bldP spid="813" grpId="0" animBg="1"/>
      <p:bldP spid="813" grpId="1" animBg="1"/>
      <p:bldP spid="814" grpId="0" animBg="1"/>
      <p:bldP spid="814" grpId="1" animBg="1"/>
      <p:bldP spid="814" grpId="2" animBg="1"/>
      <p:bldP spid="815" grpId="0" animBg="1"/>
      <p:bldP spid="815" grpId="1" animBg="1"/>
      <p:bldP spid="816" grpId="0" animBg="1"/>
      <p:bldP spid="816" grpId="1" animBg="1"/>
      <p:bldP spid="816" grpId="2" animBg="1"/>
      <p:bldP spid="817" grpId="0" animBg="1"/>
      <p:bldP spid="817" grpId="1" animBg="1"/>
      <p:bldP spid="818" grpId="0" animBg="1"/>
      <p:bldP spid="818" grpId="1" animBg="1"/>
      <p:bldP spid="818" grpId="2" animBg="1"/>
      <p:bldP spid="819" grpId="0" animBg="1"/>
      <p:bldP spid="819" grpId="1" animBg="1"/>
      <p:bldP spid="820" grpId="0" animBg="1"/>
      <p:bldP spid="820" grpId="1" animBg="1"/>
      <p:bldP spid="820" grpId="2" animBg="1"/>
      <p:bldP spid="821" grpId="0" animBg="1"/>
      <p:bldP spid="821" grpId="1" animBg="1"/>
      <p:bldP spid="822" grpId="0" animBg="1"/>
      <p:bldP spid="822" grpId="1" animBg="1"/>
      <p:bldP spid="822" grpId="2" animBg="1"/>
      <p:bldP spid="823" grpId="0" animBg="1"/>
      <p:bldP spid="823" grpId="1" animBg="1"/>
      <p:bldP spid="824" grpId="0" animBg="1"/>
      <p:bldP spid="824" grpId="1" animBg="1"/>
      <p:bldP spid="824" grpId="2" animBg="1"/>
      <p:bldP spid="825" grpId="0" animBg="1"/>
      <p:bldP spid="825" grpId="1" animBg="1"/>
      <p:bldP spid="826" grpId="0" animBg="1"/>
      <p:bldP spid="826" grpId="1" animBg="1"/>
      <p:bldP spid="826" grpId="2" animBg="1"/>
      <p:bldP spid="827" grpId="0" animBg="1"/>
      <p:bldP spid="827" grpId="1" animBg="1"/>
      <p:bldP spid="828" grpId="0" animBg="1"/>
      <p:bldP spid="828" grpId="1" animBg="1"/>
      <p:bldP spid="828" grpId="2" animBg="1"/>
      <p:bldP spid="829" grpId="0" animBg="1"/>
      <p:bldP spid="829" grpId="1" animBg="1"/>
      <p:bldP spid="830" grpId="0" animBg="1"/>
      <p:bldP spid="830" grpId="1" animBg="1"/>
      <p:bldP spid="830" grpId="2" animBg="1"/>
      <p:bldP spid="831" grpId="0" animBg="1"/>
      <p:bldP spid="831" grpId="1" animBg="1"/>
      <p:bldP spid="832" grpId="0" animBg="1"/>
      <p:bldP spid="832" grpId="1" animBg="1"/>
      <p:bldP spid="832" grpId="2" animBg="1"/>
      <p:bldP spid="833" grpId="0" animBg="1"/>
      <p:bldP spid="833" grpId="1" animBg="1"/>
      <p:bldP spid="834" grpId="0" animBg="1"/>
      <p:bldP spid="834" grpId="1" animBg="1"/>
      <p:bldP spid="834" grpId="2" animBg="1"/>
      <p:bldP spid="835" grpId="0" animBg="1"/>
      <p:bldP spid="835" grpId="1" animBg="1"/>
      <p:bldP spid="836" grpId="0" animBg="1"/>
      <p:bldP spid="836" grpId="1" animBg="1"/>
      <p:bldP spid="836" grpId="2" animBg="1"/>
      <p:bldP spid="837" grpId="0" animBg="1"/>
      <p:bldP spid="837" grpId="1" animBg="1"/>
      <p:bldP spid="838" grpId="0" animBg="1"/>
      <p:bldP spid="838" grpId="1" animBg="1"/>
      <p:bldP spid="838" grpId="2" animBg="1"/>
      <p:bldP spid="839" grpId="0" animBg="1"/>
      <p:bldP spid="839" grpId="1" animBg="1"/>
      <p:bldP spid="840" grpId="0" animBg="1"/>
      <p:bldP spid="840" grpId="1" animBg="1"/>
      <p:bldP spid="840" grpId="2" animBg="1"/>
      <p:bldP spid="841" grpId="0" animBg="1"/>
      <p:bldP spid="841" grpId="1" animBg="1"/>
      <p:bldP spid="842" grpId="0" animBg="1"/>
      <p:bldP spid="842" grpId="1" animBg="1"/>
      <p:bldP spid="842" grpId="2" animBg="1"/>
      <p:bldP spid="843" grpId="0" animBg="1"/>
      <p:bldP spid="843" grpId="1" animBg="1"/>
      <p:bldP spid="844" grpId="0" animBg="1"/>
      <p:bldP spid="844" grpId="1" animBg="1"/>
      <p:bldP spid="844" grpId="2" animBg="1"/>
      <p:bldP spid="845" grpId="0" animBg="1"/>
      <p:bldP spid="845" grpId="1" animBg="1"/>
      <p:bldP spid="846" grpId="0" animBg="1"/>
      <p:bldP spid="846" grpId="1" animBg="1"/>
      <p:bldP spid="846" grpId="2" animBg="1"/>
      <p:bldP spid="847" grpId="0" animBg="1"/>
      <p:bldP spid="847" grpId="1" animBg="1"/>
      <p:bldP spid="848" grpId="0" animBg="1"/>
      <p:bldP spid="848" grpId="1" animBg="1"/>
      <p:bldP spid="848" grpId="2" animBg="1"/>
      <p:bldP spid="849" grpId="0" animBg="1"/>
      <p:bldP spid="849" grpId="1" animBg="1"/>
      <p:bldP spid="850" grpId="0" animBg="1"/>
      <p:bldP spid="850" grpId="1" animBg="1"/>
      <p:bldP spid="850" grpId="2" animBg="1"/>
      <p:bldP spid="851" grpId="0" animBg="1"/>
      <p:bldP spid="851" grpId="1" animBg="1"/>
      <p:bldP spid="852" grpId="0" animBg="1"/>
      <p:bldP spid="852" grpId="1" animBg="1"/>
      <p:bldP spid="852" grpId="2" animBg="1"/>
      <p:bldP spid="853" grpId="0" animBg="1"/>
      <p:bldP spid="853" grpId="1" animBg="1"/>
      <p:bldP spid="854" grpId="0" animBg="1"/>
      <p:bldP spid="854" grpId="1" animBg="1"/>
      <p:bldP spid="854" grpId="2" animBg="1"/>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254402068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556"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5" name="Sun 24"/>
          <p:cNvSpPr/>
          <p:nvPr/>
        </p:nvSpPr>
        <p:spPr>
          <a:xfrm>
            <a:off x="6400800" y="133350"/>
            <a:ext cx="1219200" cy="1219200"/>
          </a:xfrm>
          <a:prstGeom prst="sun">
            <a:avLst>
              <a:gd name="adj" fmla="val 32500"/>
            </a:avLst>
          </a:prstGeom>
          <a:solidFill>
            <a:srgbClr val="FFFF0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26" name="Cloud 25"/>
          <p:cNvSpPr/>
          <p:nvPr/>
        </p:nvSpPr>
        <p:spPr>
          <a:xfrm>
            <a:off x="5410200" y="742950"/>
            <a:ext cx="1447800" cy="914400"/>
          </a:xfrm>
          <a:prstGeom prst="cloud">
            <a:avLst/>
          </a:prstGeom>
          <a:solidFill>
            <a:schemeClr val="bg1"/>
          </a:solidFill>
          <a:ln>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 name="Rectangle 625" descr="© INSCALE GmbH, 21.06.2010"/>
          <p:cNvSpPr>
            <a:spLocks noChangeArrowheads="1"/>
          </p:cNvSpPr>
          <p:nvPr/>
        </p:nvSpPr>
        <p:spPr bwMode="gray">
          <a:xfrm>
            <a:off x="1203304" y="3416200"/>
            <a:ext cx="1352104" cy="331767"/>
          </a:xfrm>
          <a:prstGeom prst="rect">
            <a:avLst/>
          </a:prstGeom>
          <a:solidFill>
            <a:srgbClr val="00B0F0"/>
          </a:solidFill>
          <a:ln>
            <a:noFill/>
          </a:ln>
          <a:effectLst>
            <a:outerShdw blurRad="50800" dist="38100" dir="2700000" algn="tl" rotWithShape="0">
              <a:prstClr val="black">
                <a:alpha val="40000"/>
              </a:prstClr>
            </a:outerShdw>
          </a:effectLst>
          <a:extLst/>
        </p:spPr>
        <p:txBody>
          <a:bodyPr/>
          <a:lstStyle/>
          <a:p>
            <a:endParaRPr lang="en-US" dirty="0"/>
          </a:p>
        </p:txBody>
      </p:sp>
      <p:sp>
        <p:nvSpPr>
          <p:cNvPr id="29" name="Freeform 626" descr="© INSCALE GmbH, 21.06.2010"/>
          <p:cNvSpPr>
            <a:spLocks noEditPoints="1"/>
          </p:cNvSpPr>
          <p:nvPr/>
        </p:nvSpPr>
        <p:spPr bwMode="gray">
          <a:xfrm>
            <a:off x="1021771" y="2705002"/>
            <a:ext cx="1721429" cy="1314548"/>
          </a:xfrm>
          <a:custGeom>
            <a:avLst/>
            <a:gdLst>
              <a:gd name="T0" fmla="*/ 2649 w 2733"/>
              <a:gd name="T1" fmla="*/ 1184 h 2091"/>
              <a:gd name="T2" fmla="*/ 2510 w 2733"/>
              <a:gd name="T3" fmla="*/ 1186 h 2091"/>
              <a:gd name="T4" fmla="*/ 2510 w 2733"/>
              <a:gd name="T5" fmla="*/ 696 h 2091"/>
              <a:gd name="T6" fmla="*/ 1873 w 2733"/>
              <a:gd name="T7" fmla="*/ 1186 h 2091"/>
              <a:gd name="T8" fmla="*/ 1873 w 2733"/>
              <a:gd name="T9" fmla="*/ 646 h 2091"/>
              <a:gd name="T10" fmla="*/ 1171 w 2733"/>
              <a:gd name="T11" fmla="*/ 1186 h 2091"/>
              <a:gd name="T12" fmla="*/ 1171 w 2733"/>
              <a:gd name="T13" fmla="*/ 598 h 2091"/>
              <a:gd name="T14" fmla="*/ 408 w 2733"/>
              <a:gd name="T15" fmla="*/ 1186 h 2091"/>
              <a:gd name="T16" fmla="*/ 408 w 2733"/>
              <a:gd name="T17" fmla="*/ 0 h 2091"/>
              <a:gd name="T18" fmla="*/ 156 w 2733"/>
              <a:gd name="T19" fmla="*/ 0 h 2091"/>
              <a:gd name="T20" fmla="*/ 57 w 2733"/>
              <a:gd name="T21" fmla="*/ 104 h 2091"/>
              <a:gd name="T22" fmla="*/ 0 w 2733"/>
              <a:gd name="T23" fmla="*/ 1987 h 2091"/>
              <a:gd name="T24" fmla="*/ 99 w 2733"/>
              <a:gd name="T25" fmla="*/ 2091 h 2091"/>
              <a:gd name="T26" fmla="*/ 2634 w 2733"/>
              <a:gd name="T27" fmla="*/ 2091 h 2091"/>
              <a:gd name="T28" fmla="*/ 2733 w 2733"/>
              <a:gd name="T29" fmla="*/ 1987 h 2091"/>
              <a:gd name="T30" fmla="*/ 2649 w 2733"/>
              <a:gd name="T31" fmla="*/ 1184 h 2091"/>
              <a:gd name="T32" fmla="*/ 629 w 2733"/>
              <a:gd name="T33" fmla="*/ 1622 h 2091"/>
              <a:gd name="T34" fmla="*/ 448 w 2733"/>
              <a:gd name="T35" fmla="*/ 1622 h 2091"/>
              <a:gd name="T36" fmla="*/ 448 w 2733"/>
              <a:gd name="T37" fmla="*/ 1393 h 2091"/>
              <a:gd name="T38" fmla="*/ 629 w 2733"/>
              <a:gd name="T39" fmla="*/ 1393 h 2091"/>
              <a:gd name="T40" fmla="*/ 629 w 2733"/>
              <a:gd name="T41" fmla="*/ 1622 h 2091"/>
              <a:gd name="T42" fmla="*/ 944 w 2733"/>
              <a:gd name="T43" fmla="*/ 1622 h 2091"/>
              <a:gd name="T44" fmla="*/ 764 w 2733"/>
              <a:gd name="T45" fmla="*/ 1622 h 2091"/>
              <a:gd name="T46" fmla="*/ 764 w 2733"/>
              <a:gd name="T47" fmla="*/ 1393 h 2091"/>
              <a:gd name="T48" fmla="*/ 944 w 2733"/>
              <a:gd name="T49" fmla="*/ 1393 h 2091"/>
              <a:gd name="T50" fmla="*/ 944 w 2733"/>
              <a:gd name="T51" fmla="*/ 1622 h 2091"/>
              <a:gd name="T52" fmla="*/ 1259 w 2733"/>
              <a:gd name="T53" fmla="*/ 1622 h 2091"/>
              <a:gd name="T54" fmla="*/ 1079 w 2733"/>
              <a:gd name="T55" fmla="*/ 1622 h 2091"/>
              <a:gd name="T56" fmla="*/ 1079 w 2733"/>
              <a:gd name="T57" fmla="*/ 1393 h 2091"/>
              <a:gd name="T58" fmla="*/ 1259 w 2733"/>
              <a:gd name="T59" fmla="*/ 1393 h 2091"/>
              <a:gd name="T60" fmla="*/ 1259 w 2733"/>
              <a:gd name="T61" fmla="*/ 1622 h 2091"/>
              <a:gd name="T62" fmla="*/ 1574 w 2733"/>
              <a:gd name="T63" fmla="*/ 1622 h 2091"/>
              <a:gd name="T64" fmla="*/ 1394 w 2733"/>
              <a:gd name="T65" fmla="*/ 1622 h 2091"/>
              <a:gd name="T66" fmla="*/ 1394 w 2733"/>
              <a:gd name="T67" fmla="*/ 1393 h 2091"/>
              <a:gd name="T68" fmla="*/ 1574 w 2733"/>
              <a:gd name="T69" fmla="*/ 1393 h 2091"/>
              <a:gd name="T70" fmla="*/ 1574 w 2733"/>
              <a:gd name="T71" fmla="*/ 1622 h 2091"/>
              <a:gd name="T72" fmla="*/ 1889 w 2733"/>
              <a:gd name="T73" fmla="*/ 1622 h 2091"/>
              <a:gd name="T74" fmla="*/ 1709 w 2733"/>
              <a:gd name="T75" fmla="*/ 1622 h 2091"/>
              <a:gd name="T76" fmla="*/ 1709 w 2733"/>
              <a:gd name="T77" fmla="*/ 1393 h 2091"/>
              <a:gd name="T78" fmla="*/ 1889 w 2733"/>
              <a:gd name="T79" fmla="*/ 1393 h 2091"/>
              <a:gd name="T80" fmla="*/ 1889 w 2733"/>
              <a:gd name="T81" fmla="*/ 1622 h 2091"/>
              <a:gd name="T82" fmla="*/ 2204 w 2733"/>
              <a:gd name="T83" fmla="*/ 1622 h 2091"/>
              <a:gd name="T84" fmla="*/ 2024 w 2733"/>
              <a:gd name="T85" fmla="*/ 1622 h 2091"/>
              <a:gd name="T86" fmla="*/ 2024 w 2733"/>
              <a:gd name="T87" fmla="*/ 1393 h 2091"/>
              <a:gd name="T88" fmla="*/ 2204 w 2733"/>
              <a:gd name="T89" fmla="*/ 1393 h 2091"/>
              <a:gd name="T90" fmla="*/ 2204 w 2733"/>
              <a:gd name="T91" fmla="*/ 1622 h 20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733" h="2091">
                <a:moveTo>
                  <a:pt x="2649" y="1184"/>
                </a:moveTo>
                <a:cubicBezTo>
                  <a:pt x="2510" y="1186"/>
                  <a:pt x="2510" y="1186"/>
                  <a:pt x="2510" y="1186"/>
                </a:cubicBezTo>
                <a:cubicBezTo>
                  <a:pt x="2510" y="696"/>
                  <a:pt x="2510" y="696"/>
                  <a:pt x="2510" y="696"/>
                </a:cubicBezTo>
                <a:cubicBezTo>
                  <a:pt x="1873" y="1186"/>
                  <a:pt x="1873" y="1186"/>
                  <a:pt x="1873" y="1186"/>
                </a:cubicBezTo>
                <a:cubicBezTo>
                  <a:pt x="1873" y="646"/>
                  <a:pt x="1873" y="646"/>
                  <a:pt x="1873" y="646"/>
                </a:cubicBezTo>
                <a:cubicBezTo>
                  <a:pt x="1171" y="1186"/>
                  <a:pt x="1171" y="1186"/>
                  <a:pt x="1171" y="1186"/>
                </a:cubicBezTo>
                <a:cubicBezTo>
                  <a:pt x="1171" y="598"/>
                  <a:pt x="1171" y="598"/>
                  <a:pt x="1171" y="598"/>
                </a:cubicBezTo>
                <a:cubicBezTo>
                  <a:pt x="408" y="1186"/>
                  <a:pt x="408" y="1186"/>
                  <a:pt x="408" y="1186"/>
                </a:cubicBezTo>
                <a:cubicBezTo>
                  <a:pt x="408" y="0"/>
                  <a:pt x="408" y="0"/>
                  <a:pt x="408" y="0"/>
                </a:cubicBezTo>
                <a:cubicBezTo>
                  <a:pt x="156" y="0"/>
                  <a:pt x="156" y="0"/>
                  <a:pt x="156" y="0"/>
                </a:cubicBezTo>
                <a:cubicBezTo>
                  <a:pt x="102" y="0"/>
                  <a:pt x="57" y="47"/>
                  <a:pt x="57" y="104"/>
                </a:cubicBezTo>
                <a:cubicBezTo>
                  <a:pt x="0" y="1987"/>
                  <a:pt x="0" y="1987"/>
                  <a:pt x="0" y="1987"/>
                </a:cubicBezTo>
                <a:cubicBezTo>
                  <a:pt x="0" y="2044"/>
                  <a:pt x="44" y="2091"/>
                  <a:pt x="99" y="2091"/>
                </a:cubicBezTo>
                <a:cubicBezTo>
                  <a:pt x="2634" y="2091"/>
                  <a:pt x="2634" y="2091"/>
                  <a:pt x="2634" y="2091"/>
                </a:cubicBezTo>
                <a:cubicBezTo>
                  <a:pt x="2689" y="2091"/>
                  <a:pt x="2733" y="2044"/>
                  <a:pt x="2733" y="1987"/>
                </a:cubicBezTo>
                <a:lnTo>
                  <a:pt x="2649" y="1184"/>
                </a:lnTo>
                <a:close/>
                <a:moveTo>
                  <a:pt x="629" y="1622"/>
                </a:moveTo>
                <a:cubicBezTo>
                  <a:pt x="448" y="1622"/>
                  <a:pt x="448" y="1622"/>
                  <a:pt x="448" y="1622"/>
                </a:cubicBezTo>
                <a:cubicBezTo>
                  <a:pt x="448" y="1393"/>
                  <a:pt x="448" y="1393"/>
                  <a:pt x="448" y="1393"/>
                </a:cubicBezTo>
                <a:cubicBezTo>
                  <a:pt x="629" y="1393"/>
                  <a:pt x="629" y="1393"/>
                  <a:pt x="629" y="1393"/>
                </a:cubicBezTo>
                <a:lnTo>
                  <a:pt x="629" y="1622"/>
                </a:lnTo>
                <a:close/>
                <a:moveTo>
                  <a:pt x="944" y="1622"/>
                </a:moveTo>
                <a:cubicBezTo>
                  <a:pt x="764" y="1622"/>
                  <a:pt x="764" y="1622"/>
                  <a:pt x="764" y="1622"/>
                </a:cubicBezTo>
                <a:cubicBezTo>
                  <a:pt x="764" y="1393"/>
                  <a:pt x="764" y="1393"/>
                  <a:pt x="764" y="1393"/>
                </a:cubicBezTo>
                <a:cubicBezTo>
                  <a:pt x="944" y="1393"/>
                  <a:pt x="944" y="1393"/>
                  <a:pt x="944" y="1393"/>
                </a:cubicBezTo>
                <a:lnTo>
                  <a:pt x="944" y="1622"/>
                </a:lnTo>
                <a:close/>
                <a:moveTo>
                  <a:pt x="1259" y="1622"/>
                </a:moveTo>
                <a:cubicBezTo>
                  <a:pt x="1079" y="1622"/>
                  <a:pt x="1079" y="1622"/>
                  <a:pt x="1079" y="1622"/>
                </a:cubicBezTo>
                <a:cubicBezTo>
                  <a:pt x="1079" y="1393"/>
                  <a:pt x="1079" y="1393"/>
                  <a:pt x="1079" y="1393"/>
                </a:cubicBezTo>
                <a:cubicBezTo>
                  <a:pt x="1259" y="1393"/>
                  <a:pt x="1259" y="1393"/>
                  <a:pt x="1259" y="1393"/>
                </a:cubicBezTo>
                <a:lnTo>
                  <a:pt x="1259" y="1622"/>
                </a:lnTo>
                <a:close/>
                <a:moveTo>
                  <a:pt x="1574" y="1622"/>
                </a:moveTo>
                <a:cubicBezTo>
                  <a:pt x="1394" y="1622"/>
                  <a:pt x="1394" y="1622"/>
                  <a:pt x="1394" y="1622"/>
                </a:cubicBezTo>
                <a:cubicBezTo>
                  <a:pt x="1394" y="1393"/>
                  <a:pt x="1394" y="1393"/>
                  <a:pt x="1394" y="1393"/>
                </a:cubicBezTo>
                <a:cubicBezTo>
                  <a:pt x="1574" y="1393"/>
                  <a:pt x="1574" y="1393"/>
                  <a:pt x="1574" y="1393"/>
                </a:cubicBezTo>
                <a:lnTo>
                  <a:pt x="1574" y="1622"/>
                </a:lnTo>
                <a:close/>
                <a:moveTo>
                  <a:pt x="1889" y="1622"/>
                </a:moveTo>
                <a:cubicBezTo>
                  <a:pt x="1709" y="1622"/>
                  <a:pt x="1709" y="1622"/>
                  <a:pt x="1709" y="1622"/>
                </a:cubicBezTo>
                <a:cubicBezTo>
                  <a:pt x="1709" y="1393"/>
                  <a:pt x="1709" y="1393"/>
                  <a:pt x="1709" y="1393"/>
                </a:cubicBezTo>
                <a:cubicBezTo>
                  <a:pt x="1889" y="1393"/>
                  <a:pt x="1889" y="1393"/>
                  <a:pt x="1889" y="1393"/>
                </a:cubicBezTo>
                <a:lnTo>
                  <a:pt x="1889" y="1622"/>
                </a:lnTo>
                <a:close/>
                <a:moveTo>
                  <a:pt x="2204" y="1622"/>
                </a:moveTo>
                <a:cubicBezTo>
                  <a:pt x="2024" y="1622"/>
                  <a:pt x="2024" y="1622"/>
                  <a:pt x="2024" y="1622"/>
                </a:cubicBezTo>
                <a:cubicBezTo>
                  <a:pt x="2024" y="1393"/>
                  <a:pt x="2024" y="1393"/>
                  <a:pt x="2024" y="1393"/>
                </a:cubicBezTo>
                <a:cubicBezTo>
                  <a:pt x="2204" y="1393"/>
                  <a:pt x="2204" y="1393"/>
                  <a:pt x="2204" y="1393"/>
                </a:cubicBezTo>
                <a:lnTo>
                  <a:pt x="2204" y="1622"/>
                </a:lnTo>
                <a:close/>
              </a:path>
            </a:pathLst>
          </a:custGeom>
          <a:solidFill>
            <a:schemeClr val="tx1"/>
          </a:solidFill>
          <a:ln>
            <a:noFill/>
          </a:ln>
          <a:effectLst>
            <a:outerShdw blurRad="50800" dist="38100" dir="2700000" algn="tl" rotWithShape="0">
              <a:prstClr val="black">
                <a:alpha val="40000"/>
              </a:prstClr>
            </a:outerShdw>
          </a:effectLst>
          <a:extLst/>
        </p:spPr>
        <p:txBody>
          <a:bodyPr/>
          <a:lstStyle/>
          <a:p>
            <a:endParaRPr lang="en-US" dirty="0"/>
          </a:p>
        </p:txBody>
      </p:sp>
      <p:sp>
        <p:nvSpPr>
          <p:cNvPr id="30" name="Freeform 627" descr="© INSCALE GmbH, 21.06.2010"/>
          <p:cNvSpPr>
            <a:spLocks/>
          </p:cNvSpPr>
          <p:nvPr/>
        </p:nvSpPr>
        <p:spPr bwMode="gray">
          <a:xfrm>
            <a:off x="1046810" y="2085286"/>
            <a:ext cx="1395922" cy="594677"/>
          </a:xfrm>
          <a:custGeom>
            <a:avLst/>
            <a:gdLst>
              <a:gd name="T0" fmla="*/ 166 w 2212"/>
              <a:gd name="T1" fmla="*/ 934 h 934"/>
              <a:gd name="T2" fmla="*/ 128 w 2212"/>
              <a:gd name="T3" fmla="*/ 879 h 934"/>
              <a:gd name="T4" fmla="*/ 71 w 2212"/>
              <a:gd name="T5" fmla="*/ 816 h 934"/>
              <a:gd name="T6" fmla="*/ 41 w 2212"/>
              <a:gd name="T7" fmla="*/ 722 h 934"/>
              <a:gd name="T8" fmla="*/ 4 w 2212"/>
              <a:gd name="T9" fmla="*/ 614 h 934"/>
              <a:gd name="T10" fmla="*/ 96 w 2212"/>
              <a:gd name="T11" fmla="*/ 455 h 934"/>
              <a:gd name="T12" fmla="*/ 231 w 2212"/>
              <a:gd name="T13" fmla="*/ 378 h 934"/>
              <a:gd name="T14" fmla="*/ 636 w 2212"/>
              <a:gd name="T15" fmla="*/ 250 h 934"/>
              <a:gd name="T16" fmla="*/ 817 w 2212"/>
              <a:gd name="T17" fmla="*/ 278 h 934"/>
              <a:gd name="T18" fmla="*/ 834 w 2212"/>
              <a:gd name="T19" fmla="*/ 274 h 934"/>
              <a:gd name="T20" fmla="*/ 879 w 2212"/>
              <a:gd name="T21" fmla="*/ 232 h 934"/>
              <a:gd name="T22" fmla="*/ 1085 w 2212"/>
              <a:gd name="T23" fmla="*/ 195 h 934"/>
              <a:gd name="T24" fmla="*/ 1342 w 2212"/>
              <a:gd name="T25" fmla="*/ 53 h 934"/>
              <a:gd name="T26" fmla="*/ 1673 w 2212"/>
              <a:gd name="T27" fmla="*/ 49 h 934"/>
              <a:gd name="T28" fmla="*/ 1751 w 2212"/>
              <a:gd name="T29" fmla="*/ 144 h 934"/>
              <a:gd name="T30" fmla="*/ 1897 w 2212"/>
              <a:gd name="T31" fmla="*/ 191 h 934"/>
              <a:gd name="T32" fmla="*/ 2057 w 2212"/>
              <a:gd name="T33" fmla="*/ 246 h 934"/>
              <a:gd name="T34" fmla="*/ 2157 w 2212"/>
              <a:gd name="T35" fmla="*/ 423 h 934"/>
              <a:gd name="T36" fmla="*/ 1935 w 2212"/>
              <a:gd name="T37" fmla="*/ 568 h 934"/>
              <a:gd name="T38" fmla="*/ 1434 w 2212"/>
              <a:gd name="T39" fmla="*/ 660 h 934"/>
              <a:gd name="T40" fmla="*/ 1279 w 2212"/>
              <a:gd name="T41" fmla="*/ 645 h 934"/>
              <a:gd name="T42" fmla="*/ 962 w 2212"/>
              <a:gd name="T43" fmla="*/ 619 h 934"/>
              <a:gd name="T44" fmla="*/ 788 w 2212"/>
              <a:gd name="T45" fmla="*/ 641 h 934"/>
              <a:gd name="T46" fmla="*/ 684 w 2212"/>
              <a:gd name="T47" fmla="*/ 727 h 934"/>
              <a:gd name="T48" fmla="*/ 315 w 2212"/>
              <a:gd name="T49" fmla="*/ 703 h 934"/>
              <a:gd name="T50" fmla="*/ 282 w 2212"/>
              <a:gd name="T51" fmla="*/ 760 h 934"/>
              <a:gd name="T52" fmla="*/ 200 w 2212"/>
              <a:gd name="T53" fmla="*/ 930 h 9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212" h="934">
                <a:moveTo>
                  <a:pt x="166" y="934"/>
                </a:moveTo>
                <a:cubicBezTo>
                  <a:pt x="134" y="928"/>
                  <a:pt x="138" y="902"/>
                  <a:pt x="128" y="879"/>
                </a:cubicBezTo>
                <a:cubicBezTo>
                  <a:pt x="117" y="853"/>
                  <a:pt x="77" y="843"/>
                  <a:pt x="71" y="816"/>
                </a:cubicBezTo>
                <a:cubicBezTo>
                  <a:pt x="64" y="779"/>
                  <a:pt x="61" y="756"/>
                  <a:pt x="41" y="722"/>
                </a:cubicBezTo>
                <a:cubicBezTo>
                  <a:pt x="19" y="687"/>
                  <a:pt x="0" y="656"/>
                  <a:pt x="4" y="614"/>
                </a:cubicBezTo>
                <a:cubicBezTo>
                  <a:pt x="9" y="560"/>
                  <a:pt x="45" y="487"/>
                  <a:pt x="96" y="455"/>
                </a:cubicBezTo>
                <a:cubicBezTo>
                  <a:pt x="141" y="428"/>
                  <a:pt x="189" y="411"/>
                  <a:pt x="231" y="378"/>
                </a:cubicBezTo>
                <a:cubicBezTo>
                  <a:pt x="265" y="205"/>
                  <a:pt x="494" y="227"/>
                  <a:pt x="636" y="250"/>
                </a:cubicBezTo>
                <a:cubicBezTo>
                  <a:pt x="694" y="260"/>
                  <a:pt x="758" y="280"/>
                  <a:pt x="817" y="278"/>
                </a:cubicBezTo>
                <a:cubicBezTo>
                  <a:pt x="823" y="278"/>
                  <a:pt x="830" y="278"/>
                  <a:pt x="834" y="274"/>
                </a:cubicBezTo>
                <a:cubicBezTo>
                  <a:pt x="853" y="256"/>
                  <a:pt x="850" y="245"/>
                  <a:pt x="879" y="232"/>
                </a:cubicBezTo>
                <a:cubicBezTo>
                  <a:pt x="945" y="202"/>
                  <a:pt x="1007" y="186"/>
                  <a:pt x="1085" y="195"/>
                </a:cubicBezTo>
                <a:cubicBezTo>
                  <a:pt x="1139" y="120"/>
                  <a:pt x="1253" y="79"/>
                  <a:pt x="1342" y="53"/>
                </a:cubicBezTo>
                <a:cubicBezTo>
                  <a:pt x="1443" y="24"/>
                  <a:pt x="1575" y="0"/>
                  <a:pt x="1673" y="49"/>
                </a:cubicBezTo>
                <a:cubicBezTo>
                  <a:pt x="1717" y="71"/>
                  <a:pt x="1733" y="104"/>
                  <a:pt x="1751" y="144"/>
                </a:cubicBezTo>
                <a:cubicBezTo>
                  <a:pt x="1776" y="199"/>
                  <a:pt x="1843" y="193"/>
                  <a:pt x="1897" y="191"/>
                </a:cubicBezTo>
                <a:cubicBezTo>
                  <a:pt x="1967" y="188"/>
                  <a:pt x="2009" y="198"/>
                  <a:pt x="2057" y="246"/>
                </a:cubicBezTo>
                <a:cubicBezTo>
                  <a:pt x="2101" y="292"/>
                  <a:pt x="2165" y="357"/>
                  <a:pt x="2157" y="423"/>
                </a:cubicBezTo>
                <a:cubicBezTo>
                  <a:pt x="2212" y="489"/>
                  <a:pt x="1970" y="558"/>
                  <a:pt x="1935" y="568"/>
                </a:cubicBezTo>
                <a:cubicBezTo>
                  <a:pt x="1774" y="617"/>
                  <a:pt x="1603" y="652"/>
                  <a:pt x="1434" y="660"/>
                </a:cubicBezTo>
                <a:cubicBezTo>
                  <a:pt x="1385" y="662"/>
                  <a:pt x="1323" y="666"/>
                  <a:pt x="1279" y="645"/>
                </a:cubicBezTo>
                <a:cubicBezTo>
                  <a:pt x="1168" y="591"/>
                  <a:pt x="1080" y="596"/>
                  <a:pt x="962" y="619"/>
                </a:cubicBezTo>
                <a:cubicBezTo>
                  <a:pt x="908" y="629"/>
                  <a:pt x="837" y="621"/>
                  <a:pt x="788" y="641"/>
                </a:cubicBezTo>
                <a:cubicBezTo>
                  <a:pt x="744" y="659"/>
                  <a:pt x="722" y="703"/>
                  <a:pt x="684" y="727"/>
                </a:cubicBezTo>
                <a:cubicBezTo>
                  <a:pt x="571" y="797"/>
                  <a:pt x="436" y="687"/>
                  <a:pt x="315" y="703"/>
                </a:cubicBezTo>
                <a:cubicBezTo>
                  <a:pt x="302" y="716"/>
                  <a:pt x="287" y="759"/>
                  <a:pt x="282" y="760"/>
                </a:cubicBezTo>
                <a:cubicBezTo>
                  <a:pt x="229" y="826"/>
                  <a:pt x="297" y="891"/>
                  <a:pt x="200" y="930"/>
                </a:cubicBezTo>
              </a:path>
            </a:pathLst>
          </a:custGeom>
          <a:solidFill>
            <a:schemeClr val="bg1">
              <a:lumMod val="75000"/>
            </a:schemeClr>
          </a:solidFill>
          <a:ln>
            <a:noFill/>
          </a:ln>
          <a:effectLst>
            <a:outerShdw blurRad="50800" dist="38100" dir="2700000" algn="tl" rotWithShape="0">
              <a:prstClr val="black">
                <a:alpha val="40000"/>
              </a:prstClr>
            </a:outerShdw>
          </a:effectLst>
          <a:extLst/>
        </p:spPr>
        <p:txBody>
          <a:bodyPr/>
          <a:lstStyle/>
          <a:p>
            <a:endParaRPr lang="en-US" dirty="0"/>
          </a:p>
        </p:txBody>
      </p:sp>
      <p:sp>
        <p:nvSpPr>
          <p:cNvPr id="22" name="Freeform 21"/>
          <p:cNvSpPr/>
          <p:nvPr/>
        </p:nvSpPr>
        <p:spPr>
          <a:xfrm>
            <a:off x="-12700" y="3505200"/>
            <a:ext cx="9169400" cy="1651000"/>
          </a:xfrm>
          <a:custGeom>
            <a:avLst/>
            <a:gdLst>
              <a:gd name="connsiteX0" fmla="*/ 12700 w 9169400"/>
              <a:gd name="connsiteY0" fmla="*/ 571500 h 1651000"/>
              <a:gd name="connsiteX1" fmla="*/ 622300 w 9169400"/>
              <a:gd name="connsiteY1" fmla="*/ 431800 h 1651000"/>
              <a:gd name="connsiteX2" fmla="*/ 1143000 w 9169400"/>
              <a:gd name="connsiteY2" fmla="*/ 279400 h 1651000"/>
              <a:gd name="connsiteX3" fmla="*/ 1701800 w 9169400"/>
              <a:gd name="connsiteY3" fmla="*/ 228600 h 1651000"/>
              <a:gd name="connsiteX4" fmla="*/ 2794000 w 9169400"/>
              <a:gd name="connsiteY4" fmla="*/ 355600 h 1651000"/>
              <a:gd name="connsiteX5" fmla="*/ 3873500 w 9169400"/>
              <a:gd name="connsiteY5" fmla="*/ 469900 h 1651000"/>
              <a:gd name="connsiteX6" fmla="*/ 5067300 w 9169400"/>
              <a:gd name="connsiteY6" fmla="*/ 622300 h 1651000"/>
              <a:gd name="connsiteX7" fmla="*/ 6261100 w 9169400"/>
              <a:gd name="connsiteY7" fmla="*/ 558800 h 1651000"/>
              <a:gd name="connsiteX8" fmla="*/ 7086600 w 9169400"/>
              <a:gd name="connsiteY8" fmla="*/ 177800 h 1651000"/>
              <a:gd name="connsiteX9" fmla="*/ 9156700 w 9169400"/>
              <a:gd name="connsiteY9" fmla="*/ 0 h 1651000"/>
              <a:gd name="connsiteX10" fmla="*/ 9169400 w 9169400"/>
              <a:gd name="connsiteY10" fmla="*/ 1651000 h 1651000"/>
              <a:gd name="connsiteX11" fmla="*/ 0 w 9169400"/>
              <a:gd name="connsiteY11" fmla="*/ 1651000 h 1651000"/>
              <a:gd name="connsiteX12" fmla="*/ 12700 w 9169400"/>
              <a:gd name="connsiteY12" fmla="*/ 571500 h 1651000"/>
              <a:gd name="connsiteX0" fmla="*/ 12700 w 9169400"/>
              <a:gd name="connsiteY0" fmla="*/ 571500 h 1651000"/>
              <a:gd name="connsiteX1" fmla="*/ 622300 w 9169400"/>
              <a:gd name="connsiteY1" fmla="*/ 431800 h 1651000"/>
              <a:gd name="connsiteX2" fmla="*/ 1143000 w 9169400"/>
              <a:gd name="connsiteY2" fmla="*/ 279400 h 1651000"/>
              <a:gd name="connsiteX3" fmla="*/ 1701800 w 9169400"/>
              <a:gd name="connsiteY3" fmla="*/ 228600 h 1651000"/>
              <a:gd name="connsiteX4" fmla="*/ 2794000 w 9169400"/>
              <a:gd name="connsiteY4" fmla="*/ 355600 h 1651000"/>
              <a:gd name="connsiteX5" fmla="*/ 3873500 w 9169400"/>
              <a:gd name="connsiteY5" fmla="*/ 469900 h 1651000"/>
              <a:gd name="connsiteX6" fmla="*/ 5067300 w 9169400"/>
              <a:gd name="connsiteY6" fmla="*/ 622300 h 1651000"/>
              <a:gd name="connsiteX7" fmla="*/ 6261100 w 9169400"/>
              <a:gd name="connsiteY7" fmla="*/ 558800 h 1651000"/>
              <a:gd name="connsiteX8" fmla="*/ 7086600 w 9169400"/>
              <a:gd name="connsiteY8" fmla="*/ 177800 h 1651000"/>
              <a:gd name="connsiteX9" fmla="*/ 9156700 w 9169400"/>
              <a:gd name="connsiteY9" fmla="*/ 0 h 1651000"/>
              <a:gd name="connsiteX10" fmla="*/ 9169400 w 9169400"/>
              <a:gd name="connsiteY10" fmla="*/ 1651000 h 1651000"/>
              <a:gd name="connsiteX11" fmla="*/ 0 w 9169400"/>
              <a:gd name="connsiteY11" fmla="*/ 1651000 h 1651000"/>
              <a:gd name="connsiteX12" fmla="*/ 12700 w 9169400"/>
              <a:gd name="connsiteY12" fmla="*/ 571500 h 1651000"/>
              <a:gd name="connsiteX0" fmla="*/ 12700 w 9169400"/>
              <a:gd name="connsiteY0" fmla="*/ 571500 h 1651000"/>
              <a:gd name="connsiteX1" fmla="*/ 622300 w 9169400"/>
              <a:gd name="connsiteY1" fmla="*/ 431800 h 1651000"/>
              <a:gd name="connsiteX2" fmla="*/ 1143000 w 9169400"/>
              <a:gd name="connsiteY2" fmla="*/ 279400 h 1651000"/>
              <a:gd name="connsiteX3" fmla="*/ 1701800 w 9169400"/>
              <a:gd name="connsiteY3" fmla="*/ 228600 h 1651000"/>
              <a:gd name="connsiteX4" fmla="*/ 2794000 w 9169400"/>
              <a:gd name="connsiteY4" fmla="*/ 355600 h 1651000"/>
              <a:gd name="connsiteX5" fmla="*/ 3873500 w 9169400"/>
              <a:gd name="connsiteY5" fmla="*/ 469900 h 1651000"/>
              <a:gd name="connsiteX6" fmla="*/ 5067300 w 9169400"/>
              <a:gd name="connsiteY6" fmla="*/ 622300 h 1651000"/>
              <a:gd name="connsiteX7" fmla="*/ 6261100 w 9169400"/>
              <a:gd name="connsiteY7" fmla="*/ 558800 h 1651000"/>
              <a:gd name="connsiteX8" fmla="*/ 7086600 w 9169400"/>
              <a:gd name="connsiteY8" fmla="*/ 177800 h 1651000"/>
              <a:gd name="connsiteX9" fmla="*/ 9156700 w 9169400"/>
              <a:gd name="connsiteY9" fmla="*/ 0 h 1651000"/>
              <a:gd name="connsiteX10" fmla="*/ 9169400 w 9169400"/>
              <a:gd name="connsiteY10" fmla="*/ 1651000 h 1651000"/>
              <a:gd name="connsiteX11" fmla="*/ 0 w 9169400"/>
              <a:gd name="connsiteY11" fmla="*/ 1651000 h 1651000"/>
              <a:gd name="connsiteX12" fmla="*/ 12700 w 9169400"/>
              <a:gd name="connsiteY12" fmla="*/ 571500 h 1651000"/>
              <a:gd name="connsiteX0" fmla="*/ 12700 w 9169400"/>
              <a:gd name="connsiteY0" fmla="*/ 571500 h 1651000"/>
              <a:gd name="connsiteX1" fmla="*/ 622300 w 9169400"/>
              <a:gd name="connsiteY1" fmla="*/ 431800 h 1651000"/>
              <a:gd name="connsiteX2" fmla="*/ 1143000 w 9169400"/>
              <a:gd name="connsiteY2" fmla="*/ 279400 h 1651000"/>
              <a:gd name="connsiteX3" fmla="*/ 1701800 w 9169400"/>
              <a:gd name="connsiteY3" fmla="*/ 228600 h 1651000"/>
              <a:gd name="connsiteX4" fmla="*/ 2794000 w 9169400"/>
              <a:gd name="connsiteY4" fmla="*/ 355600 h 1651000"/>
              <a:gd name="connsiteX5" fmla="*/ 3873500 w 9169400"/>
              <a:gd name="connsiteY5" fmla="*/ 469900 h 1651000"/>
              <a:gd name="connsiteX6" fmla="*/ 5067300 w 9169400"/>
              <a:gd name="connsiteY6" fmla="*/ 622300 h 1651000"/>
              <a:gd name="connsiteX7" fmla="*/ 6261100 w 9169400"/>
              <a:gd name="connsiteY7" fmla="*/ 558800 h 1651000"/>
              <a:gd name="connsiteX8" fmla="*/ 7086600 w 9169400"/>
              <a:gd name="connsiteY8" fmla="*/ 177800 h 1651000"/>
              <a:gd name="connsiteX9" fmla="*/ 9156700 w 9169400"/>
              <a:gd name="connsiteY9" fmla="*/ 0 h 1651000"/>
              <a:gd name="connsiteX10" fmla="*/ 9169400 w 9169400"/>
              <a:gd name="connsiteY10" fmla="*/ 1651000 h 1651000"/>
              <a:gd name="connsiteX11" fmla="*/ 0 w 9169400"/>
              <a:gd name="connsiteY11" fmla="*/ 1651000 h 1651000"/>
              <a:gd name="connsiteX12" fmla="*/ 12700 w 9169400"/>
              <a:gd name="connsiteY12" fmla="*/ 571500 h 1651000"/>
              <a:gd name="connsiteX0" fmla="*/ 12700 w 9169400"/>
              <a:gd name="connsiteY0" fmla="*/ 571500 h 1651000"/>
              <a:gd name="connsiteX1" fmla="*/ 622300 w 9169400"/>
              <a:gd name="connsiteY1" fmla="*/ 431800 h 1651000"/>
              <a:gd name="connsiteX2" fmla="*/ 1143000 w 9169400"/>
              <a:gd name="connsiteY2" fmla="*/ 279400 h 1651000"/>
              <a:gd name="connsiteX3" fmla="*/ 1701800 w 9169400"/>
              <a:gd name="connsiteY3" fmla="*/ 228600 h 1651000"/>
              <a:gd name="connsiteX4" fmla="*/ 2794000 w 9169400"/>
              <a:gd name="connsiteY4" fmla="*/ 355600 h 1651000"/>
              <a:gd name="connsiteX5" fmla="*/ 3873500 w 9169400"/>
              <a:gd name="connsiteY5" fmla="*/ 469900 h 1651000"/>
              <a:gd name="connsiteX6" fmla="*/ 5067300 w 9169400"/>
              <a:gd name="connsiteY6" fmla="*/ 622300 h 1651000"/>
              <a:gd name="connsiteX7" fmla="*/ 6261100 w 9169400"/>
              <a:gd name="connsiteY7" fmla="*/ 558800 h 1651000"/>
              <a:gd name="connsiteX8" fmla="*/ 7086600 w 9169400"/>
              <a:gd name="connsiteY8" fmla="*/ 177800 h 1651000"/>
              <a:gd name="connsiteX9" fmla="*/ 9156700 w 9169400"/>
              <a:gd name="connsiteY9" fmla="*/ 0 h 1651000"/>
              <a:gd name="connsiteX10" fmla="*/ 9169400 w 9169400"/>
              <a:gd name="connsiteY10" fmla="*/ 1651000 h 1651000"/>
              <a:gd name="connsiteX11" fmla="*/ 0 w 9169400"/>
              <a:gd name="connsiteY11" fmla="*/ 1651000 h 1651000"/>
              <a:gd name="connsiteX12" fmla="*/ 12700 w 9169400"/>
              <a:gd name="connsiteY12" fmla="*/ 571500 h 1651000"/>
              <a:gd name="connsiteX0" fmla="*/ 12700 w 9169400"/>
              <a:gd name="connsiteY0" fmla="*/ 571500 h 1651000"/>
              <a:gd name="connsiteX1" fmla="*/ 622300 w 9169400"/>
              <a:gd name="connsiteY1" fmla="*/ 431800 h 1651000"/>
              <a:gd name="connsiteX2" fmla="*/ 1143000 w 9169400"/>
              <a:gd name="connsiteY2" fmla="*/ 279400 h 1651000"/>
              <a:gd name="connsiteX3" fmla="*/ 1701800 w 9169400"/>
              <a:gd name="connsiteY3" fmla="*/ 228600 h 1651000"/>
              <a:gd name="connsiteX4" fmla="*/ 2794000 w 9169400"/>
              <a:gd name="connsiteY4" fmla="*/ 355600 h 1651000"/>
              <a:gd name="connsiteX5" fmla="*/ 3873500 w 9169400"/>
              <a:gd name="connsiteY5" fmla="*/ 469900 h 1651000"/>
              <a:gd name="connsiteX6" fmla="*/ 5067300 w 9169400"/>
              <a:gd name="connsiteY6" fmla="*/ 622300 h 1651000"/>
              <a:gd name="connsiteX7" fmla="*/ 6261100 w 9169400"/>
              <a:gd name="connsiteY7" fmla="*/ 558800 h 1651000"/>
              <a:gd name="connsiteX8" fmla="*/ 7086600 w 9169400"/>
              <a:gd name="connsiteY8" fmla="*/ 177800 h 1651000"/>
              <a:gd name="connsiteX9" fmla="*/ 9156700 w 9169400"/>
              <a:gd name="connsiteY9" fmla="*/ 0 h 1651000"/>
              <a:gd name="connsiteX10" fmla="*/ 9169400 w 9169400"/>
              <a:gd name="connsiteY10" fmla="*/ 1651000 h 1651000"/>
              <a:gd name="connsiteX11" fmla="*/ 0 w 9169400"/>
              <a:gd name="connsiteY11" fmla="*/ 1651000 h 1651000"/>
              <a:gd name="connsiteX12" fmla="*/ 12700 w 9169400"/>
              <a:gd name="connsiteY12" fmla="*/ 571500 h 1651000"/>
              <a:gd name="connsiteX0" fmla="*/ 12700 w 9169400"/>
              <a:gd name="connsiteY0" fmla="*/ 571500 h 1651000"/>
              <a:gd name="connsiteX1" fmla="*/ 622300 w 9169400"/>
              <a:gd name="connsiteY1" fmla="*/ 431800 h 1651000"/>
              <a:gd name="connsiteX2" fmla="*/ 1143000 w 9169400"/>
              <a:gd name="connsiteY2" fmla="*/ 279400 h 1651000"/>
              <a:gd name="connsiteX3" fmla="*/ 1701800 w 9169400"/>
              <a:gd name="connsiteY3" fmla="*/ 228600 h 1651000"/>
              <a:gd name="connsiteX4" fmla="*/ 2794000 w 9169400"/>
              <a:gd name="connsiteY4" fmla="*/ 355600 h 1651000"/>
              <a:gd name="connsiteX5" fmla="*/ 3873500 w 9169400"/>
              <a:gd name="connsiteY5" fmla="*/ 469900 h 1651000"/>
              <a:gd name="connsiteX6" fmla="*/ 5067300 w 9169400"/>
              <a:gd name="connsiteY6" fmla="*/ 622300 h 1651000"/>
              <a:gd name="connsiteX7" fmla="*/ 6261100 w 9169400"/>
              <a:gd name="connsiteY7" fmla="*/ 558800 h 1651000"/>
              <a:gd name="connsiteX8" fmla="*/ 7086600 w 9169400"/>
              <a:gd name="connsiteY8" fmla="*/ 177800 h 1651000"/>
              <a:gd name="connsiteX9" fmla="*/ 9156700 w 9169400"/>
              <a:gd name="connsiteY9" fmla="*/ 0 h 1651000"/>
              <a:gd name="connsiteX10" fmla="*/ 9169400 w 9169400"/>
              <a:gd name="connsiteY10" fmla="*/ 1651000 h 1651000"/>
              <a:gd name="connsiteX11" fmla="*/ 0 w 9169400"/>
              <a:gd name="connsiteY11" fmla="*/ 1651000 h 1651000"/>
              <a:gd name="connsiteX12" fmla="*/ 12700 w 9169400"/>
              <a:gd name="connsiteY12" fmla="*/ 571500 h 1651000"/>
              <a:gd name="connsiteX0" fmla="*/ 12700 w 9169400"/>
              <a:gd name="connsiteY0" fmla="*/ 571500 h 1651000"/>
              <a:gd name="connsiteX1" fmla="*/ 622300 w 9169400"/>
              <a:gd name="connsiteY1" fmla="*/ 431800 h 1651000"/>
              <a:gd name="connsiteX2" fmla="*/ 1143000 w 9169400"/>
              <a:gd name="connsiteY2" fmla="*/ 279400 h 1651000"/>
              <a:gd name="connsiteX3" fmla="*/ 1701800 w 9169400"/>
              <a:gd name="connsiteY3" fmla="*/ 228600 h 1651000"/>
              <a:gd name="connsiteX4" fmla="*/ 2794000 w 9169400"/>
              <a:gd name="connsiteY4" fmla="*/ 355600 h 1651000"/>
              <a:gd name="connsiteX5" fmla="*/ 3873500 w 9169400"/>
              <a:gd name="connsiteY5" fmla="*/ 469900 h 1651000"/>
              <a:gd name="connsiteX6" fmla="*/ 5067300 w 9169400"/>
              <a:gd name="connsiteY6" fmla="*/ 622300 h 1651000"/>
              <a:gd name="connsiteX7" fmla="*/ 6261100 w 9169400"/>
              <a:gd name="connsiteY7" fmla="*/ 558800 h 1651000"/>
              <a:gd name="connsiteX8" fmla="*/ 7086600 w 9169400"/>
              <a:gd name="connsiteY8" fmla="*/ 177800 h 1651000"/>
              <a:gd name="connsiteX9" fmla="*/ 9156700 w 9169400"/>
              <a:gd name="connsiteY9" fmla="*/ 0 h 1651000"/>
              <a:gd name="connsiteX10" fmla="*/ 9169400 w 9169400"/>
              <a:gd name="connsiteY10" fmla="*/ 1651000 h 1651000"/>
              <a:gd name="connsiteX11" fmla="*/ 0 w 9169400"/>
              <a:gd name="connsiteY11" fmla="*/ 1651000 h 1651000"/>
              <a:gd name="connsiteX12" fmla="*/ 12700 w 9169400"/>
              <a:gd name="connsiteY12" fmla="*/ 571500 h 1651000"/>
              <a:gd name="connsiteX0" fmla="*/ 12700 w 9169400"/>
              <a:gd name="connsiteY0" fmla="*/ 571500 h 1651000"/>
              <a:gd name="connsiteX1" fmla="*/ 622300 w 9169400"/>
              <a:gd name="connsiteY1" fmla="*/ 431800 h 1651000"/>
              <a:gd name="connsiteX2" fmla="*/ 1143000 w 9169400"/>
              <a:gd name="connsiteY2" fmla="*/ 279400 h 1651000"/>
              <a:gd name="connsiteX3" fmla="*/ 1701800 w 9169400"/>
              <a:gd name="connsiteY3" fmla="*/ 228600 h 1651000"/>
              <a:gd name="connsiteX4" fmla="*/ 2794000 w 9169400"/>
              <a:gd name="connsiteY4" fmla="*/ 355600 h 1651000"/>
              <a:gd name="connsiteX5" fmla="*/ 3873500 w 9169400"/>
              <a:gd name="connsiteY5" fmla="*/ 469900 h 1651000"/>
              <a:gd name="connsiteX6" fmla="*/ 5067300 w 9169400"/>
              <a:gd name="connsiteY6" fmla="*/ 622300 h 1651000"/>
              <a:gd name="connsiteX7" fmla="*/ 6261100 w 9169400"/>
              <a:gd name="connsiteY7" fmla="*/ 558800 h 1651000"/>
              <a:gd name="connsiteX8" fmla="*/ 7086600 w 9169400"/>
              <a:gd name="connsiteY8" fmla="*/ 177800 h 1651000"/>
              <a:gd name="connsiteX9" fmla="*/ 9156700 w 9169400"/>
              <a:gd name="connsiteY9" fmla="*/ 0 h 1651000"/>
              <a:gd name="connsiteX10" fmla="*/ 9169400 w 9169400"/>
              <a:gd name="connsiteY10" fmla="*/ 1651000 h 1651000"/>
              <a:gd name="connsiteX11" fmla="*/ 0 w 9169400"/>
              <a:gd name="connsiteY11" fmla="*/ 1651000 h 1651000"/>
              <a:gd name="connsiteX12" fmla="*/ 12700 w 9169400"/>
              <a:gd name="connsiteY12" fmla="*/ 571500 h 1651000"/>
              <a:gd name="connsiteX0" fmla="*/ 12700 w 9169400"/>
              <a:gd name="connsiteY0" fmla="*/ 571500 h 1651000"/>
              <a:gd name="connsiteX1" fmla="*/ 622300 w 9169400"/>
              <a:gd name="connsiteY1" fmla="*/ 431800 h 1651000"/>
              <a:gd name="connsiteX2" fmla="*/ 1701800 w 9169400"/>
              <a:gd name="connsiteY2" fmla="*/ 228600 h 1651000"/>
              <a:gd name="connsiteX3" fmla="*/ 2794000 w 9169400"/>
              <a:gd name="connsiteY3" fmla="*/ 355600 h 1651000"/>
              <a:gd name="connsiteX4" fmla="*/ 3873500 w 9169400"/>
              <a:gd name="connsiteY4" fmla="*/ 469900 h 1651000"/>
              <a:gd name="connsiteX5" fmla="*/ 5067300 w 9169400"/>
              <a:gd name="connsiteY5" fmla="*/ 622300 h 1651000"/>
              <a:gd name="connsiteX6" fmla="*/ 6261100 w 9169400"/>
              <a:gd name="connsiteY6" fmla="*/ 558800 h 1651000"/>
              <a:gd name="connsiteX7" fmla="*/ 7086600 w 9169400"/>
              <a:gd name="connsiteY7" fmla="*/ 177800 h 1651000"/>
              <a:gd name="connsiteX8" fmla="*/ 9156700 w 9169400"/>
              <a:gd name="connsiteY8" fmla="*/ 0 h 1651000"/>
              <a:gd name="connsiteX9" fmla="*/ 9169400 w 9169400"/>
              <a:gd name="connsiteY9" fmla="*/ 1651000 h 1651000"/>
              <a:gd name="connsiteX10" fmla="*/ 0 w 9169400"/>
              <a:gd name="connsiteY10" fmla="*/ 1651000 h 1651000"/>
              <a:gd name="connsiteX11" fmla="*/ 12700 w 9169400"/>
              <a:gd name="connsiteY11" fmla="*/ 571500 h 1651000"/>
              <a:gd name="connsiteX0" fmla="*/ 12700 w 9169400"/>
              <a:gd name="connsiteY0" fmla="*/ 571500 h 1651000"/>
              <a:gd name="connsiteX1" fmla="*/ 863600 w 9169400"/>
              <a:gd name="connsiteY1" fmla="*/ 342900 h 1651000"/>
              <a:gd name="connsiteX2" fmla="*/ 1701800 w 9169400"/>
              <a:gd name="connsiteY2" fmla="*/ 228600 h 1651000"/>
              <a:gd name="connsiteX3" fmla="*/ 2794000 w 9169400"/>
              <a:gd name="connsiteY3" fmla="*/ 355600 h 1651000"/>
              <a:gd name="connsiteX4" fmla="*/ 3873500 w 9169400"/>
              <a:gd name="connsiteY4" fmla="*/ 469900 h 1651000"/>
              <a:gd name="connsiteX5" fmla="*/ 5067300 w 9169400"/>
              <a:gd name="connsiteY5" fmla="*/ 622300 h 1651000"/>
              <a:gd name="connsiteX6" fmla="*/ 6261100 w 9169400"/>
              <a:gd name="connsiteY6" fmla="*/ 558800 h 1651000"/>
              <a:gd name="connsiteX7" fmla="*/ 7086600 w 9169400"/>
              <a:gd name="connsiteY7" fmla="*/ 177800 h 1651000"/>
              <a:gd name="connsiteX8" fmla="*/ 9156700 w 9169400"/>
              <a:gd name="connsiteY8" fmla="*/ 0 h 1651000"/>
              <a:gd name="connsiteX9" fmla="*/ 9169400 w 9169400"/>
              <a:gd name="connsiteY9" fmla="*/ 1651000 h 1651000"/>
              <a:gd name="connsiteX10" fmla="*/ 0 w 9169400"/>
              <a:gd name="connsiteY10" fmla="*/ 1651000 h 1651000"/>
              <a:gd name="connsiteX11" fmla="*/ 12700 w 9169400"/>
              <a:gd name="connsiteY11" fmla="*/ 571500 h 1651000"/>
              <a:gd name="connsiteX0" fmla="*/ 12700 w 9169400"/>
              <a:gd name="connsiteY0" fmla="*/ 571500 h 1651000"/>
              <a:gd name="connsiteX1" fmla="*/ 863600 w 9169400"/>
              <a:gd name="connsiteY1" fmla="*/ 342900 h 1651000"/>
              <a:gd name="connsiteX2" fmla="*/ 1701800 w 9169400"/>
              <a:gd name="connsiteY2" fmla="*/ 228600 h 1651000"/>
              <a:gd name="connsiteX3" fmla="*/ 2794000 w 9169400"/>
              <a:gd name="connsiteY3" fmla="*/ 355600 h 1651000"/>
              <a:gd name="connsiteX4" fmla="*/ 3873500 w 9169400"/>
              <a:gd name="connsiteY4" fmla="*/ 469900 h 1651000"/>
              <a:gd name="connsiteX5" fmla="*/ 5067300 w 9169400"/>
              <a:gd name="connsiteY5" fmla="*/ 622300 h 1651000"/>
              <a:gd name="connsiteX6" fmla="*/ 6261100 w 9169400"/>
              <a:gd name="connsiteY6" fmla="*/ 558800 h 1651000"/>
              <a:gd name="connsiteX7" fmla="*/ 7086600 w 9169400"/>
              <a:gd name="connsiteY7" fmla="*/ 177800 h 1651000"/>
              <a:gd name="connsiteX8" fmla="*/ 9156700 w 9169400"/>
              <a:gd name="connsiteY8" fmla="*/ 0 h 1651000"/>
              <a:gd name="connsiteX9" fmla="*/ 9169400 w 9169400"/>
              <a:gd name="connsiteY9" fmla="*/ 1651000 h 1651000"/>
              <a:gd name="connsiteX10" fmla="*/ 0 w 9169400"/>
              <a:gd name="connsiteY10" fmla="*/ 1651000 h 1651000"/>
              <a:gd name="connsiteX11" fmla="*/ 12700 w 9169400"/>
              <a:gd name="connsiteY11" fmla="*/ 571500 h 1651000"/>
              <a:gd name="connsiteX0" fmla="*/ 12700 w 9169400"/>
              <a:gd name="connsiteY0" fmla="*/ 571500 h 1651000"/>
              <a:gd name="connsiteX1" fmla="*/ 863600 w 9169400"/>
              <a:gd name="connsiteY1" fmla="*/ 342900 h 1651000"/>
              <a:gd name="connsiteX2" fmla="*/ 1701800 w 9169400"/>
              <a:gd name="connsiteY2" fmla="*/ 228600 h 1651000"/>
              <a:gd name="connsiteX3" fmla="*/ 2794000 w 9169400"/>
              <a:gd name="connsiteY3" fmla="*/ 355600 h 1651000"/>
              <a:gd name="connsiteX4" fmla="*/ 3873500 w 9169400"/>
              <a:gd name="connsiteY4" fmla="*/ 469900 h 1651000"/>
              <a:gd name="connsiteX5" fmla="*/ 5067300 w 9169400"/>
              <a:gd name="connsiteY5" fmla="*/ 622300 h 1651000"/>
              <a:gd name="connsiteX6" fmla="*/ 6197600 w 9169400"/>
              <a:gd name="connsiteY6" fmla="*/ 482600 h 1651000"/>
              <a:gd name="connsiteX7" fmla="*/ 7086600 w 9169400"/>
              <a:gd name="connsiteY7" fmla="*/ 177800 h 1651000"/>
              <a:gd name="connsiteX8" fmla="*/ 9156700 w 9169400"/>
              <a:gd name="connsiteY8" fmla="*/ 0 h 1651000"/>
              <a:gd name="connsiteX9" fmla="*/ 9169400 w 9169400"/>
              <a:gd name="connsiteY9" fmla="*/ 1651000 h 1651000"/>
              <a:gd name="connsiteX10" fmla="*/ 0 w 9169400"/>
              <a:gd name="connsiteY10" fmla="*/ 1651000 h 1651000"/>
              <a:gd name="connsiteX11" fmla="*/ 12700 w 9169400"/>
              <a:gd name="connsiteY11" fmla="*/ 571500 h 1651000"/>
              <a:gd name="connsiteX0" fmla="*/ 12700 w 9169400"/>
              <a:gd name="connsiteY0" fmla="*/ 571500 h 1651000"/>
              <a:gd name="connsiteX1" fmla="*/ 863600 w 9169400"/>
              <a:gd name="connsiteY1" fmla="*/ 342900 h 1651000"/>
              <a:gd name="connsiteX2" fmla="*/ 1701800 w 9169400"/>
              <a:gd name="connsiteY2" fmla="*/ 228600 h 1651000"/>
              <a:gd name="connsiteX3" fmla="*/ 2794000 w 9169400"/>
              <a:gd name="connsiteY3" fmla="*/ 355600 h 1651000"/>
              <a:gd name="connsiteX4" fmla="*/ 3873500 w 9169400"/>
              <a:gd name="connsiteY4" fmla="*/ 469900 h 1651000"/>
              <a:gd name="connsiteX5" fmla="*/ 5067300 w 9169400"/>
              <a:gd name="connsiteY5" fmla="*/ 622300 h 1651000"/>
              <a:gd name="connsiteX6" fmla="*/ 6197600 w 9169400"/>
              <a:gd name="connsiteY6" fmla="*/ 482600 h 1651000"/>
              <a:gd name="connsiteX7" fmla="*/ 7785100 w 9169400"/>
              <a:gd name="connsiteY7" fmla="*/ 63500 h 1651000"/>
              <a:gd name="connsiteX8" fmla="*/ 9156700 w 9169400"/>
              <a:gd name="connsiteY8" fmla="*/ 0 h 1651000"/>
              <a:gd name="connsiteX9" fmla="*/ 9169400 w 9169400"/>
              <a:gd name="connsiteY9" fmla="*/ 1651000 h 1651000"/>
              <a:gd name="connsiteX10" fmla="*/ 0 w 9169400"/>
              <a:gd name="connsiteY10" fmla="*/ 1651000 h 1651000"/>
              <a:gd name="connsiteX11" fmla="*/ 12700 w 9169400"/>
              <a:gd name="connsiteY11" fmla="*/ 571500 h 1651000"/>
              <a:gd name="connsiteX0" fmla="*/ 12700 w 9169400"/>
              <a:gd name="connsiteY0" fmla="*/ 571500 h 1651000"/>
              <a:gd name="connsiteX1" fmla="*/ 863600 w 9169400"/>
              <a:gd name="connsiteY1" fmla="*/ 342900 h 1651000"/>
              <a:gd name="connsiteX2" fmla="*/ 1701800 w 9169400"/>
              <a:gd name="connsiteY2" fmla="*/ 228600 h 1651000"/>
              <a:gd name="connsiteX3" fmla="*/ 2794000 w 9169400"/>
              <a:gd name="connsiteY3" fmla="*/ 355600 h 1651000"/>
              <a:gd name="connsiteX4" fmla="*/ 3873500 w 9169400"/>
              <a:gd name="connsiteY4" fmla="*/ 469900 h 1651000"/>
              <a:gd name="connsiteX5" fmla="*/ 5067300 w 9169400"/>
              <a:gd name="connsiteY5" fmla="*/ 622300 h 1651000"/>
              <a:gd name="connsiteX6" fmla="*/ 6197600 w 9169400"/>
              <a:gd name="connsiteY6" fmla="*/ 482600 h 1651000"/>
              <a:gd name="connsiteX7" fmla="*/ 7785100 w 9169400"/>
              <a:gd name="connsiteY7" fmla="*/ 63500 h 1651000"/>
              <a:gd name="connsiteX8" fmla="*/ 9156700 w 9169400"/>
              <a:gd name="connsiteY8" fmla="*/ 0 h 1651000"/>
              <a:gd name="connsiteX9" fmla="*/ 9169400 w 9169400"/>
              <a:gd name="connsiteY9" fmla="*/ 1651000 h 1651000"/>
              <a:gd name="connsiteX10" fmla="*/ 0 w 9169400"/>
              <a:gd name="connsiteY10" fmla="*/ 1651000 h 1651000"/>
              <a:gd name="connsiteX11" fmla="*/ 12700 w 9169400"/>
              <a:gd name="connsiteY11" fmla="*/ 571500 h 1651000"/>
              <a:gd name="connsiteX0" fmla="*/ 12700 w 9169400"/>
              <a:gd name="connsiteY0" fmla="*/ 571500 h 1651000"/>
              <a:gd name="connsiteX1" fmla="*/ 863600 w 9169400"/>
              <a:gd name="connsiteY1" fmla="*/ 342900 h 1651000"/>
              <a:gd name="connsiteX2" fmla="*/ 1701800 w 9169400"/>
              <a:gd name="connsiteY2" fmla="*/ 228600 h 1651000"/>
              <a:gd name="connsiteX3" fmla="*/ 2794000 w 9169400"/>
              <a:gd name="connsiteY3" fmla="*/ 355600 h 1651000"/>
              <a:gd name="connsiteX4" fmla="*/ 3873500 w 9169400"/>
              <a:gd name="connsiteY4" fmla="*/ 469900 h 1651000"/>
              <a:gd name="connsiteX5" fmla="*/ 5067300 w 9169400"/>
              <a:gd name="connsiteY5" fmla="*/ 622300 h 1651000"/>
              <a:gd name="connsiteX6" fmla="*/ 6197600 w 9169400"/>
              <a:gd name="connsiteY6" fmla="*/ 482600 h 1651000"/>
              <a:gd name="connsiteX7" fmla="*/ 7785100 w 9169400"/>
              <a:gd name="connsiteY7" fmla="*/ 63500 h 1651000"/>
              <a:gd name="connsiteX8" fmla="*/ 9156700 w 9169400"/>
              <a:gd name="connsiteY8" fmla="*/ 0 h 1651000"/>
              <a:gd name="connsiteX9" fmla="*/ 9169400 w 9169400"/>
              <a:gd name="connsiteY9" fmla="*/ 1651000 h 1651000"/>
              <a:gd name="connsiteX10" fmla="*/ 0 w 9169400"/>
              <a:gd name="connsiteY10" fmla="*/ 1651000 h 1651000"/>
              <a:gd name="connsiteX11" fmla="*/ 12700 w 9169400"/>
              <a:gd name="connsiteY11" fmla="*/ 571500 h 1651000"/>
              <a:gd name="connsiteX0" fmla="*/ 12700 w 9169400"/>
              <a:gd name="connsiteY0" fmla="*/ 571500 h 1651000"/>
              <a:gd name="connsiteX1" fmla="*/ 863600 w 9169400"/>
              <a:gd name="connsiteY1" fmla="*/ 342900 h 1651000"/>
              <a:gd name="connsiteX2" fmla="*/ 1879600 w 9169400"/>
              <a:gd name="connsiteY2" fmla="*/ 215900 h 1651000"/>
              <a:gd name="connsiteX3" fmla="*/ 2794000 w 9169400"/>
              <a:gd name="connsiteY3" fmla="*/ 355600 h 1651000"/>
              <a:gd name="connsiteX4" fmla="*/ 3873500 w 9169400"/>
              <a:gd name="connsiteY4" fmla="*/ 469900 h 1651000"/>
              <a:gd name="connsiteX5" fmla="*/ 5067300 w 9169400"/>
              <a:gd name="connsiteY5" fmla="*/ 622300 h 1651000"/>
              <a:gd name="connsiteX6" fmla="*/ 6197600 w 9169400"/>
              <a:gd name="connsiteY6" fmla="*/ 482600 h 1651000"/>
              <a:gd name="connsiteX7" fmla="*/ 7785100 w 9169400"/>
              <a:gd name="connsiteY7" fmla="*/ 63500 h 1651000"/>
              <a:gd name="connsiteX8" fmla="*/ 9156700 w 9169400"/>
              <a:gd name="connsiteY8" fmla="*/ 0 h 1651000"/>
              <a:gd name="connsiteX9" fmla="*/ 9169400 w 9169400"/>
              <a:gd name="connsiteY9" fmla="*/ 1651000 h 1651000"/>
              <a:gd name="connsiteX10" fmla="*/ 0 w 9169400"/>
              <a:gd name="connsiteY10" fmla="*/ 1651000 h 1651000"/>
              <a:gd name="connsiteX11" fmla="*/ 12700 w 9169400"/>
              <a:gd name="connsiteY11" fmla="*/ 571500 h 1651000"/>
              <a:gd name="connsiteX0" fmla="*/ 12700 w 9169400"/>
              <a:gd name="connsiteY0" fmla="*/ 571500 h 1651000"/>
              <a:gd name="connsiteX1" fmla="*/ 863600 w 9169400"/>
              <a:gd name="connsiteY1" fmla="*/ 342900 h 1651000"/>
              <a:gd name="connsiteX2" fmla="*/ 2794000 w 9169400"/>
              <a:gd name="connsiteY2" fmla="*/ 355600 h 1651000"/>
              <a:gd name="connsiteX3" fmla="*/ 3873500 w 9169400"/>
              <a:gd name="connsiteY3" fmla="*/ 469900 h 1651000"/>
              <a:gd name="connsiteX4" fmla="*/ 5067300 w 9169400"/>
              <a:gd name="connsiteY4" fmla="*/ 622300 h 1651000"/>
              <a:gd name="connsiteX5" fmla="*/ 6197600 w 9169400"/>
              <a:gd name="connsiteY5" fmla="*/ 482600 h 1651000"/>
              <a:gd name="connsiteX6" fmla="*/ 7785100 w 9169400"/>
              <a:gd name="connsiteY6" fmla="*/ 63500 h 1651000"/>
              <a:gd name="connsiteX7" fmla="*/ 9156700 w 9169400"/>
              <a:gd name="connsiteY7" fmla="*/ 0 h 1651000"/>
              <a:gd name="connsiteX8" fmla="*/ 9169400 w 9169400"/>
              <a:gd name="connsiteY8" fmla="*/ 1651000 h 1651000"/>
              <a:gd name="connsiteX9" fmla="*/ 0 w 9169400"/>
              <a:gd name="connsiteY9" fmla="*/ 1651000 h 1651000"/>
              <a:gd name="connsiteX10" fmla="*/ 12700 w 9169400"/>
              <a:gd name="connsiteY10" fmla="*/ 571500 h 1651000"/>
              <a:gd name="connsiteX0" fmla="*/ 12700 w 9169400"/>
              <a:gd name="connsiteY0" fmla="*/ 571500 h 1651000"/>
              <a:gd name="connsiteX1" fmla="*/ 863600 w 9169400"/>
              <a:gd name="connsiteY1" fmla="*/ 342900 h 1651000"/>
              <a:gd name="connsiteX2" fmla="*/ 2565400 w 9169400"/>
              <a:gd name="connsiteY2" fmla="*/ 317500 h 1651000"/>
              <a:gd name="connsiteX3" fmla="*/ 3873500 w 9169400"/>
              <a:gd name="connsiteY3" fmla="*/ 469900 h 1651000"/>
              <a:gd name="connsiteX4" fmla="*/ 5067300 w 9169400"/>
              <a:gd name="connsiteY4" fmla="*/ 622300 h 1651000"/>
              <a:gd name="connsiteX5" fmla="*/ 6197600 w 9169400"/>
              <a:gd name="connsiteY5" fmla="*/ 482600 h 1651000"/>
              <a:gd name="connsiteX6" fmla="*/ 7785100 w 9169400"/>
              <a:gd name="connsiteY6" fmla="*/ 63500 h 1651000"/>
              <a:gd name="connsiteX7" fmla="*/ 9156700 w 9169400"/>
              <a:gd name="connsiteY7" fmla="*/ 0 h 1651000"/>
              <a:gd name="connsiteX8" fmla="*/ 9169400 w 9169400"/>
              <a:gd name="connsiteY8" fmla="*/ 1651000 h 1651000"/>
              <a:gd name="connsiteX9" fmla="*/ 0 w 9169400"/>
              <a:gd name="connsiteY9" fmla="*/ 1651000 h 1651000"/>
              <a:gd name="connsiteX10" fmla="*/ 12700 w 9169400"/>
              <a:gd name="connsiteY10" fmla="*/ 571500 h 1651000"/>
              <a:gd name="connsiteX0" fmla="*/ 12700 w 9169400"/>
              <a:gd name="connsiteY0" fmla="*/ 571500 h 1651000"/>
              <a:gd name="connsiteX1" fmla="*/ 863600 w 9169400"/>
              <a:gd name="connsiteY1" fmla="*/ 342900 h 1651000"/>
              <a:gd name="connsiteX2" fmla="*/ 2565400 w 9169400"/>
              <a:gd name="connsiteY2" fmla="*/ 317500 h 1651000"/>
              <a:gd name="connsiteX3" fmla="*/ 3873500 w 9169400"/>
              <a:gd name="connsiteY3" fmla="*/ 469900 h 1651000"/>
              <a:gd name="connsiteX4" fmla="*/ 5067300 w 9169400"/>
              <a:gd name="connsiteY4" fmla="*/ 622300 h 1651000"/>
              <a:gd name="connsiteX5" fmla="*/ 6197600 w 9169400"/>
              <a:gd name="connsiteY5" fmla="*/ 482600 h 1651000"/>
              <a:gd name="connsiteX6" fmla="*/ 7785100 w 9169400"/>
              <a:gd name="connsiteY6" fmla="*/ 63500 h 1651000"/>
              <a:gd name="connsiteX7" fmla="*/ 9156700 w 9169400"/>
              <a:gd name="connsiteY7" fmla="*/ 0 h 1651000"/>
              <a:gd name="connsiteX8" fmla="*/ 9169400 w 9169400"/>
              <a:gd name="connsiteY8" fmla="*/ 1651000 h 1651000"/>
              <a:gd name="connsiteX9" fmla="*/ 0 w 9169400"/>
              <a:gd name="connsiteY9" fmla="*/ 1651000 h 1651000"/>
              <a:gd name="connsiteX10" fmla="*/ 12700 w 9169400"/>
              <a:gd name="connsiteY10" fmla="*/ 571500 h 1651000"/>
              <a:gd name="connsiteX0" fmla="*/ 12700 w 9169400"/>
              <a:gd name="connsiteY0" fmla="*/ 571500 h 1651000"/>
              <a:gd name="connsiteX1" fmla="*/ 1143000 w 9169400"/>
              <a:gd name="connsiteY1" fmla="*/ 431800 h 1651000"/>
              <a:gd name="connsiteX2" fmla="*/ 2565400 w 9169400"/>
              <a:gd name="connsiteY2" fmla="*/ 317500 h 1651000"/>
              <a:gd name="connsiteX3" fmla="*/ 3873500 w 9169400"/>
              <a:gd name="connsiteY3" fmla="*/ 469900 h 1651000"/>
              <a:gd name="connsiteX4" fmla="*/ 5067300 w 9169400"/>
              <a:gd name="connsiteY4" fmla="*/ 622300 h 1651000"/>
              <a:gd name="connsiteX5" fmla="*/ 6197600 w 9169400"/>
              <a:gd name="connsiteY5" fmla="*/ 482600 h 1651000"/>
              <a:gd name="connsiteX6" fmla="*/ 7785100 w 9169400"/>
              <a:gd name="connsiteY6" fmla="*/ 63500 h 1651000"/>
              <a:gd name="connsiteX7" fmla="*/ 9156700 w 9169400"/>
              <a:gd name="connsiteY7" fmla="*/ 0 h 1651000"/>
              <a:gd name="connsiteX8" fmla="*/ 9169400 w 9169400"/>
              <a:gd name="connsiteY8" fmla="*/ 1651000 h 1651000"/>
              <a:gd name="connsiteX9" fmla="*/ 0 w 9169400"/>
              <a:gd name="connsiteY9" fmla="*/ 1651000 h 1651000"/>
              <a:gd name="connsiteX10" fmla="*/ 12700 w 9169400"/>
              <a:gd name="connsiteY10" fmla="*/ 571500 h 1651000"/>
              <a:gd name="connsiteX0" fmla="*/ 12700 w 9169400"/>
              <a:gd name="connsiteY0" fmla="*/ 571500 h 1651000"/>
              <a:gd name="connsiteX1" fmla="*/ 1143000 w 9169400"/>
              <a:gd name="connsiteY1" fmla="*/ 431800 h 1651000"/>
              <a:gd name="connsiteX2" fmla="*/ 2565400 w 9169400"/>
              <a:gd name="connsiteY2" fmla="*/ 317500 h 1651000"/>
              <a:gd name="connsiteX3" fmla="*/ 3873500 w 9169400"/>
              <a:gd name="connsiteY3" fmla="*/ 469900 h 1651000"/>
              <a:gd name="connsiteX4" fmla="*/ 5067300 w 9169400"/>
              <a:gd name="connsiteY4" fmla="*/ 622300 h 1651000"/>
              <a:gd name="connsiteX5" fmla="*/ 6197600 w 9169400"/>
              <a:gd name="connsiteY5" fmla="*/ 482600 h 1651000"/>
              <a:gd name="connsiteX6" fmla="*/ 7785100 w 9169400"/>
              <a:gd name="connsiteY6" fmla="*/ 63500 h 1651000"/>
              <a:gd name="connsiteX7" fmla="*/ 9156700 w 9169400"/>
              <a:gd name="connsiteY7" fmla="*/ 0 h 1651000"/>
              <a:gd name="connsiteX8" fmla="*/ 9169400 w 9169400"/>
              <a:gd name="connsiteY8" fmla="*/ 1651000 h 1651000"/>
              <a:gd name="connsiteX9" fmla="*/ 0 w 9169400"/>
              <a:gd name="connsiteY9" fmla="*/ 1651000 h 1651000"/>
              <a:gd name="connsiteX10" fmla="*/ 12700 w 9169400"/>
              <a:gd name="connsiteY10" fmla="*/ 571500 h 1651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169400" h="1651000">
                <a:moveTo>
                  <a:pt x="12700" y="571500"/>
                </a:moveTo>
                <a:cubicBezTo>
                  <a:pt x="662517" y="469900"/>
                  <a:pt x="717550" y="474133"/>
                  <a:pt x="1143000" y="431800"/>
                </a:cubicBezTo>
                <a:cubicBezTo>
                  <a:pt x="1568450" y="389467"/>
                  <a:pt x="2110317" y="311150"/>
                  <a:pt x="2565400" y="317500"/>
                </a:cubicBezTo>
                <a:cubicBezTo>
                  <a:pt x="3020483" y="323850"/>
                  <a:pt x="3456517" y="419100"/>
                  <a:pt x="3873500" y="469900"/>
                </a:cubicBezTo>
                <a:cubicBezTo>
                  <a:pt x="4290483" y="520700"/>
                  <a:pt x="4679950" y="620183"/>
                  <a:pt x="5067300" y="622300"/>
                </a:cubicBezTo>
                <a:cubicBezTo>
                  <a:pt x="5454650" y="624417"/>
                  <a:pt x="5744633" y="575733"/>
                  <a:pt x="6197600" y="482600"/>
                </a:cubicBezTo>
                <a:cubicBezTo>
                  <a:pt x="6650567" y="389467"/>
                  <a:pt x="7253817" y="131233"/>
                  <a:pt x="7785100" y="63500"/>
                </a:cubicBezTo>
                <a:cubicBezTo>
                  <a:pt x="8316383" y="-4233"/>
                  <a:pt x="8453967" y="21167"/>
                  <a:pt x="9156700" y="0"/>
                </a:cubicBezTo>
                <a:cubicBezTo>
                  <a:pt x="9160933" y="550333"/>
                  <a:pt x="9165167" y="1100667"/>
                  <a:pt x="9169400" y="1651000"/>
                </a:cubicBezTo>
                <a:lnTo>
                  <a:pt x="0" y="1651000"/>
                </a:lnTo>
                <a:lnTo>
                  <a:pt x="12700" y="571500"/>
                </a:lnTo>
                <a:close/>
              </a:path>
            </a:pathLst>
          </a:cu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32" name="Group 4"/>
          <p:cNvGrpSpPr>
            <a:grpSpLocks noChangeAspect="1"/>
          </p:cNvGrpSpPr>
          <p:nvPr/>
        </p:nvGrpSpPr>
        <p:grpSpPr bwMode="auto">
          <a:xfrm>
            <a:off x="5988094" y="2730328"/>
            <a:ext cx="986532" cy="983010"/>
            <a:chOff x="1238" y="585"/>
            <a:chExt cx="280" cy="279"/>
          </a:xfrm>
          <a:solidFill>
            <a:srgbClr val="00B050"/>
          </a:solidFill>
          <a:effectLst>
            <a:outerShdw blurRad="50800" dist="38100" dir="2700000" algn="tl" rotWithShape="0">
              <a:prstClr val="black">
                <a:alpha val="40000"/>
              </a:prstClr>
            </a:outerShdw>
          </a:effectLst>
        </p:grpSpPr>
        <p:sp>
          <p:nvSpPr>
            <p:cNvPr id="33" name="Freeform 5"/>
            <p:cNvSpPr>
              <a:spLocks noEditPoints="1"/>
            </p:cNvSpPr>
            <p:nvPr/>
          </p:nvSpPr>
          <p:spPr bwMode="auto">
            <a:xfrm>
              <a:off x="1238" y="585"/>
              <a:ext cx="280" cy="279"/>
            </a:xfrm>
            <a:custGeom>
              <a:avLst/>
              <a:gdLst>
                <a:gd name="T0" fmla="*/ 342 w 1202"/>
                <a:gd name="T1" fmla="*/ 311 h 1235"/>
                <a:gd name="T2" fmla="*/ 524 w 1202"/>
                <a:gd name="T3" fmla="*/ 951 h 1235"/>
                <a:gd name="T4" fmla="*/ 527 w 1202"/>
                <a:gd name="T5" fmla="*/ 903 h 1235"/>
                <a:gd name="T6" fmla="*/ 572 w 1202"/>
                <a:gd name="T7" fmla="*/ 750 h 1235"/>
                <a:gd name="T8" fmla="*/ 766 w 1202"/>
                <a:gd name="T9" fmla="*/ 600 h 1235"/>
                <a:gd name="T10" fmla="*/ 780 w 1202"/>
                <a:gd name="T11" fmla="*/ 574 h 1235"/>
                <a:gd name="T12" fmla="*/ 705 w 1202"/>
                <a:gd name="T13" fmla="*/ 391 h 1235"/>
                <a:gd name="T14" fmla="*/ 296 w 1202"/>
                <a:gd name="T15" fmla="*/ 0 h 1235"/>
                <a:gd name="T16" fmla="*/ 286 w 1202"/>
                <a:gd name="T17" fmla="*/ 11 h 1235"/>
                <a:gd name="T18" fmla="*/ 135 w 1202"/>
                <a:gd name="T19" fmla="*/ 239 h 1235"/>
                <a:gd name="T20" fmla="*/ 9 w 1202"/>
                <a:gd name="T21" fmla="*/ 603 h 1235"/>
                <a:gd name="T22" fmla="*/ 119 w 1202"/>
                <a:gd name="T23" fmla="*/ 923 h 1235"/>
                <a:gd name="T24" fmla="*/ 379 w 1202"/>
                <a:gd name="T25" fmla="*/ 1084 h 1235"/>
                <a:gd name="T26" fmla="*/ 411 w 1202"/>
                <a:gd name="T27" fmla="*/ 1093 h 1235"/>
                <a:gd name="T28" fmla="*/ 342 w 1202"/>
                <a:gd name="T29" fmla="*/ 311 h 1235"/>
                <a:gd name="T30" fmla="*/ 717 w 1202"/>
                <a:gd name="T31" fmla="*/ 1209 h 1235"/>
                <a:gd name="T32" fmla="*/ 778 w 1202"/>
                <a:gd name="T33" fmla="*/ 1222 h 1235"/>
                <a:gd name="T34" fmla="*/ 1012 w 1202"/>
                <a:gd name="T35" fmla="*/ 1186 h 1235"/>
                <a:gd name="T36" fmla="*/ 1155 w 1202"/>
                <a:gd name="T37" fmla="*/ 1000 h 1235"/>
                <a:gd name="T38" fmla="*/ 1201 w 1202"/>
                <a:gd name="T39" fmla="*/ 727 h 1235"/>
                <a:gd name="T40" fmla="*/ 1201 w 1202"/>
                <a:gd name="T41" fmla="*/ 622 h 1235"/>
                <a:gd name="T42" fmla="*/ 1097 w 1202"/>
                <a:gd name="T43" fmla="*/ 622 h 1235"/>
                <a:gd name="T44" fmla="*/ 845 w 1202"/>
                <a:gd name="T45" fmla="*/ 660 h 1235"/>
                <a:gd name="T46" fmla="*/ 597 w 1202"/>
                <a:gd name="T47" fmla="*/ 935 h 1235"/>
                <a:gd name="T48" fmla="*/ 626 w 1202"/>
                <a:gd name="T49" fmla="*/ 1142 h 1235"/>
                <a:gd name="T50" fmla="*/ 728 w 1202"/>
                <a:gd name="T51" fmla="*/ 1044 h 1235"/>
                <a:gd name="T52" fmla="*/ 837 w 1202"/>
                <a:gd name="T53" fmla="*/ 957 h 1235"/>
                <a:gd name="T54" fmla="*/ 951 w 1202"/>
                <a:gd name="T55" fmla="*/ 881 h 1235"/>
                <a:gd name="T56" fmla="*/ 955 w 1202"/>
                <a:gd name="T57" fmla="*/ 887 h 1235"/>
                <a:gd name="T58" fmla="*/ 717 w 1202"/>
                <a:gd name="T59" fmla="*/ 1209 h 1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202" h="1235">
                  <a:moveTo>
                    <a:pt x="342" y="311"/>
                  </a:moveTo>
                  <a:cubicBezTo>
                    <a:pt x="385" y="530"/>
                    <a:pt x="438" y="745"/>
                    <a:pt x="524" y="951"/>
                  </a:cubicBezTo>
                  <a:cubicBezTo>
                    <a:pt x="527" y="935"/>
                    <a:pt x="526" y="919"/>
                    <a:pt x="527" y="903"/>
                  </a:cubicBezTo>
                  <a:cubicBezTo>
                    <a:pt x="529" y="848"/>
                    <a:pt x="544" y="797"/>
                    <a:pt x="572" y="750"/>
                  </a:cubicBezTo>
                  <a:cubicBezTo>
                    <a:pt x="618" y="676"/>
                    <a:pt x="687" y="631"/>
                    <a:pt x="766" y="600"/>
                  </a:cubicBezTo>
                  <a:cubicBezTo>
                    <a:pt x="780" y="595"/>
                    <a:pt x="784" y="590"/>
                    <a:pt x="780" y="574"/>
                  </a:cubicBezTo>
                  <a:cubicBezTo>
                    <a:pt x="767" y="508"/>
                    <a:pt x="741" y="447"/>
                    <a:pt x="705" y="391"/>
                  </a:cubicBezTo>
                  <a:cubicBezTo>
                    <a:pt x="602" y="227"/>
                    <a:pt x="453" y="110"/>
                    <a:pt x="296" y="0"/>
                  </a:cubicBezTo>
                  <a:cubicBezTo>
                    <a:pt x="292" y="4"/>
                    <a:pt x="289" y="7"/>
                    <a:pt x="286" y="11"/>
                  </a:cubicBezTo>
                  <a:cubicBezTo>
                    <a:pt x="236" y="87"/>
                    <a:pt x="181" y="160"/>
                    <a:pt x="135" y="239"/>
                  </a:cubicBezTo>
                  <a:cubicBezTo>
                    <a:pt x="68" y="351"/>
                    <a:pt x="19" y="470"/>
                    <a:pt x="9" y="603"/>
                  </a:cubicBezTo>
                  <a:cubicBezTo>
                    <a:pt x="0" y="725"/>
                    <a:pt x="35" y="833"/>
                    <a:pt x="119" y="923"/>
                  </a:cubicBezTo>
                  <a:cubicBezTo>
                    <a:pt x="191" y="1001"/>
                    <a:pt x="281" y="1049"/>
                    <a:pt x="379" y="1084"/>
                  </a:cubicBezTo>
                  <a:cubicBezTo>
                    <a:pt x="389" y="1087"/>
                    <a:pt x="399" y="1090"/>
                    <a:pt x="411" y="1093"/>
                  </a:cubicBezTo>
                  <a:cubicBezTo>
                    <a:pt x="356" y="833"/>
                    <a:pt x="333" y="574"/>
                    <a:pt x="342" y="311"/>
                  </a:cubicBezTo>
                  <a:close/>
                  <a:moveTo>
                    <a:pt x="717" y="1209"/>
                  </a:moveTo>
                  <a:cubicBezTo>
                    <a:pt x="740" y="1214"/>
                    <a:pt x="759" y="1219"/>
                    <a:pt x="778" y="1222"/>
                  </a:cubicBezTo>
                  <a:cubicBezTo>
                    <a:pt x="860" y="1235"/>
                    <a:pt x="939" y="1229"/>
                    <a:pt x="1012" y="1186"/>
                  </a:cubicBezTo>
                  <a:cubicBezTo>
                    <a:pt x="1084" y="1143"/>
                    <a:pt x="1127" y="1076"/>
                    <a:pt x="1155" y="1000"/>
                  </a:cubicBezTo>
                  <a:cubicBezTo>
                    <a:pt x="1187" y="912"/>
                    <a:pt x="1198" y="820"/>
                    <a:pt x="1201" y="727"/>
                  </a:cubicBezTo>
                  <a:cubicBezTo>
                    <a:pt x="1202" y="693"/>
                    <a:pt x="1201" y="659"/>
                    <a:pt x="1201" y="622"/>
                  </a:cubicBezTo>
                  <a:cubicBezTo>
                    <a:pt x="1164" y="622"/>
                    <a:pt x="1131" y="621"/>
                    <a:pt x="1097" y="622"/>
                  </a:cubicBezTo>
                  <a:cubicBezTo>
                    <a:pt x="1012" y="624"/>
                    <a:pt x="927" y="633"/>
                    <a:pt x="845" y="660"/>
                  </a:cubicBezTo>
                  <a:cubicBezTo>
                    <a:pt x="710" y="704"/>
                    <a:pt x="613" y="784"/>
                    <a:pt x="597" y="935"/>
                  </a:cubicBezTo>
                  <a:cubicBezTo>
                    <a:pt x="589" y="1006"/>
                    <a:pt x="602" y="1074"/>
                    <a:pt x="626" y="1142"/>
                  </a:cubicBezTo>
                  <a:cubicBezTo>
                    <a:pt x="661" y="1108"/>
                    <a:pt x="693" y="1075"/>
                    <a:pt x="728" y="1044"/>
                  </a:cubicBezTo>
                  <a:cubicBezTo>
                    <a:pt x="763" y="1014"/>
                    <a:pt x="799" y="984"/>
                    <a:pt x="837" y="957"/>
                  </a:cubicBezTo>
                  <a:cubicBezTo>
                    <a:pt x="874" y="930"/>
                    <a:pt x="913" y="906"/>
                    <a:pt x="951" y="881"/>
                  </a:cubicBezTo>
                  <a:cubicBezTo>
                    <a:pt x="952" y="883"/>
                    <a:pt x="953" y="885"/>
                    <a:pt x="955" y="887"/>
                  </a:cubicBezTo>
                  <a:cubicBezTo>
                    <a:pt x="858" y="980"/>
                    <a:pt x="780" y="1087"/>
                    <a:pt x="717" y="120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 name="Freeform 6"/>
            <p:cNvSpPr>
              <a:spLocks/>
            </p:cNvSpPr>
            <p:nvPr/>
          </p:nvSpPr>
          <p:spPr bwMode="auto">
            <a:xfrm>
              <a:off x="1238" y="585"/>
              <a:ext cx="183" cy="247"/>
            </a:xfrm>
            <a:custGeom>
              <a:avLst/>
              <a:gdLst>
                <a:gd name="T0" fmla="*/ 342 w 784"/>
                <a:gd name="T1" fmla="*/ 311 h 1093"/>
                <a:gd name="T2" fmla="*/ 411 w 784"/>
                <a:gd name="T3" fmla="*/ 1093 h 1093"/>
                <a:gd name="T4" fmla="*/ 379 w 784"/>
                <a:gd name="T5" fmla="*/ 1084 h 1093"/>
                <a:gd name="T6" fmla="*/ 119 w 784"/>
                <a:gd name="T7" fmla="*/ 923 h 1093"/>
                <a:gd name="T8" fmla="*/ 9 w 784"/>
                <a:gd name="T9" fmla="*/ 603 h 1093"/>
                <a:gd name="T10" fmla="*/ 135 w 784"/>
                <a:gd name="T11" fmla="*/ 239 h 1093"/>
                <a:gd name="T12" fmla="*/ 286 w 784"/>
                <a:gd name="T13" fmla="*/ 11 h 1093"/>
                <a:gd name="T14" fmla="*/ 296 w 784"/>
                <a:gd name="T15" fmla="*/ 0 h 1093"/>
                <a:gd name="T16" fmla="*/ 705 w 784"/>
                <a:gd name="T17" fmla="*/ 391 h 1093"/>
                <a:gd name="T18" fmla="*/ 780 w 784"/>
                <a:gd name="T19" fmla="*/ 574 h 1093"/>
                <a:gd name="T20" fmla="*/ 766 w 784"/>
                <a:gd name="T21" fmla="*/ 600 h 1093"/>
                <a:gd name="T22" fmla="*/ 572 w 784"/>
                <a:gd name="T23" fmla="*/ 750 h 1093"/>
                <a:gd name="T24" fmla="*/ 527 w 784"/>
                <a:gd name="T25" fmla="*/ 903 h 1093"/>
                <a:gd name="T26" fmla="*/ 524 w 784"/>
                <a:gd name="T27" fmla="*/ 951 h 1093"/>
                <a:gd name="T28" fmla="*/ 342 w 784"/>
                <a:gd name="T29" fmla="*/ 311 h 10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84" h="1093">
                  <a:moveTo>
                    <a:pt x="342" y="311"/>
                  </a:moveTo>
                  <a:cubicBezTo>
                    <a:pt x="333" y="574"/>
                    <a:pt x="356" y="833"/>
                    <a:pt x="411" y="1093"/>
                  </a:cubicBezTo>
                  <a:cubicBezTo>
                    <a:pt x="399" y="1090"/>
                    <a:pt x="389" y="1087"/>
                    <a:pt x="379" y="1084"/>
                  </a:cubicBezTo>
                  <a:cubicBezTo>
                    <a:pt x="281" y="1049"/>
                    <a:pt x="191" y="1001"/>
                    <a:pt x="119" y="923"/>
                  </a:cubicBezTo>
                  <a:cubicBezTo>
                    <a:pt x="35" y="833"/>
                    <a:pt x="0" y="725"/>
                    <a:pt x="9" y="603"/>
                  </a:cubicBezTo>
                  <a:cubicBezTo>
                    <a:pt x="19" y="470"/>
                    <a:pt x="68" y="351"/>
                    <a:pt x="135" y="239"/>
                  </a:cubicBezTo>
                  <a:cubicBezTo>
                    <a:pt x="181" y="160"/>
                    <a:pt x="236" y="87"/>
                    <a:pt x="286" y="11"/>
                  </a:cubicBezTo>
                  <a:cubicBezTo>
                    <a:pt x="289" y="7"/>
                    <a:pt x="292" y="4"/>
                    <a:pt x="296" y="0"/>
                  </a:cubicBezTo>
                  <a:cubicBezTo>
                    <a:pt x="453" y="110"/>
                    <a:pt x="602" y="227"/>
                    <a:pt x="705" y="391"/>
                  </a:cubicBezTo>
                  <a:cubicBezTo>
                    <a:pt x="741" y="447"/>
                    <a:pt x="767" y="508"/>
                    <a:pt x="780" y="574"/>
                  </a:cubicBezTo>
                  <a:cubicBezTo>
                    <a:pt x="784" y="590"/>
                    <a:pt x="780" y="595"/>
                    <a:pt x="766" y="600"/>
                  </a:cubicBezTo>
                  <a:cubicBezTo>
                    <a:pt x="687" y="631"/>
                    <a:pt x="618" y="676"/>
                    <a:pt x="572" y="750"/>
                  </a:cubicBezTo>
                  <a:cubicBezTo>
                    <a:pt x="544" y="797"/>
                    <a:pt x="529" y="848"/>
                    <a:pt x="527" y="903"/>
                  </a:cubicBezTo>
                  <a:cubicBezTo>
                    <a:pt x="526" y="919"/>
                    <a:pt x="527" y="935"/>
                    <a:pt x="524" y="951"/>
                  </a:cubicBezTo>
                  <a:cubicBezTo>
                    <a:pt x="438" y="745"/>
                    <a:pt x="385" y="530"/>
                    <a:pt x="342" y="3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 name="Freeform 7"/>
            <p:cNvSpPr>
              <a:spLocks/>
            </p:cNvSpPr>
            <p:nvPr/>
          </p:nvSpPr>
          <p:spPr bwMode="auto">
            <a:xfrm>
              <a:off x="1375" y="726"/>
              <a:ext cx="143" cy="138"/>
            </a:xfrm>
            <a:custGeom>
              <a:avLst/>
              <a:gdLst>
                <a:gd name="T0" fmla="*/ 128 w 613"/>
                <a:gd name="T1" fmla="*/ 588 h 614"/>
                <a:gd name="T2" fmla="*/ 366 w 613"/>
                <a:gd name="T3" fmla="*/ 266 h 614"/>
                <a:gd name="T4" fmla="*/ 362 w 613"/>
                <a:gd name="T5" fmla="*/ 260 h 614"/>
                <a:gd name="T6" fmla="*/ 248 w 613"/>
                <a:gd name="T7" fmla="*/ 336 h 614"/>
                <a:gd name="T8" fmla="*/ 139 w 613"/>
                <a:gd name="T9" fmla="*/ 423 h 614"/>
                <a:gd name="T10" fmla="*/ 37 w 613"/>
                <a:gd name="T11" fmla="*/ 521 h 614"/>
                <a:gd name="T12" fmla="*/ 8 w 613"/>
                <a:gd name="T13" fmla="*/ 314 h 614"/>
                <a:gd name="T14" fmla="*/ 256 w 613"/>
                <a:gd name="T15" fmla="*/ 39 h 614"/>
                <a:gd name="T16" fmla="*/ 508 w 613"/>
                <a:gd name="T17" fmla="*/ 1 h 614"/>
                <a:gd name="T18" fmla="*/ 612 w 613"/>
                <a:gd name="T19" fmla="*/ 1 h 614"/>
                <a:gd name="T20" fmla="*/ 612 w 613"/>
                <a:gd name="T21" fmla="*/ 106 h 614"/>
                <a:gd name="T22" fmla="*/ 566 w 613"/>
                <a:gd name="T23" fmla="*/ 379 h 614"/>
                <a:gd name="T24" fmla="*/ 423 w 613"/>
                <a:gd name="T25" fmla="*/ 565 h 614"/>
                <a:gd name="T26" fmla="*/ 189 w 613"/>
                <a:gd name="T27" fmla="*/ 601 h 614"/>
                <a:gd name="T28" fmla="*/ 128 w 613"/>
                <a:gd name="T29" fmla="*/ 588 h 6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13" h="614">
                  <a:moveTo>
                    <a:pt x="128" y="588"/>
                  </a:moveTo>
                  <a:cubicBezTo>
                    <a:pt x="191" y="466"/>
                    <a:pt x="269" y="359"/>
                    <a:pt x="366" y="266"/>
                  </a:cubicBezTo>
                  <a:cubicBezTo>
                    <a:pt x="364" y="264"/>
                    <a:pt x="363" y="262"/>
                    <a:pt x="362" y="260"/>
                  </a:cubicBezTo>
                  <a:cubicBezTo>
                    <a:pt x="324" y="285"/>
                    <a:pt x="285" y="309"/>
                    <a:pt x="248" y="336"/>
                  </a:cubicBezTo>
                  <a:cubicBezTo>
                    <a:pt x="210" y="363"/>
                    <a:pt x="174" y="393"/>
                    <a:pt x="139" y="423"/>
                  </a:cubicBezTo>
                  <a:cubicBezTo>
                    <a:pt x="104" y="454"/>
                    <a:pt x="72" y="487"/>
                    <a:pt x="37" y="521"/>
                  </a:cubicBezTo>
                  <a:cubicBezTo>
                    <a:pt x="13" y="453"/>
                    <a:pt x="0" y="385"/>
                    <a:pt x="8" y="314"/>
                  </a:cubicBezTo>
                  <a:cubicBezTo>
                    <a:pt x="24" y="163"/>
                    <a:pt x="121" y="83"/>
                    <a:pt x="256" y="39"/>
                  </a:cubicBezTo>
                  <a:cubicBezTo>
                    <a:pt x="338" y="12"/>
                    <a:pt x="423" y="3"/>
                    <a:pt x="508" y="1"/>
                  </a:cubicBezTo>
                  <a:cubicBezTo>
                    <a:pt x="542" y="0"/>
                    <a:pt x="575" y="1"/>
                    <a:pt x="612" y="1"/>
                  </a:cubicBezTo>
                  <a:cubicBezTo>
                    <a:pt x="612" y="38"/>
                    <a:pt x="613" y="72"/>
                    <a:pt x="612" y="106"/>
                  </a:cubicBezTo>
                  <a:cubicBezTo>
                    <a:pt x="609" y="199"/>
                    <a:pt x="598" y="291"/>
                    <a:pt x="566" y="379"/>
                  </a:cubicBezTo>
                  <a:cubicBezTo>
                    <a:pt x="538" y="455"/>
                    <a:pt x="495" y="522"/>
                    <a:pt x="423" y="565"/>
                  </a:cubicBezTo>
                  <a:cubicBezTo>
                    <a:pt x="350" y="608"/>
                    <a:pt x="271" y="614"/>
                    <a:pt x="189" y="601"/>
                  </a:cubicBezTo>
                  <a:cubicBezTo>
                    <a:pt x="170" y="598"/>
                    <a:pt x="151" y="593"/>
                    <a:pt x="128" y="5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0" name="Chevron 19"/>
          <p:cNvSpPr/>
          <p:nvPr/>
        </p:nvSpPr>
        <p:spPr>
          <a:xfrm>
            <a:off x="3657600" y="3105150"/>
            <a:ext cx="484632" cy="484632"/>
          </a:xfrm>
          <a:prstGeom prst="chevron">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chemeClr val="tx1"/>
              </a:solidFill>
            </a:endParaRPr>
          </a:p>
        </p:txBody>
      </p:sp>
      <p:sp>
        <p:nvSpPr>
          <p:cNvPr id="37" name="Chevron 36"/>
          <p:cNvSpPr/>
          <p:nvPr/>
        </p:nvSpPr>
        <p:spPr>
          <a:xfrm>
            <a:off x="4191000" y="3105150"/>
            <a:ext cx="484632" cy="484632"/>
          </a:xfrm>
          <a:prstGeom prst="chevron">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chemeClr val="tx1"/>
              </a:solidFill>
            </a:endParaRPr>
          </a:p>
        </p:txBody>
      </p:sp>
      <p:sp>
        <p:nvSpPr>
          <p:cNvPr id="38" name="Chevron 37"/>
          <p:cNvSpPr/>
          <p:nvPr/>
        </p:nvSpPr>
        <p:spPr>
          <a:xfrm>
            <a:off x="4724400" y="3105150"/>
            <a:ext cx="484632" cy="484632"/>
          </a:xfrm>
          <a:prstGeom prst="chevron">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chemeClr val="tx1"/>
              </a:solidFill>
            </a:endParaRPr>
          </a:p>
        </p:txBody>
      </p:sp>
    </p:spTree>
    <p:extLst>
      <p:ext uri="{BB962C8B-B14F-4D97-AF65-F5344CB8AC3E}">
        <p14:creationId xmlns:p14="http://schemas.microsoft.com/office/powerpoint/2010/main" val="2199507503"/>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6" presetClass="emph" presetSubtype="0" repeatCount="indefinite" fill="hold" grpId="0" nodeType="withEffect">
                                  <p:stCondLst>
                                    <p:cond delay="0"/>
                                  </p:stCondLst>
                                  <p:childTnLst>
                                    <p:animEffect transition="out" filter="fade">
                                      <p:cBhvr>
                                        <p:cTn id="6" dur="750" tmFilter="0, 0; .2, .5; .8, .5; 1, 0"/>
                                        <p:tgtEl>
                                          <p:spTgt spid="30"/>
                                        </p:tgtEl>
                                      </p:cBhvr>
                                    </p:animEffect>
                                    <p:animScale>
                                      <p:cBhvr>
                                        <p:cTn id="7" dur="375" autoRev="1" fill="hold"/>
                                        <p:tgtEl>
                                          <p:spTgt spid="30"/>
                                        </p:tgtEl>
                                      </p:cBhvr>
                                      <p:by x="105000" y="105000"/>
                                    </p:animScale>
                                  </p:childTnLst>
                                </p:cTn>
                              </p:par>
                            </p:childTnLst>
                          </p:cTn>
                        </p:par>
                      </p:childTnLst>
                    </p:cTn>
                  </p:par>
                  <p:par>
                    <p:cTn id="8" fill="hold">
                      <p:stCondLst>
                        <p:cond delay="indefinite"/>
                      </p:stCondLst>
                      <p:childTnLst>
                        <p:par>
                          <p:cTn id="9" fill="hold">
                            <p:stCondLst>
                              <p:cond delay="0"/>
                            </p:stCondLst>
                            <p:childTnLst>
                              <p:par>
                                <p:cTn id="10" presetID="22" presetClass="entr" presetSubtype="8" fill="hold" grpId="0" nodeType="clickEffect">
                                  <p:stCondLst>
                                    <p:cond delay="0"/>
                                  </p:stCondLst>
                                  <p:childTnLst>
                                    <p:set>
                                      <p:cBhvr>
                                        <p:cTn id="11" dur="1" fill="hold">
                                          <p:stCondLst>
                                            <p:cond delay="0"/>
                                          </p:stCondLst>
                                        </p:cTn>
                                        <p:tgtEl>
                                          <p:spTgt spid="20"/>
                                        </p:tgtEl>
                                        <p:attrNameLst>
                                          <p:attrName>style.visibility</p:attrName>
                                        </p:attrNameLst>
                                      </p:cBhvr>
                                      <p:to>
                                        <p:strVal val="visible"/>
                                      </p:to>
                                    </p:set>
                                    <p:animEffect transition="in" filter="wipe(left)">
                                      <p:cBhvr>
                                        <p:cTn id="12" dur="500"/>
                                        <p:tgtEl>
                                          <p:spTgt spid="20"/>
                                        </p:tgtEl>
                                      </p:cBhvr>
                                    </p:animEffect>
                                  </p:childTnLst>
                                </p:cTn>
                              </p:par>
                            </p:childTnLst>
                          </p:cTn>
                        </p:par>
                        <p:par>
                          <p:cTn id="13" fill="hold">
                            <p:stCondLst>
                              <p:cond delay="500"/>
                            </p:stCondLst>
                            <p:childTnLst>
                              <p:par>
                                <p:cTn id="14" presetID="22" presetClass="entr" presetSubtype="8" fill="hold" grpId="0" nodeType="afterEffect">
                                  <p:stCondLst>
                                    <p:cond delay="0"/>
                                  </p:stCondLst>
                                  <p:childTnLst>
                                    <p:set>
                                      <p:cBhvr>
                                        <p:cTn id="15" dur="1" fill="hold">
                                          <p:stCondLst>
                                            <p:cond delay="0"/>
                                          </p:stCondLst>
                                        </p:cTn>
                                        <p:tgtEl>
                                          <p:spTgt spid="37"/>
                                        </p:tgtEl>
                                        <p:attrNameLst>
                                          <p:attrName>style.visibility</p:attrName>
                                        </p:attrNameLst>
                                      </p:cBhvr>
                                      <p:to>
                                        <p:strVal val="visible"/>
                                      </p:to>
                                    </p:set>
                                    <p:animEffect transition="in" filter="wipe(left)">
                                      <p:cBhvr>
                                        <p:cTn id="16" dur="500"/>
                                        <p:tgtEl>
                                          <p:spTgt spid="37"/>
                                        </p:tgtEl>
                                      </p:cBhvr>
                                    </p:animEffect>
                                  </p:childTnLst>
                                </p:cTn>
                              </p:par>
                            </p:childTnLst>
                          </p:cTn>
                        </p:par>
                        <p:par>
                          <p:cTn id="17" fill="hold">
                            <p:stCondLst>
                              <p:cond delay="1000"/>
                            </p:stCondLst>
                            <p:childTnLst>
                              <p:par>
                                <p:cTn id="18" presetID="22" presetClass="entr" presetSubtype="8" fill="hold" grpId="0" nodeType="afterEffect">
                                  <p:stCondLst>
                                    <p:cond delay="0"/>
                                  </p:stCondLst>
                                  <p:childTnLst>
                                    <p:set>
                                      <p:cBhvr>
                                        <p:cTn id="19" dur="1" fill="hold">
                                          <p:stCondLst>
                                            <p:cond delay="0"/>
                                          </p:stCondLst>
                                        </p:cTn>
                                        <p:tgtEl>
                                          <p:spTgt spid="38"/>
                                        </p:tgtEl>
                                        <p:attrNameLst>
                                          <p:attrName>style.visibility</p:attrName>
                                        </p:attrNameLst>
                                      </p:cBhvr>
                                      <p:to>
                                        <p:strVal val="visible"/>
                                      </p:to>
                                    </p:set>
                                    <p:animEffect transition="in" filter="wipe(left)">
                                      <p:cBhvr>
                                        <p:cTn id="20" dur="500"/>
                                        <p:tgtEl>
                                          <p:spTgt spid="38"/>
                                        </p:tgtEl>
                                      </p:cBhvr>
                                    </p:animEffect>
                                  </p:childTnLst>
                                </p:cTn>
                              </p:par>
                            </p:childTnLst>
                          </p:cTn>
                        </p:par>
                        <p:par>
                          <p:cTn id="21" fill="hold">
                            <p:stCondLst>
                              <p:cond delay="1500"/>
                            </p:stCondLst>
                            <p:childTnLst>
                              <p:par>
                                <p:cTn id="22" presetID="22" presetClass="entr" presetSubtype="4" fill="hold" nodeType="afterEffect">
                                  <p:stCondLst>
                                    <p:cond delay="0"/>
                                  </p:stCondLst>
                                  <p:childTnLst>
                                    <p:set>
                                      <p:cBhvr>
                                        <p:cTn id="23" dur="1" fill="hold">
                                          <p:stCondLst>
                                            <p:cond delay="0"/>
                                          </p:stCondLst>
                                        </p:cTn>
                                        <p:tgtEl>
                                          <p:spTgt spid="32"/>
                                        </p:tgtEl>
                                        <p:attrNameLst>
                                          <p:attrName>style.visibility</p:attrName>
                                        </p:attrNameLst>
                                      </p:cBhvr>
                                      <p:to>
                                        <p:strVal val="visible"/>
                                      </p:to>
                                    </p:set>
                                    <p:animEffect transition="in" filter="wipe(down)">
                                      <p:cBhvr>
                                        <p:cTn id="24" dur="500"/>
                                        <p:tgtEl>
                                          <p:spTgt spid="3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0" grpId="0" animBg="1"/>
      <p:bldP spid="20" grpId="0" animBg="1"/>
      <p:bldP spid="37" grpId="0" animBg="1"/>
      <p:bldP spid="38" grpId="0" animBg="1"/>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ext uri="{D42A27DB-BD31-4B8C-83A1-F6EECF244321}">
                <p14:modId xmlns:p14="http://schemas.microsoft.com/office/powerpoint/2010/main" val="24921168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319"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60" name="Isosceles Triangle 159"/>
          <p:cNvSpPr/>
          <p:nvPr/>
        </p:nvSpPr>
        <p:spPr>
          <a:xfrm flipH="1">
            <a:off x="269928" y="3004728"/>
            <a:ext cx="63633" cy="651891"/>
          </a:xfrm>
          <a:prstGeom prst="triangle">
            <a:avLst>
              <a:gd name="adj" fmla="val 53309"/>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61" name="Group 160"/>
          <p:cNvGrpSpPr/>
          <p:nvPr/>
        </p:nvGrpSpPr>
        <p:grpSpPr>
          <a:xfrm>
            <a:off x="-88792" y="2632492"/>
            <a:ext cx="776275" cy="776275"/>
            <a:chOff x="6430508" y="1810678"/>
            <a:chExt cx="2108839" cy="2108839"/>
          </a:xfrm>
        </p:grpSpPr>
        <p:grpSp>
          <p:nvGrpSpPr>
            <p:cNvPr id="162" name="Group 161"/>
            <p:cNvGrpSpPr/>
            <p:nvPr/>
          </p:nvGrpSpPr>
          <p:grpSpPr>
            <a:xfrm rot="900000">
              <a:off x="6430508" y="2814389"/>
              <a:ext cx="2108839" cy="101418"/>
              <a:chOff x="6437694" y="2814389"/>
              <a:chExt cx="2108839" cy="101418"/>
            </a:xfrm>
          </p:grpSpPr>
          <p:sp>
            <p:nvSpPr>
              <p:cNvPr id="169" name="Round Same Side Corner Rectangle 11"/>
              <p:cNvSpPr/>
              <p:nvPr/>
            </p:nvSpPr>
            <p:spPr>
              <a:xfrm rot="5400000" flipH="1">
                <a:off x="7969911" y="2339184"/>
                <a:ext cx="101418" cy="1051827"/>
              </a:xfrm>
              <a:custGeom>
                <a:avLst/>
                <a:gdLst>
                  <a:gd name="connsiteX0" fmla="*/ 192704 w 474348"/>
                  <a:gd name="connsiteY0" fmla="*/ 0 h 645319"/>
                  <a:gd name="connsiteX1" fmla="*/ 281644 w 474348"/>
                  <a:gd name="connsiteY1" fmla="*/ 0 h 645319"/>
                  <a:gd name="connsiteX2" fmla="*/ 474348 w 474348"/>
                  <a:gd name="connsiteY2" fmla="*/ 192704 h 645319"/>
                  <a:gd name="connsiteX3" fmla="*/ 474348 w 474348"/>
                  <a:gd name="connsiteY3" fmla="*/ 645319 h 645319"/>
                  <a:gd name="connsiteX4" fmla="*/ 474348 w 474348"/>
                  <a:gd name="connsiteY4" fmla="*/ 645319 h 645319"/>
                  <a:gd name="connsiteX5" fmla="*/ 0 w 474348"/>
                  <a:gd name="connsiteY5" fmla="*/ 645319 h 645319"/>
                  <a:gd name="connsiteX6" fmla="*/ 0 w 474348"/>
                  <a:gd name="connsiteY6" fmla="*/ 645319 h 645319"/>
                  <a:gd name="connsiteX7" fmla="*/ 0 w 474348"/>
                  <a:gd name="connsiteY7" fmla="*/ 192704 h 645319"/>
                  <a:gd name="connsiteX8" fmla="*/ 192704 w 474348"/>
                  <a:gd name="connsiteY8" fmla="*/ 0 h 645319"/>
                  <a:gd name="connsiteX0" fmla="*/ 192704 w 474348"/>
                  <a:gd name="connsiteY0" fmla="*/ 0 h 645319"/>
                  <a:gd name="connsiteX1" fmla="*/ 281644 w 474348"/>
                  <a:gd name="connsiteY1" fmla="*/ 0 h 645319"/>
                  <a:gd name="connsiteX2" fmla="*/ 474348 w 474348"/>
                  <a:gd name="connsiteY2" fmla="*/ 192704 h 645319"/>
                  <a:gd name="connsiteX3" fmla="*/ 474348 w 474348"/>
                  <a:gd name="connsiteY3" fmla="*/ 645319 h 645319"/>
                  <a:gd name="connsiteX4" fmla="*/ 474348 w 474348"/>
                  <a:gd name="connsiteY4" fmla="*/ 645319 h 645319"/>
                  <a:gd name="connsiteX5" fmla="*/ 248129 w 474348"/>
                  <a:gd name="connsiteY5" fmla="*/ 645319 h 645319"/>
                  <a:gd name="connsiteX6" fmla="*/ 0 w 474348"/>
                  <a:gd name="connsiteY6" fmla="*/ 645319 h 645319"/>
                  <a:gd name="connsiteX7" fmla="*/ 0 w 474348"/>
                  <a:gd name="connsiteY7" fmla="*/ 645319 h 645319"/>
                  <a:gd name="connsiteX8" fmla="*/ 0 w 474348"/>
                  <a:gd name="connsiteY8" fmla="*/ 192704 h 645319"/>
                  <a:gd name="connsiteX9" fmla="*/ 192704 w 474348"/>
                  <a:gd name="connsiteY9" fmla="*/ 0 h 645319"/>
                  <a:gd name="connsiteX0" fmla="*/ 192704 w 474348"/>
                  <a:gd name="connsiteY0" fmla="*/ 2381 h 647700"/>
                  <a:gd name="connsiteX1" fmla="*/ 240986 w 474348"/>
                  <a:gd name="connsiteY1" fmla="*/ 0 h 647700"/>
                  <a:gd name="connsiteX2" fmla="*/ 281644 w 474348"/>
                  <a:gd name="connsiteY2" fmla="*/ 2381 h 647700"/>
                  <a:gd name="connsiteX3" fmla="*/ 474348 w 474348"/>
                  <a:gd name="connsiteY3" fmla="*/ 195085 h 647700"/>
                  <a:gd name="connsiteX4" fmla="*/ 474348 w 474348"/>
                  <a:gd name="connsiteY4" fmla="*/ 647700 h 647700"/>
                  <a:gd name="connsiteX5" fmla="*/ 474348 w 474348"/>
                  <a:gd name="connsiteY5" fmla="*/ 647700 h 647700"/>
                  <a:gd name="connsiteX6" fmla="*/ 248129 w 474348"/>
                  <a:gd name="connsiteY6" fmla="*/ 647700 h 647700"/>
                  <a:gd name="connsiteX7" fmla="*/ 0 w 474348"/>
                  <a:gd name="connsiteY7" fmla="*/ 647700 h 647700"/>
                  <a:gd name="connsiteX8" fmla="*/ 0 w 474348"/>
                  <a:gd name="connsiteY8" fmla="*/ 647700 h 647700"/>
                  <a:gd name="connsiteX9" fmla="*/ 0 w 474348"/>
                  <a:gd name="connsiteY9" fmla="*/ 195085 h 647700"/>
                  <a:gd name="connsiteX10" fmla="*/ 192704 w 474348"/>
                  <a:gd name="connsiteY10" fmla="*/ 2381 h 647700"/>
                  <a:gd name="connsiteX0" fmla="*/ 192704 w 474348"/>
                  <a:gd name="connsiteY0" fmla="*/ 42862 h 688181"/>
                  <a:gd name="connsiteX1" fmla="*/ 240986 w 474348"/>
                  <a:gd name="connsiteY1" fmla="*/ 0 h 688181"/>
                  <a:gd name="connsiteX2" fmla="*/ 281644 w 474348"/>
                  <a:gd name="connsiteY2" fmla="*/ 42862 h 688181"/>
                  <a:gd name="connsiteX3" fmla="*/ 474348 w 474348"/>
                  <a:gd name="connsiteY3" fmla="*/ 235566 h 688181"/>
                  <a:gd name="connsiteX4" fmla="*/ 474348 w 474348"/>
                  <a:gd name="connsiteY4" fmla="*/ 688181 h 688181"/>
                  <a:gd name="connsiteX5" fmla="*/ 474348 w 474348"/>
                  <a:gd name="connsiteY5" fmla="*/ 688181 h 688181"/>
                  <a:gd name="connsiteX6" fmla="*/ 248129 w 474348"/>
                  <a:gd name="connsiteY6" fmla="*/ 688181 h 688181"/>
                  <a:gd name="connsiteX7" fmla="*/ 0 w 474348"/>
                  <a:gd name="connsiteY7" fmla="*/ 688181 h 688181"/>
                  <a:gd name="connsiteX8" fmla="*/ 0 w 474348"/>
                  <a:gd name="connsiteY8" fmla="*/ 688181 h 688181"/>
                  <a:gd name="connsiteX9" fmla="*/ 0 w 474348"/>
                  <a:gd name="connsiteY9" fmla="*/ 235566 h 688181"/>
                  <a:gd name="connsiteX10" fmla="*/ 192704 w 474348"/>
                  <a:gd name="connsiteY10" fmla="*/ 42862 h 688181"/>
                  <a:gd name="connsiteX0" fmla="*/ 192704 w 474348"/>
                  <a:gd name="connsiteY0" fmla="*/ 23812 h 669131"/>
                  <a:gd name="connsiteX1" fmla="*/ 265690 w 474348"/>
                  <a:gd name="connsiteY1" fmla="*/ 0 h 669131"/>
                  <a:gd name="connsiteX2" fmla="*/ 281644 w 474348"/>
                  <a:gd name="connsiteY2" fmla="*/ 23812 h 669131"/>
                  <a:gd name="connsiteX3" fmla="*/ 474348 w 474348"/>
                  <a:gd name="connsiteY3" fmla="*/ 216516 h 669131"/>
                  <a:gd name="connsiteX4" fmla="*/ 474348 w 474348"/>
                  <a:gd name="connsiteY4" fmla="*/ 669131 h 669131"/>
                  <a:gd name="connsiteX5" fmla="*/ 474348 w 474348"/>
                  <a:gd name="connsiteY5" fmla="*/ 669131 h 669131"/>
                  <a:gd name="connsiteX6" fmla="*/ 248129 w 474348"/>
                  <a:gd name="connsiteY6" fmla="*/ 669131 h 669131"/>
                  <a:gd name="connsiteX7" fmla="*/ 0 w 474348"/>
                  <a:gd name="connsiteY7" fmla="*/ 669131 h 669131"/>
                  <a:gd name="connsiteX8" fmla="*/ 0 w 474348"/>
                  <a:gd name="connsiteY8" fmla="*/ 669131 h 669131"/>
                  <a:gd name="connsiteX9" fmla="*/ 0 w 474348"/>
                  <a:gd name="connsiteY9" fmla="*/ 216516 h 669131"/>
                  <a:gd name="connsiteX10" fmla="*/ 192704 w 474348"/>
                  <a:gd name="connsiteY10" fmla="*/ 23812 h 669131"/>
                  <a:gd name="connsiteX0" fmla="*/ 192704 w 474348"/>
                  <a:gd name="connsiteY0" fmla="*/ 23812 h 669131"/>
                  <a:gd name="connsiteX1" fmla="*/ 265690 w 474348"/>
                  <a:gd name="connsiteY1" fmla="*/ 0 h 669131"/>
                  <a:gd name="connsiteX2" fmla="*/ 281644 w 474348"/>
                  <a:gd name="connsiteY2" fmla="*/ 23812 h 669131"/>
                  <a:gd name="connsiteX3" fmla="*/ 474348 w 474348"/>
                  <a:gd name="connsiteY3" fmla="*/ 216516 h 669131"/>
                  <a:gd name="connsiteX4" fmla="*/ 474348 w 474348"/>
                  <a:gd name="connsiteY4" fmla="*/ 669131 h 669131"/>
                  <a:gd name="connsiteX5" fmla="*/ 474348 w 474348"/>
                  <a:gd name="connsiteY5" fmla="*/ 669131 h 669131"/>
                  <a:gd name="connsiteX6" fmla="*/ 248129 w 474348"/>
                  <a:gd name="connsiteY6" fmla="*/ 669131 h 669131"/>
                  <a:gd name="connsiteX7" fmla="*/ 0 w 474348"/>
                  <a:gd name="connsiteY7" fmla="*/ 669131 h 669131"/>
                  <a:gd name="connsiteX8" fmla="*/ 0 w 474348"/>
                  <a:gd name="connsiteY8" fmla="*/ 669131 h 669131"/>
                  <a:gd name="connsiteX9" fmla="*/ 0 w 474348"/>
                  <a:gd name="connsiteY9" fmla="*/ 216516 h 669131"/>
                  <a:gd name="connsiteX10" fmla="*/ 192704 w 474348"/>
                  <a:gd name="connsiteY10" fmla="*/ 23812 h 669131"/>
                  <a:gd name="connsiteX0" fmla="*/ 192704 w 474348"/>
                  <a:gd name="connsiteY0" fmla="*/ 23812 h 669131"/>
                  <a:gd name="connsiteX1" fmla="*/ 265690 w 474348"/>
                  <a:gd name="connsiteY1" fmla="*/ 0 h 669131"/>
                  <a:gd name="connsiteX2" fmla="*/ 281644 w 474348"/>
                  <a:gd name="connsiteY2" fmla="*/ 23812 h 669131"/>
                  <a:gd name="connsiteX3" fmla="*/ 474348 w 474348"/>
                  <a:gd name="connsiteY3" fmla="*/ 216516 h 669131"/>
                  <a:gd name="connsiteX4" fmla="*/ 474348 w 474348"/>
                  <a:gd name="connsiteY4" fmla="*/ 669131 h 669131"/>
                  <a:gd name="connsiteX5" fmla="*/ 474348 w 474348"/>
                  <a:gd name="connsiteY5" fmla="*/ 669131 h 669131"/>
                  <a:gd name="connsiteX6" fmla="*/ 248129 w 474348"/>
                  <a:gd name="connsiteY6" fmla="*/ 669131 h 669131"/>
                  <a:gd name="connsiteX7" fmla="*/ 0 w 474348"/>
                  <a:gd name="connsiteY7" fmla="*/ 669131 h 669131"/>
                  <a:gd name="connsiteX8" fmla="*/ 0 w 474348"/>
                  <a:gd name="connsiteY8" fmla="*/ 669131 h 669131"/>
                  <a:gd name="connsiteX9" fmla="*/ 0 w 474348"/>
                  <a:gd name="connsiteY9" fmla="*/ 216516 h 669131"/>
                  <a:gd name="connsiteX10" fmla="*/ 192704 w 474348"/>
                  <a:gd name="connsiteY10" fmla="*/ 23812 h 669131"/>
                  <a:gd name="connsiteX0" fmla="*/ 192704 w 474348"/>
                  <a:gd name="connsiteY0" fmla="*/ 23812 h 669131"/>
                  <a:gd name="connsiteX1" fmla="*/ 265690 w 474348"/>
                  <a:gd name="connsiteY1" fmla="*/ 0 h 669131"/>
                  <a:gd name="connsiteX2" fmla="*/ 314250 w 474348"/>
                  <a:gd name="connsiteY2" fmla="*/ 24047 h 669131"/>
                  <a:gd name="connsiteX3" fmla="*/ 474348 w 474348"/>
                  <a:gd name="connsiteY3" fmla="*/ 216516 h 669131"/>
                  <a:gd name="connsiteX4" fmla="*/ 474348 w 474348"/>
                  <a:gd name="connsiteY4" fmla="*/ 669131 h 669131"/>
                  <a:gd name="connsiteX5" fmla="*/ 474348 w 474348"/>
                  <a:gd name="connsiteY5" fmla="*/ 669131 h 669131"/>
                  <a:gd name="connsiteX6" fmla="*/ 248129 w 474348"/>
                  <a:gd name="connsiteY6" fmla="*/ 669131 h 669131"/>
                  <a:gd name="connsiteX7" fmla="*/ 0 w 474348"/>
                  <a:gd name="connsiteY7" fmla="*/ 669131 h 669131"/>
                  <a:gd name="connsiteX8" fmla="*/ 0 w 474348"/>
                  <a:gd name="connsiteY8" fmla="*/ 669131 h 669131"/>
                  <a:gd name="connsiteX9" fmla="*/ 0 w 474348"/>
                  <a:gd name="connsiteY9" fmla="*/ 216516 h 669131"/>
                  <a:gd name="connsiteX10" fmla="*/ 192704 w 474348"/>
                  <a:gd name="connsiteY10" fmla="*/ 23812 h 669131"/>
                  <a:gd name="connsiteX0" fmla="*/ 192704 w 474348"/>
                  <a:gd name="connsiteY0" fmla="*/ 23812 h 669131"/>
                  <a:gd name="connsiteX1" fmla="*/ 265690 w 474348"/>
                  <a:gd name="connsiteY1" fmla="*/ 0 h 669131"/>
                  <a:gd name="connsiteX2" fmla="*/ 314250 w 474348"/>
                  <a:gd name="connsiteY2" fmla="*/ 24047 h 669131"/>
                  <a:gd name="connsiteX3" fmla="*/ 474348 w 474348"/>
                  <a:gd name="connsiteY3" fmla="*/ 216516 h 669131"/>
                  <a:gd name="connsiteX4" fmla="*/ 474348 w 474348"/>
                  <a:gd name="connsiteY4" fmla="*/ 669131 h 669131"/>
                  <a:gd name="connsiteX5" fmla="*/ 474348 w 474348"/>
                  <a:gd name="connsiteY5" fmla="*/ 669131 h 669131"/>
                  <a:gd name="connsiteX6" fmla="*/ 248129 w 474348"/>
                  <a:gd name="connsiteY6" fmla="*/ 669131 h 669131"/>
                  <a:gd name="connsiteX7" fmla="*/ 0 w 474348"/>
                  <a:gd name="connsiteY7" fmla="*/ 669131 h 669131"/>
                  <a:gd name="connsiteX8" fmla="*/ 0 w 474348"/>
                  <a:gd name="connsiteY8" fmla="*/ 669131 h 669131"/>
                  <a:gd name="connsiteX9" fmla="*/ 0 w 474348"/>
                  <a:gd name="connsiteY9" fmla="*/ 216516 h 669131"/>
                  <a:gd name="connsiteX10" fmla="*/ 192704 w 474348"/>
                  <a:gd name="connsiteY10" fmla="*/ 23812 h 669131"/>
                  <a:gd name="connsiteX0" fmla="*/ 192704 w 474348"/>
                  <a:gd name="connsiteY0" fmla="*/ 23812 h 669131"/>
                  <a:gd name="connsiteX1" fmla="*/ 265690 w 474348"/>
                  <a:gd name="connsiteY1" fmla="*/ 0 h 669131"/>
                  <a:gd name="connsiteX2" fmla="*/ 314250 w 474348"/>
                  <a:gd name="connsiteY2" fmla="*/ 24047 h 669131"/>
                  <a:gd name="connsiteX3" fmla="*/ 474348 w 474348"/>
                  <a:gd name="connsiteY3" fmla="*/ 216516 h 669131"/>
                  <a:gd name="connsiteX4" fmla="*/ 474348 w 474348"/>
                  <a:gd name="connsiteY4" fmla="*/ 669131 h 669131"/>
                  <a:gd name="connsiteX5" fmla="*/ 474348 w 474348"/>
                  <a:gd name="connsiteY5" fmla="*/ 669131 h 669131"/>
                  <a:gd name="connsiteX6" fmla="*/ 248129 w 474348"/>
                  <a:gd name="connsiteY6" fmla="*/ 669131 h 669131"/>
                  <a:gd name="connsiteX7" fmla="*/ 0 w 474348"/>
                  <a:gd name="connsiteY7" fmla="*/ 669131 h 669131"/>
                  <a:gd name="connsiteX8" fmla="*/ 0 w 474348"/>
                  <a:gd name="connsiteY8" fmla="*/ 669131 h 669131"/>
                  <a:gd name="connsiteX9" fmla="*/ 0 w 474348"/>
                  <a:gd name="connsiteY9" fmla="*/ 216516 h 669131"/>
                  <a:gd name="connsiteX10" fmla="*/ 192704 w 474348"/>
                  <a:gd name="connsiteY10" fmla="*/ 23812 h 669131"/>
                  <a:gd name="connsiteX0" fmla="*/ 174282 w 474348"/>
                  <a:gd name="connsiteY0" fmla="*/ 23596 h 669131"/>
                  <a:gd name="connsiteX1" fmla="*/ 265690 w 474348"/>
                  <a:gd name="connsiteY1" fmla="*/ 0 h 669131"/>
                  <a:gd name="connsiteX2" fmla="*/ 314250 w 474348"/>
                  <a:gd name="connsiteY2" fmla="*/ 24047 h 669131"/>
                  <a:gd name="connsiteX3" fmla="*/ 474348 w 474348"/>
                  <a:gd name="connsiteY3" fmla="*/ 216516 h 669131"/>
                  <a:gd name="connsiteX4" fmla="*/ 474348 w 474348"/>
                  <a:gd name="connsiteY4" fmla="*/ 669131 h 669131"/>
                  <a:gd name="connsiteX5" fmla="*/ 474348 w 474348"/>
                  <a:gd name="connsiteY5" fmla="*/ 669131 h 669131"/>
                  <a:gd name="connsiteX6" fmla="*/ 248129 w 474348"/>
                  <a:gd name="connsiteY6" fmla="*/ 669131 h 669131"/>
                  <a:gd name="connsiteX7" fmla="*/ 0 w 474348"/>
                  <a:gd name="connsiteY7" fmla="*/ 669131 h 669131"/>
                  <a:gd name="connsiteX8" fmla="*/ 0 w 474348"/>
                  <a:gd name="connsiteY8" fmla="*/ 669131 h 669131"/>
                  <a:gd name="connsiteX9" fmla="*/ 0 w 474348"/>
                  <a:gd name="connsiteY9" fmla="*/ 216516 h 669131"/>
                  <a:gd name="connsiteX10" fmla="*/ 174282 w 474348"/>
                  <a:gd name="connsiteY10" fmla="*/ 23596 h 669131"/>
                  <a:gd name="connsiteX0" fmla="*/ 174282 w 474348"/>
                  <a:gd name="connsiteY0" fmla="*/ 24619 h 670154"/>
                  <a:gd name="connsiteX1" fmla="*/ 216121 w 474348"/>
                  <a:gd name="connsiteY1" fmla="*/ 0 h 670154"/>
                  <a:gd name="connsiteX2" fmla="*/ 314250 w 474348"/>
                  <a:gd name="connsiteY2" fmla="*/ 25070 h 670154"/>
                  <a:gd name="connsiteX3" fmla="*/ 474348 w 474348"/>
                  <a:gd name="connsiteY3" fmla="*/ 217539 h 670154"/>
                  <a:gd name="connsiteX4" fmla="*/ 474348 w 474348"/>
                  <a:gd name="connsiteY4" fmla="*/ 670154 h 670154"/>
                  <a:gd name="connsiteX5" fmla="*/ 474348 w 474348"/>
                  <a:gd name="connsiteY5" fmla="*/ 670154 h 670154"/>
                  <a:gd name="connsiteX6" fmla="*/ 248129 w 474348"/>
                  <a:gd name="connsiteY6" fmla="*/ 670154 h 670154"/>
                  <a:gd name="connsiteX7" fmla="*/ 0 w 474348"/>
                  <a:gd name="connsiteY7" fmla="*/ 670154 h 670154"/>
                  <a:gd name="connsiteX8" fmla="*/ 0 w 474348"/>
                  <a:gd name="connsiteY8" fmla="*/ 670154 h 670154"/>
                  <a:gd name="connsiteX9" fmla="*/ 0 w 474348"/>
                  <a:gd name="connsiteY9" fmla="*/ 217539 h 670154"/>
                  <a:gd name="connsiteX10" fmla="*/ 174282 w 474348"/>
                  <a:gd name="connsiteY10" fmla="*/ 24619 h 670154"/>
                  <a:gd name="connsiteX0" fmla="*/ 174282 w 474348"/>
                  <a:gd name="connsiteY0" fmla="*/ 24619 h 670154"/>
                  <a:gd name="connsiteX1" fmla="*/ 216121 w 474348"/>
                  <a:gd name="connsiteY1" fmla="*/ 0 h 670154"/>
                  <a:gd name="connsiteX2" fmla="*/ 314250 w 474348"/>
                  <a:gd name="connsiteY2" fmla="*/ 25070 h 670154"/>
                  <a:gd name="connsiteX3" fmla="*/ 474348 w 474348"/>
                  <a:gd name="connsiteY3" fmla="*/ 217539 h 670154"/>
                  <a:gd name="connsiteX4" fmla="*/ 474348 w 474348"/>
                  <a:gd name="connsiteY4" fmla="*/ 670154 h 670154"/>
                  <a:gd name="connsiteX5" fmla="*/ 474348 w 474348"/>
                  <a:gd name="connsiteY5" fmla="*/ 670154 h 670154"/>
                  <a:gd name="connsiteX6" fmla="*/ 248129 w 474348"/>
                  <a:gd name="connsiteY6" fmla="*/ 670154 h 670154"/>
                  <a:gd name="connsiteX7" fmla="*/ 0 w 474348"/>
                  <a:gd name="connsiteY7" fmla="*/ 670154 h 670154"/>
                  <a:gd name="connsiteX8" fmla="*/ 0 w 474348"/>
                  <a:gd name="connsiteY8" fmla="*/ 670154 h 670154"/>
                  <a:gd name="connsiteX9" fmla="*/ 0 w 474348"/>
                  <a:gd name="connsiteY9" fmla="*/ 217539 h 670154"/>
                  <a:gd name="connsiteX10" fmla="*/ 174282 w 474348"/>
                  <a:gd name="connsiteY10" fmla="*/ 24619 h 670154"/>
                  <a:gd name="connsiteX0" fmla="*/ 174282 w 474348"/>
                  <a:gd name="connsiteY0" fmla="*/ 24619 h 670154"/>
                  <a:gd name="connsiteX1" fmla="*/ 216121 w 474348"/>
                  <a:gd name="connsiteY1" fmla="*/ 0 h 670154"/>
                  <a:gd name="connsiteX2" fmla="*/ 314250 w 474348"/>
                  <a:gd name="connsiteY2" fmla="*/ 25070 h 670154"/>
                  <a:gd name="connsiteX3" fmla="*/ 474348 w 474348"/>
                  <a:gd name="connsiteY3" fmla="*/ 217539 h 670154"/>
                  <a:gd name="connsiteX4" fmla="*/ 474348 w 474348"/>
                  <a:gd name="connsiteY4" fmla="*/ 670154 h 670154"/>
                  <a:gd name="connsiteX5" fmla="*/ 474348 w 474348"/>
                  <a:gd name="connsiteY5" fmla="*/ 670154 h 670154"/>
                  <a:gd name="connsiteX6" fmla="*/ 248129 w 474348"/>
                  <a:gd name="connsiteY6" fmla="*/ 670154 h 670154"/>
                  <a:gd name="connsiteX7" fmla="*/ 0 w 474348"/>
                  <a:gd name="connsiteY7" fmla="*/ 670154 h 670154"/>
                  <a:gd name="connsiteX8" fmla="*/ 0 w 474348"/>
                  <a:gd name="connsiteY8" fmla="*/ 670154 h 670154"/>
                  <a:gd name="connsiteX9" fmla="*/ 0 w 474348"/>
                  <a:gd name="connsiteY9" fmla="*/ 217539 h 670154"/>
                  <a:gd name="connsiteX10" fmla="*/ 174282 w 474348"/>
                  <a:gd name="connsiteY10" fmla="*/ 24619 h 670154"/>
                  <a:gd name="connsiteX0" fmla="*/ 174282 w 474348"/>
                  <a:gd name="connsiteY0" fmla="*/ 24619 h 670154"/>
                  <a:gd name="connsiteX1" fmla="*/ 216121 w 474348"/>
                  <a:gd name="connsiteY1" fmla="*/ 0 h 670154"/>
                  <a:gd name="connsiteX2" fmla="*/ 314250 w 474348"/>
                  <a:gd name="connsiteY2" fmla="*/ 25070 h 670154"/>
                  <a:gd name="connsiteX3" fmla="*/ 474348 w 474348"/>
                  <a:gd name="connsiteY3" fmla="*/ 217539 h 670154"/>
                  <a:gd name="connsiteX4" fmla="*/ 474348 w 474348"/>
                  <a:gd name="connsiteY4" fmla="*/ 670154 h 670154"/>
                  <a:gd name="connsiteX5" fmla="*/ 474348 w 474348"/>
                  <a:gd name="connsiteY5" fmla="*/ 670154 h 670154"/>
                  <a:gd name="connsiteX6" fmla="*/ 248129 w 474348"/>
                  <a:gd name="connsiteY6" fmla="*/ 670154 h 670154"/>
                  <a:gd name="connsiteX7" fmla="*/ 0 w 474348"/>
                  <a:gd name="connsiteY7" fmla="*/ 670154 h 670154"/>
                  <a:gd name="connsiteX8" fmla="*/ 0 w 474348"/>
                  <a:gd name="connsiteY8" fmla="*/ 670154 h 670154"/>
                  <a:gd name="connsiteX9" fmla="*/ 0 w 474348"/>
                  <a:gd name="connsiteY9" fmla="*/ 217539 h 670154"/>
                  <a:gd name="connsiteX10" fmla="*/ 174282 w 474348"/>
                  <a:gd name="connsiteY10" fmla="*/ 24619 h 670154"/>
                  <a:gd name="connsiteX0" fmla="*/ 148557 w 474348"/>
                  <a:gd name="connsiteY0" fmla="*/ 27264 h 670154"/>
                  <a:gd name="connsiteX1" fmla="*/ 216121 w 474348"/>
                  <a:gd name="connsiteY1" fmla="*/ 0 h 670154"/>
                  <a:gd name="connsiteX2" fmla="*/ 314250 w 474348"/>
                  <a:gd name="connsiteY2" fmla="*/ 25070 h 670154"/>
                  <a:gd name="connsiteX3" fmla="*/ 474348 w 474348"/>
                  <a:gd name="connsiteY3" fmla="*/ 217539 h 670154"/>
                  <a:gd name="connsiteX4" fmla="*/ 474348 w 474348"/>
                  <a:gd name="connsiteY4" fmla="*/ 670154 h 670154"/>
                  <a:gd name="connsiteX5" fmla="*/ 474348 w 474348"/>
                  <a:gd name="connsiteY5" fmla="*/ 670154 h 670154"/>
                  <a:gd name="connsiteX6" fmla="*/ 248129 w 474348"/>
                  <a:gd name="connsiteY6" fmla="*/ 670154 h 670154"/>
                  <a:gd name="connsiteX7" fmla="*/ 0 w 474348"/>
                  <a:gd name="connsiteY7" fmla="*/ 670154 h 670154"/>
                  <a:gd name="connsiteX8" fmla="*/ 0 w 474348"/>
                  <a:gd name="connsiteY8" fmla="*/ 670154 h 670154"/>
                  <a:gd name="connsiteX9" fmla="*/ 0 w 474348"/>
                  <a:gd name="connsiteY9" fmla="*/ 217539 h 670154"/>
                  <a:gd name="connsiteX10" fmla="*/ 148557 w 474348"/>
                  <a:gd name="connsiteY10" fmla="*/ 27264 h 670154"/>
                  <a:gd name="connsiteX0" fmla="*/ 148557 w 474348"/>
                  <a:gd name="connsiteY0" fmla="*/ 20950 h 663840"/>
                  <a:gd name="connsiteX1" fmla="*/ 214238 w 474348"/>
                  <a:gd name="connsiteY1" fmla="*/ 0 h 663840"/>
                  <a:gd name="connsiteX2" fmla="*/ 314250 w 474348"/>
                  <a:gd name="connsiteY2" fmla="*/ 18756 h 663840"/>
                  <a:gd name="connsiteX3" fmla="*/ 474348 w 474348"/>
                  <a:gd name="connsiteY3" fmla="*/ 211225 h 663840"/>
                  <a:gd name="connsiteX4" fmla="*/ 474348 w 474348"/>
                  <a:gd name="connsiteY4" fmla="*/ 663840 h 663840"/>
                  <a:gd name="connsiteX5" fmla="*/ 474348 w 474348"/>
                  <a:gd name="connsiteY5" fmla="*/ 663840 h 663840"/>
                  <a:gd name="connsiteX6" fmla="*/ 248129 w 474348"/>
                  <a:gd name="connsiteY6" fmla="*/ 663840 h 663840"/>
                  <a:gd name="connsiteX7" fmla="*/ 0 w 474348"/>
                  <a:gd name="connsiteY7" fmla="*/ 663840 h 663840"/>
                  <a:gd name="connsiteX8" fmla="*/ 0 w 474348"/>
                  <a:gd name="connsiteY8" fmla="*/ 663840 h 663840"/>
                  <a:gd name="connsiteX9" fmla="*/ 0 w 474348"/>
                  <a:gd name="connsiteY9" fmla="*/ 211225 h 663840"/>
                  <a:gd name="connsiteX10" fmla="*/ 148557 w 474348"/>
                  <a:gd name="connsiteY10" fmla="*/ 20950 h 663840"/>
                  <a:gd name="connsiteX0" fmla="*/ 148557 w 474348"/>
                  <a:gd name="connsiteY0" fmla="*/ 20950 h 663840"/>
                  <a:gd name="connsiteX1" fmla="*/ 214238 w 474348"/>
                  <a:gd name="connsiteY1" fmla="*/ 0 h 663840"/>
                  <a:gd name="connsiteX2" fmla="*/ 314250 w 474348"/>
                  <a:gd name="connsiteY2" fmla="*/ 18756 h 663840"/>
                  <a:gd name="connsiteX3" fmla="*/ 474348 w 474348"/>
                  <a:gd name="connsiteY3" fmla="*/ 211225 h 663840"/>
                  <a:gd name="connsiteX4" fmla="*/ 474348 w 474348"/>
                  <a:gd name="connsiteY4" fmla="*/ 663840 h 663840"/>
                  <a:gd name="connsiteX5" fmla="*/ 474348 w 474348"/>
                  <a:gd name="connsiteY5" fmla="*/ 663840 h 663840"/>
                  <a:gd name="connsiteX6" fmla="*/ 248129 w 474348"/>
                  <a:gd name="connsiteY6" fmla="*/ 663840 h 663840"/>
                  <a:gd name="connsiteX7" fmla="*/ 0 w 474348"/>
                  <a:gd name="connsiteY7" fmla="*/ 663840 h 663840"/>
                  <a:gd name="connsiteX8" fmla="*/ 0 w 474348"/>
                  <a:gd name="connsiteY8" fmla="*/ 663840 h 663840"/>
                  <a:gd name="connsiteX9" fmla="*/ 0 w 474348"/>
                  <a:gd name="connsiteY9" fmla="*/ 211225 h 663840"/>
                  <a:gd name="connsiteX10" fmla="*/ 148557 w 474348"/>
                  <a:gd name="connsiteY10" fmla="*/ 20950 h 663840"/>
                  <a:gd name="connsiteX0" fmla="*/ 148557 w 474348"/>
                  <a:gd name="connsiteY0" fmla="*/ 20950 h 663840"/>
                  <a:gd name="connsiteX1" fmla="*/ 214238 w 474348"/>
                  <a:gd name="connsiteY1" fmla="*/ 0 h 663840"/>
                  <a:gd name="connsiteX2" fmla="*/ 314250 w 474348"/>
                  <a:gd name="connsiteY2" fmla="*/ 18756 h 663840"/>
                  <a:gd name="connsiteX3" fmla="*/ 474348 w 474348"/>
                  <a:gd name="connsiteY3" fmla="*/ 211225 h 663840"/>
                  <a:gd name="connsiteX4" fmla="*/ 474348 w 474348"/>
                  <a:gd name="connsiteY4" fmla="*/ 663840 h 663840"/>
                  <a:gd name="connsiteX5" fmla="*/ 474348 w 474348"/>
                  <a:gd name="connsiteY5" fmla="*/ 663840 h 663840"/>
                  <a:gd name="connsiteX6" fmla="*/ 248129 w 474348"/>
                  <a:gd name="connsiteY6" fmla="*/ 663840 h 663840"/>
                  <a:gd name="connsiteX7" fmla="*/ 0 w 474348"/>
                  <a:gd name="connsiteY7" fmla="*/ 663840 h 663840"/>
                  <a:gd name="connsiteX8" fmla="*/ 0 w 474348"/>
                  <a:gd name="connsiteY8" fmla="*/ 663840 h 663840"/>
                  <a:gd name="connsiteX9" fmla="*/ 0 w 474348"/>
                  <a:gd name="connsiteY9" fmla="*/ 211225 h 663840"/>
                  <a:gd name="connsiteX10" fmla="*/ 148557 w 474348"/>
                  <a:gd name="connsiteY10" fmla="*/ 20950 h 663840"/>
                  <a:gd name="connsiteX0" fmla="*/ 144178 w 474348"/>
                  <a:gd name="connsiteY0" fmla="*/ 22667 h 663840"/>
                  <a:gd name="connsiteX1" fmla="*/ 214238 w 474348"/>
                  <a:gd name="connsiteY1" fmla="*/ 0 h 663840"/>
                  <a:gd name="connsiteX2" fmla="*/ 314250 w 474348"/>
                  <a:gd name="connsiteY2" fmla="*/ 18756 h 663840"/>
                  <a:gd name="connsiteX3" fmla="*/ 474348 w 474348"/>
                  <a:gd name="connsiteY3" fmla="*/ 211225 h 663840"/>
                  <a:gd name="connsiteX4" fmla="*/ 474348 w 474348"/>
                  <a:gd name="connsiteY4" fmla="*/ 663840 h 663840"/>
                  <a:gd name="connsiteX5" fmla="*/ 474348 w 474348"/>
                  <a:gd name="connsiteY5" fmla="*/ 663840 h 663840"/>
                  <a:gd name="connsiteX6" fmla="*/ 248129 w 474348"/>
                  <a:gd name="connsiteY6" fmla="*/ 663840 h 663840"/>
                  <a:gd name="connsiteX7" fmla="*/ 0 w 474348"/>
                  <a:gd name="connsiteY7" fmla="*/ 663840 h 663840"/>
                  <a:gd name="connsiteX8" fmla="*/ 0 w 474348"/>
                  <a:gd name="connsiteY8" fmla="*/ 663840 h 663840"/>
                  <a:gd name="connsiteX9" fmla="*/ 0 w 474348"/>
                  <a:gd name="connsiteY9" fmla="*/ 211225 h 663840"/>
                  <a:gd name="connsiteX10" fmla="*/ 144178 w 474348"/>
                  <a:gd name="connsiteY10" fmla="*/ 22667 h 663840"/>
                  <a:gd name="connsiteX0" fmla="*/ 144178 w 474348"/>
                  <a:gd name="connsiteY0" fmla="*/ 22667 h 663840"/>
                  <a:gd name="connsiteX1" fmla="*/ 214238 w 474348"/>
                  <a:gd name="connsiteY1" fmla="*/ 0 h 663840"/>
                  <a:gd name="connsiteX2" fmla="*/ 314250 w 474348"/>
                  <a:gd name="connsiteY2" fmla="*/ 18756 h 663840"/>
                  <a:gd name="connsiteX3" fmla="*/ 474348 w 474348"/>
                  <a:gd name="connsiteY3" fmla="*/ 211225 h 663840"/>
                  <a:gd name="connsiteX4" fmla="*/ 474348 w 474348"/>
                  <a:gd name="connsiteY4" fmla="*/ 663840 h 663840"/>
                  <a:gd name="connsiteX5" fmla="*/ 474348 w 474348"/>
                  <a:gd name="connsiteY5" fmla="*/ 663840 h 663840"/>
                  <a:gd name="connsiteX6" fmla="*/ 248129 w 474348"/>
                  <a:gd name="connsiteY6" fmla="*/ 663840 h 663840"/>
                  <a:gd name="connsiteX7" fmla="*/ 0 w 474348"/>
                  <a:gd name="connsiteY7" fmla="*/ 663840 h 663840"/>
                  <a:gd name="connsiteX8" fmla="*/ 0 w 474348"/>
                  <a:gd name="connsiteY8" fmla="*/ 663840 h 663840"/>
                  <a:gd name="connsiteX9" fmla="*/ 0 w 474348"/>
                  <a:gd name="connsiteY9" fmla="*/ 211225 h 663840"/>
                  <a:gd name="connsiteX10" fmla="*/ 144178 w 474348"/>
                  <a:gd name="connsiteY10" fmla="*/ 22667 h 663840"/>
                  <a:gd name="connsiteX0" fmla="*/ 144178 w 474348"/>
                  <a:gd name="connsiteY0" fmla="*/ 22667 h 663840"/>
                  <a:gd name="connsiteX1" fmla="*/ 214238 w 474348"/>
                  <a:gd name="connsiteY1" fmla="*/ 0 h 663840"/>
                  <a:gd name="connsiteX2" fmla="*/ 314250 w 474348"/>
                  <a:gd name="connsiteY2" fmla="*/ 18756 h 663840"/>
                  <a:gd name="connsiteX3" fmla="*/ 474348 w 474348"/>
                  <a:gd name="connsiteY3" fmla="*/ 211225 h 663840"/>
                  <a:gd name="connsiteX4" fmla="*/ 474348 w 474348"/>
                  <a:gd name="connsiteY4" fmla="*/ 663840 h 663840"/>
                  <a:gd name="connsiteX5" fmla="*/ 474348 w 474348"/>
                  <a:gd name="connsiteY5" fmla="*/ 663840 h 663840"/>
                  <a:gd name="connsiteX6" fmla="*/ 248129 w 474348"/>
                  <a:gd name="connsiteY6" fmla="*/ 663840 h 663840"/>
                  <a:gd name="connsiteX7" fmla="*/ 0 w 474348"/>
                  <a:gd name="connsiteY7" fmla="*/ 663840 h 663840"/>
                  <a:gd name="connsiteX8" fmla="*/ 0 w 474348"/>
                  <a:gd name="connsiteY8" fmla="*/ 663840 h 663840"/>
                  <a:gd name="connsiteX9" fmla="*/ 0 w 474348"/>
                  <a:gd name="connsiteY9" fmla="*/ 211225 h 663840"/>
                  <a:gd name="connsiteX10" fmla="*/ 144178 w 474348"/>
                  <a:gd name="connsiteY10" fmla="*/ 22667 h 663840"/>
                  <a:gd name="connsiteX0" fmla="*/ 144178 w 474348"/>
                  <a:gd name="connsiteY0" fmla="*/ 22667 h 663840"/>
                  <a:gd name="connsiteX1" fmla="*/ 214238 w 474348"/>
                  <a:gd name="connsiteY1" fmla="*/ 0 h 663840"/>
                  <a:gd name="connsiteX2" fmla="*/ 314250 w 474348"/>
                  <a:gd name="connsiteY2" fmla="*/ 18756 h 663840"/>
                  <a:gd name="connsiteX3" fmla="*/ 474348 w 474348"/>
                  <a:gd name="connsiteY3" fmla="*/ 211225 h 663840"/>
                  <a:gd name="connsiteX4" fmla="*/ 474348 w 474348"/>
                  <a:gd name="connsiteY4" fmla="*/ 663840 h 663840"/>
                  <a:gd name="connsiteX5" fmla="*/ 474348 w 474348"/>
                  <a:gd name="connsiteY5" fmla="*/ 663840 h 663840"/>
                  <a:gd name="connsiteX6" fmla="*/ 248129 w 474348"/>
                  <a:gd name="connsiteY6" fmla="*/ 663840 h 663840"/>
                  <a:gd name="connsiteX7" fmla="*/ 0 w 474348"/>
                  <a:gd name="connsiteY7" fmla="*/ 663840 h 663840"/>
                  <a:gd name="connsiteX8" fmla="*/ 0 w 474348"/>
                  <a:gd name="connsiteY8" fmla="*/ 663840 h 663840"/>
                  <a:gd name="connsiteX9" fmla="*/ 0 w 474348"/>
                  <a:gd name="connsiteY9" fmla="*/ 211225 h 663840"/>
                  <a:gd name="connsiteX10" fmla="*/ 144178 w 474348"/>
                  <a:gd name="connsiteY10" fmla="*/ 22667 h 6638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74348" h="663840">
                    <a:moveTo>
                      <a:pt x="144178" y="22667"/>
                    </a:moveTo>
                    <a:cubicBezTo>
                      <a:pt x="211732" y="-970"/>
                      <a:pt x="181869" y="7990"/>
                      <a:pt x="214238" y="0"/>
                    </a:cubicBezTo>
                    <a:cubicBezTo>
                      <a:pt x="259321" y="7224"/>
                      <a:pt x="221757" y="369"/>
                      <a:pt x="314250" y="18756"/>
                    </a:cubicBezTo>
                    <a:cubicBezTo>
                      <a:pt x="399877" y="51074"/>
                      <a:pt x="474348" y="104798"/>
                      <a:pt x="474348" y="211225"/>
                    </a:cubicBezTo>
                    <a:lnTo>
                      <a:pt x="474348" y="663840"/>
                    </a:lnTo>
                    <a:lnTo>
                      <a:pt x="474348" y="663840"/>
                    </a:lnTo>
                    <a:lnTo>
                      <a:pt x="248129" y="663840"/>
                    </a:lnTo>
                    <a:lnTo>
                      <a:pt x="0" y="663840"/>
                    </a:lnTo>
                    <a:lnTo>
                      <a:pt x="0" y="663840"/>
                    </a:lnTo>
                    <a:lnTo>
                      <a:pt x="0" y="211225"/>
                    </a:lnTo>
                    <a:cubicBezTo>
                      <a:pt x="0" y="104798"/>
                      <a:pt x="80700" y="56026"/>
                      <a:pt x="144178" y="22667"/>
                    </a:cubicBezTo>
                    <a:close/>
                  </a:path>
                </a:pathLst>
              </a:cu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70" name="Round Same Side Corner Rectangle 11"/>
              <p:cNvSpPr/>
              <p:nvPr/>
            </p:nvSpPr>
            <p:spPr>
              <a:xfrm rot="16200000">
                <a:off x="6912899" y="2339184"/>
                <a:ext cx="101418" cy="1051827"/>
              </a:xfrm>
              <a:custGeom>
                <a:avLst/>
                <a:gdLst>
                  <a:gd name="connsiteX0" fmla="*/ 192704 w 474348"/>
                  <a:gd name="connsiteY0" fmla="*/ 0 h 645319"/>
                  <a:gd name="connsiteX1" fmla="*/ 281644 w 474348"/>
                  <a:gd name="connsiteY1" fmla="*/ 0 h 645319"/>
                  <a:gd name="connsiteX2" fmla="*/ 474348 w 474348"/>
                  <a:gd name="connsiteY2" fmla="*/ 192704 h 645319"/>
                  <a:gd name="connsiteX3" fmla="*/ 474348 w 474348"/>
                  <a:gd name="connsiteY3" fmla="*/ 645319 h 645319"/>
                  <a:gd name="connsiteX4" fmla="*/ 474348 w 474348"/>
                  <a:gd name="connsiteY4" fmla="*/ 645319 h 645319"/>
                  <a:gd name="connsiteX5" fmla="*/ 0 w 474348"/>
                  <a:gd name="connsiteY5" fmla="*/ 645319 h 645319"/>
                  <a:gd name="connsiteX6" fmla="*/ 0 w 474348"/>
                  <a:gd name="connsiteY6" fmla="*/ 645319 h 645319"/>
                  <a:gd name="connsiteX7" fmla="*/ 0 w 474348"/>
                  <a:gd name="connsiteY7" fmla="*/ 192704 h 645319"/>
                  <a:gd name="connsiteX8" fmla="*/ 192704 w 474348"/>
                  <a:gd name="connsiteY8" fmla="*/ 0 h 645319"/>
                  <a:gd name="connsiteX0" fmla="*/ 192704 w 474348"/>
                  <a:gd name="connsiteY0" fmla="*/ 0 h 645319"/>
                  <a:gd name="connsiteX1" fmla="*/ 281644 w 474348"/>
                  <a:gd name="connsiteY1" fmla="*/ 0 h 645319"/>
                  <a:gd name="connsiteX2" fmla="*/ 474348 w 474348"/>
                  <a:gd name="connsiteY2" fmla="*/ 192704 h 645319"/>
                  <a:gd name="connsiteX3" fmla="*/ 474348 w 474348"/>
                  <a:gd name="connsiteY3" fmla="*/ 645319 h 645319"/>
                  <a:gd name="connsiteX4" fmla="*/ 474348 w 474348"/>
                  <a:gd name="connsiteY4" fmla="*/ 645319 h 645319"/>
                  <a:gd name="connsiteX5" fmla="*/ 248129 w 474348"/>
                  <a:gd name="connsiteY5" fmla="*/ 645319 h 645319"/>
                  <a:gd name="connsiteX6" fmla="*/ 0 w 474348"/>
                  <a:gd name="connsiteY6" fmla="*/ 645319 h 645319"/>
                  <a:gd name="connsiteX7" fmla="*/ 0 w 474348"/>
                  <a:gd name="connsiteY7" fmla="*/ 645319 h 645319"/>
                  <a:gd name="connsiteX8" fmla="*/ 0 w 474348"/>
                  <a:gd name="connsiteY8" fmla="*/ 192704 h 645319"/>
                  <a:gd name="connsiteX9" fmla="*/ 192704 w 474348"/>
                  <a:gd name="connsiteY9" fmla="*/ 0 h 645319"/>
                  <a:gd name="connsiteX0" fmla="*/ 192704 w 474348"/>
                  <a:gd name="connsiteY0" fmla="*/ 2381 h 647700"/>
                  <a:gd name="connsiteX1" fmla="*/ 240986 w 474348"/>
                  <a:gd name="connsiteY1" fmla="*/ 0 h 647700"/>
                  <a:gd name="connsiteX2" fmla="*/ 281644 w 474348"/>
                  <a:gd name="connsiteY2" fmla="*/ 2381 h 647700"/>
                  <a:gd name="connsiteX3" fmla="*/ 474348 w 474348"/>
                  <a:gd name="connsiteY3" fmla="*/ 195085 h 647700"/>
                  <a:gd name="connsiteX4" fmla="*/ 474348 w 474348"/>
                  <a:gd name="connsiteY4" fmla="*/ 647700 h 647700"/>
                  <a:gd name="connsiteX5" fmla="*/ 474348 w 474348"/>
                  <a:gd name="connsiteY5" fmla="*/ 647700 h 647700"/>
                  <a:gd name="connsiteX6" fmla="*/ 248129 w 474348"/>
                  <a:gd name="connsiteY6" fmla="*/ 647700 h 647700"/>
                  <a:gd name="connsiteX7" fmla="*/ 0 w 474348"/>
                  <a:gd name="connsiteY7" fmla="*/ 647700 h 647700"/>
                  <a:gd name="connsiteX8" fmla="*/ 0 w 474348"/>
                  <a:gd name="connsiteY8" fmla="*/ 647700 h 647700"/>
                  <a:gd name="connsiteX9" fmla="*/ 0 w 474348"/>
                  <a:gd name="connsiteY9" fmla="*/ 195085 h 647700"/>
                  <a:gd name="connsiteX10" fmla="*/ 192704 w 474348"/>
                  <a:gd name="connsiteY10" fmla="*/ 2381 h 647700"/>
                  <a:gd name="connsiteX0" fmla="*/ 192704 w 474348"/>
                  <a:gd name="connsiteY0" fmla="*/ 42862 h 688181"/>
                  <a:gd name="connsiteX1" fmla="*/ 240986 w 474348"/>
                  <a:gd name="connsiteY1" fmla="*/ 0 h 688181"/>
                  <a:gd name="connsiteX2" fmla="*/ 281644 w 474348"/>
                  <a:gd name="connsiteY2" fmla="*/ 42862 h 688181"/>
                  <a:gd name="connsiteX3" fmla="*/ 474348 w 474348"/>
                  <a:gd name="connsiteY3" fmla="*/ 235566 h 688181"/>
                  <a:gd name="connsiteX4" fmla="*/ 474348 w 474348"/>
                  <a:gd name="connsiteY4" fmla="*/ 688181 h 688181"/>
                  <a:gd name="connsiteX5" fmla="*/ 474348 w 474348"/>
                  <a:gd name="connsiteY5" fmla="*/ 688181 h 688181"/>
                  <a:gd name="connsiteX6" fmla="*/ 248129 w 474348"/>
                  <a:gd name="connsiteY6" fmla="*/ 688181 h 688181"/>
                  <a:gd name="connsiteX7" fmla="*/ 0 w 474348"/>
                  <a:gd name="connsiteY7" fmla="*/ 688181 h 688181"/>
                  <a:gd name="connsiteX8" fmla="*/ 0 w 474348"/>
                  <a:gd name="connsiteY8" fmla="*/ 688181 h 688181"/>
                  <a:gd name="connsiteX9" fmla="*/ 0 w 474348"/>
                  <a:gd name="connsiteY9" fmla="*/ 235566 h 688181"/>
                  <a:gd name="connsiteX10" fmla="*/ 192704 w 474348"/>
                  <a:gd name="connsiteY10" fmla="*/ 42862 h 688181"/>
                  <a:gd name="connsiteX0" fmla="*/ 192704 w 474348"/>
                  <a:gd name="connsiteY0" fmla="*/ 23812 h 669131"/>
                  <a:gd name="connsiteX1" fmla="*/ 265690 w 474348"/>
                  <a:gd name="connsiteY1" fmla="*/ 0 h 669131"/>
                  <a:gd name="connsiteX2" fmla="*/ 281644 w 474348"/>
                  <a:gd name="connsiteY2" fmla="*/ 23812 h 669131"/>
                  <a:gd name="connsiteX3" fmla="*/ 474348 w 474348"/>
                  <a:gd name="connsiteY3" fmla="*/ 216516 h 669131"/>
                  <a:gd name="connsiteX4" fmla="*/ 474348 w 474348"/>
                  <a:gd name="connsiteY4" fmla="*/ 669131 h 669131"/>
                  <a:gd name="connsiteX5" fmla="*/ 474348 w 474348"/>
                  <a:gd name="connsiteY5" fmla="*/ 669131 h 669131"/>
                  <a:gd name="connsiteX6" fmla="*/ 248129 w 474348"/>
                  <a:gd name="connsiteY6" fmla="*/ 669131 h 669131"/>
                  <a:gd name="connsiteX7" fmla="*/ 0 w 474348"/>
                  <a:gd name="connsiteY7" fmla="*/ 669131 h 669131"/>
                  <a:gd name="connsiteX8" fmla="*/ 0 w 474348"/>
                  <a:gd name="connsiteY8" fmla="*/ 669131 h 669131"/>
                  <a:gd name="connsiteX9" fmla="*/ 0 w 474348"/>
                  <a:gd name="connsiteY9" fmla="*/ 216516 h 669131"/>
                  <a:gd name="connsiteX10" fmla="*/ 192704 w 474348"/>
                  <a:gd name="connsiteY10" fmla="*/ 23812 h 669131"/>
                  <a:gd name="connsiteX0" fmla="*/ 192704 w 474348"/>
                  <a:gd name="connsiteY0" fmla="*/ 23812 h 669131"/>
                  <a:gd name="connsiteX1" fmla="*/ 265690 w 474348"/>
                  <a:gd name="connsiteY1" fmla="*/ 0 h 669131"/>
                  <a:gd name="connsiteX2" fmla="*/ 281644 w 474348"/>
                  <a:gd name="connsiteY2" fmla="*/ 23812 h 669131"/>
                  <a:gd name="connsiteX3" fmla="*/ 474348 w 474348"/>
                  <a:gd name="connsiteY3" fmla="*/ 216516 h 669131"/>
                  <a:gd name="connsiteX4" fmla="*/ 474348 w 474348"/>
                  <a:gd name="connsiteY4" fmla="*/ 669131 h 669131"/>
                  <a:gd name="connsiteX5" fmla="*/ 474348 w 474348"/>
                  <a:gd name="connsiteY5" fmla="*/ 669131 h 669131"/>
                  <a:gd name="connsiteX6" fmla="*/ 248129 w 474348"/>
                  <a:gd name="connsiteY6" fmla="*/ 669131 h 669131"/>
                  <a:gd name="connsiteX7" fmla="*/ 0 w 474348"/>
                  <a:gd name="connsiteY7" fmla="*/ 669131 h 669131"/>
                  <a:gd name="connsiteX8" fmla="*/ 0 w 474348"/>
                  <a:gd name="connsiteY8" fmla="*/ 669131 h 669131"/>
                  <a:gd name="connsiteX9" fmla="*/ 0 w 474348"/>
                  <a:gd name="connsiteY9" fmla="*/ 216516 h 669131"/>
                  <a:gd name="connsiteX10" fmla="*/ 192704 w 474348"/>
                  <a:gd name="connsiteY10" fmla="*/ 23812 h 669131"/>
                  <a:gd name="connsiteX0" fmla="*/ 192704 w 474348"/>
                  <a:gd name="connsiteY0" fmla="*/ 23812 h 669131"/>
                  <a:gd name="connsiteX1" fmla="*/ 265690 w 474348"/>
                  <a:gd name="connsiteY1" fmla="*/ 0 h 669131"/>
                  <a:gd name="connsiteX2" fmla="*/ 281644 w 474348"/>
                  <a:gd name="connsiteY2" fmla="*/ 23812 h 669131"/>
                  <a:gd name="connsiteX3" fmla="*/ 474348 w 474348"/>
                  <a:gd name="connsiteY3" fmla="*/ 216516 h 669131"/>
                  <a:gd name="connsiteX4" fmla="*/ 474348 w 474348"/>
                  <a:gd name="connsiteY4" fmla="*/ 669131 h 669131"/>
                  <a:gd name="connsiteX5" fmla="*/ 474348 w 474348"/>
                  <a:gd name="connsiteY5" fmla="*/ 669131 h 669131"/>
                  <a:gd name="connsiteX6" fmla="*/ 248129 w 474348"/>
                  <a:gd name="connsiteY6" fmla="*/ 669131 h 669131"/>
                  <a:gd name="connsiteX7" fmla="*/ 0 w 474348"/>
                  <a:gd name="connsiteY7" fmla="*/ 669131 h 669131"/>
                  <a:gd name="connsiteX8" fmla="*/ 0 w 474348"/>
                  <a:gd name="connsiteY8" fmla="*/ 669131 h 669131"/>
                  <a:gd name="connsiteX9" fmla="*/ 0 w 474348"/>
                  <a:gd name="connsiteY9" fmla="*/ 216516 h 669131"/>
                  <a:gd name="connsiteX10" fmla="*/ 192704 w 474348"/>
                  <a:gd name="connsiteY10" fmla="*/ 23812 h 669131"/>
                  <a:gd name="connsiteX0" fmla="*/ 192704 w 474348"/>
                  <a:gd name="connsiteY0" fmla="*/ 23812 h 669131"/>
                  <a:gd name="connsiteX1" fmla="*/ 265690 w 474348"/>
                  <a:gd name="connsiteY1" fmla="*/ 0 h 669131"/>
                  <a:gd name="connsiteX2" fmla="*/ 314250 w 474348"/>
                  <a:gd name="connsiteY2" fmla="*/ 24047 h 669131"/>
                  <a:gd name="connsiteX3" fmla="*/ 474348 w 474348"/>
                  <a:gd name="connsiteY3" fmla="*/ 216516 h 669131"/>
                  <a:gd name="connsiteX4" fmla="*/ 474348 w 474348"/>
                  <a:gd name="connsiteY4" fmla="*/ 669131 h 669131"/>
                  <a:gd name="connsiteX5" fmla="*/ 474348 w 474348"/>
                  <a:gd name="connsiteY5" fmla="*/ 669131 h 669131"/>
                  <a:gd name="connsiteX6" fmla="*/ 248129 w 474348"/>
                  <a:gd name="connsiteY6" fmla="*/ 669131 h 669131"/>
                  <a:gd name="connsiteX7" fmla="*/ 0 w 474348"/>
                  <a:gd name="connsiteY7" fmla="*/ 669131 h 669131"/>
                  <a:gd name="connsiteX8" fmla="*/ 0 w 474348"/>
                  <a:gd name="connsiteY8" fmla="*/ 669131 h 669131"/>
                  <a:gd name="connsiteX9" fmla="*/ 0 w 474348"/>
                  <a:gd name="connsiteY9" fmla="*/ 216516 h 669131"/>
                  <a:gd name="connsiteX10" fmla="*/ 192704 w 474348"/>
                  <a:gd name="connsiteY10" fmla="*/ 23812 h 669131"/>
                  <a:gd name="connsiteX0" fmla="*/ 192704 w 474348"/>
                  <a:gd name="connsiteY0" fmla="*/ 23812 h 669131"/>
                  <a:gd name="connsiteX1" fmla="*/ 265690 w 474348"/>
                  <a:gd name="connsiteY1" fmla="*/ 0 h 669131"/>
                  <a:gd name="connsiteX2" fmla="*/ 314250 w 474348"/>
                  <a:gd name="connsiteY2" fmla="*/ 24047 h 669131"/>
                  <a:gd name="connsiteX3" fmla="*/ 474348 w 474348"/>
                  <a:gd name="connsiteY3" fmla="*/ 216516 h 669131"/>
                  <a:gd name="connsiteX4" fmla="*/ 474348 w 474348"/>
                  <a:gd name="connsiteY4" fmla="*/ 669131 h 669131"/>
                  <a:gd name="connsiteX5" fmla="*/ 474348 w 474348"/>
                  <a:gd name="connsiteY5" fmla="*/ 669131 h 669131"/>
                  <a:gd name="connsiteX6" fmla="*/ 248129 w 474348"/>
                  <a:gd name="connsiteY6" fmla="*/ 669131 h 669131"/>
                  <a:gd name="connsiteX7" fmla="*/ 0 w 474348"/>
                  <a:gd name="connsiteY7" fmla="*/ 669131 h 669131"/>
                  <a:gd name="connsiteX8" fmla="*/ 0 w 474348"/>
                  <a:gd name="connsiteY8" fmla="*/ 669131 h 669131"/>
                  <a:gd name="connsiteX9" fmla="*/ 0 w 474348"/>
                  <a:gd name="connsiteY9" fmla="*/ 216516 h 669131"/>
                  <a:gd name="connsiteX10" fmla="*/ 192704 w 474348"/>
                  <a:gd name="connsiteY10" fmla="*/ 23812 h 669131"/>
                  <a:gd name="connsiteX0" fmla="*/ 192704 w 474348"/>
                  <a:gd name="connsiteY0" fmla="*/ 23812 h 669131"/>
                  <a:gd name="connsiteX1" fmla="*/ 265690 w 474348"/>
                  <a:gd name="connsiteY1" fmla="*/ 0 h 669131"/>
                  <a:gd name="connsiteX2" fmla="*/ 314250 w 474348"/>
                  <a:gd name="connsiteY2" fmla="*/ 24047 h 669131"/>
                  <a:gd name="connsiteX3" fmla="*/ 474348 w 474348"/>
                  <a:gd name="connsiteY3" fmla="*/ 216516 h 669131"/>
                  <a:gd name="connsiteX4" fmla="*/ 474348 w 474348"/>
                  <a:gd name="connsiteY4" fmla="*/ 669131 h 669131"/>
                  <a:gd name="connsiteX5" fmla="*/ 474348 w 474348"/>
                  <a:gd name="connsiteY5" fmla="*/ 669131 h 669131"/>
                  <a:gd name="connsiteX6" fmla="*/ 248129 w 474348"/>
                  <a:gd name="connsiteY6" fmla="*/ 669131 h 669131"/>
                  <a:gd name="connsiteX7" fmla="*/ 0 w 474348"/>
                  <a:gd name="connsiteY7" fmla="*/ 669131 h 669131"/>
                  <a:gd name="connsiteX8" fmla="*/ 0 w 474348"/>
                  <a:gd name="connsiteY8" fmla="*/ 669131 h 669131"/>
                  <a:gd name="connsiteX9" fmla="*/ 0 w 474348"/>
                  <a:gd name="connsiteY9" fmla="*/ 216516 h 669131"/>
                  <a:gd name="connsiteX10" fmla="*/ 192704 w 474348"/>
                  <a:gd name="connsiteY10" fmla="*/ 23812 h 669131"/>
                  <a:gd name="connsiteX0" fmla="*/ 174282 w 474348"/>
                  <a:gd name="connsiteY0" fmla="*/ 23596 h 669131"/>
                  <a:gd name="connsiteX1" fmla="*/ 265690 w 474348"/>
                  <a:gd name="connsiteY1" fmla="*/ 0 h 669131"/>
                  <a:gd name="connsiteX2" fmla="*/ 314250 w 474348"/>
                  <a:gd name="connsiteY2" fmla="*/ 24047 h 669131"/>
                  <a:gd name="connsiteX3" fmla="*/ 474348 w 474348"/>
                  <a:gd name="connsiteY3" fmla="*/ 216516 h 669131"/>
                  <a:gd name="connsiteX4" fmla="*/ 474348 w 474348"/>
                  <a:gd name="connsiteY4" fmla="*/ 669131 h 669131"/>
                  <a:gd name="connsiteX5" fmla="*/ 474348 w 474348"/>
                  <a:gd name="connsiteY5" fmla="*/ 669131 h 669131"/>
                  <a:gd name="connsiteX6" fmla="*/ 248129 w 474348"/>
                  <a:gd name="connsiteY6" fmla="*/ 669131 h 669131"/>
                  <a:gd name="connsiteX7" fmla="*/ 0 w 474348"/>
                  <a:gd name="connsiteY7" fmla="*/ 669131 h 669131"/>
                  <a:gd name="connsiteX8" fmla="*/ 0 w 474348"/>
                  <a:gd name="connsiteY8" fmla="*/ 669131 h 669131"/>
                  <a:gd name="connsiteX9" fmla="*/ 0 w 474348"/>
                  <a:gd name="connsiteY9" fmla="*/ 216516 h 669131"/>
                  <a:gd name="connsiteX10" fmla="*/ 174282 w 474348"/>
                  <a:gd name="connsiteY10" fmla="*/ 23596 h 669131"/>
                  <a:gd name="connsiteX0" fmla="*/ 174282 w 474348"/>
                  <a:gd name="connsiteY0" fmla="*/ 24619 h 670154"/>
                  <a:gd name="connsiteX1" fmla="*/ 216121 w 474348"/>
                  <a:gd name="connsiteY1" fmla="*/ 0 h 670154"/>
                  <a:gd name="connsiteX2" fmla="*/ 314250 w 474348"/>
                  <a:gd name="connsiteY2" fmla="*/ 25070 h 670154"/>
                  <a:gd name="connsiteX3" fmla="*/ 474348 w 474348"/>
                  <a:gd name="connsiteY3" fmla="*/ 217539 h 670154"/>
                  <a:gd name="connsiteX4" fmla="*/ 474348 w 474348"/>
                  <a:gd name="connsiteY4" fmla="*/ 670154 h 670154"/>
                  <a:gd name="connsiteX5" fmla="*/ 474348 w 474348"/>
                  <a:gd name="connsiteY5" fmla="*/ 670154 h 670154"/>
                  <a:gd name="connsiteX6" fmla="*/ 248129 w 474348"/>
                  <a:gd name="connsiteY6" fmla="*/ 670154 h 670154"/>
                  <a:gd name="connsiteX7" fmla="*/ 0 w 474348"/>
                  <a:gd name="connsiteY7" fmla="*/ 670154 h 670154"/>
                  <a:gd name="connsiteX8" fmla="*/ 0 w 474348"/>
                  <a:gd name="connsiteY8" fmla="*/ 670154 h 670154"/>
                  <a:gd name="connsiteX9" fmla="*/ 0 w 474348"/>
                  <a:gd name="connsiteY9" fmla="*/ 217539 h 670154"/>
                  <a:gd name="connsiteX10" fmla="*/ 174282 w 474348"/>
                  <a:gd name="connsiteY10" fmla="*/ 24619 h 670154"/>
                  <a:gd name="connsiteX0" fmla="*/ 174282 w 474348"/>
                  <a:gd name="connsiteY0" fmla="*/ 24619 h 670154"/>
                  <a:gd name="connsiteX1" fmla="*/ 216121 w 474348"/>
                  <a:gd name="connsiteY1" fmla="*/ 0 h 670154"/>
                  <a:gd name="connsiteX2" fmla="*/ 314250 w 474348"/>
                  <a:gd name="connsiteY2" fmla="*/ 25070 h 670154"/>
                  <a:gd name="connsiteX3" fmla="*/ 474348 w 474348"/>
                  <a:gd name="connsiteY3" fmla="*/ 217539 h 670154"/>
                  <a:gd name="connsiteX4" fmla="*/ 474348 w 474348"/>
                  <a:gd name="connsiteY4" fmla="*/ 670154 h 670154"/>
                  <a:gd name="connsiteX5" fmla="*/ 474348 w 474348"/>
                  <a:gd name="connsiteY5" fmla="*/ 670154 h 670154"/>
                  <a:gd name="connsiteX6" fmla="*/ 248129 w 474348"/>
                  <a:gd name="connsiteY6" fmla="*/ 670154 h 670154"/>
                  <a:gd name="connsiteX7" fmla="*/ 0 w 474348"/>
                  <a:gd name="connsiteY7" fmla="*/ 670154 h 670154"/>
                  <a:gd name="connsiteX8" fmla="*/ 0 w 474348"/>
                  <a:gd name="connsiteY8" fmla="*/ 670154 h 670154"/>
                  <a:gd name="connsiteX9" fmla="*/ 0 w 474348"/>
                  <a:gd name="connsiteY9" fmla="*/ 217539 h 670154"/>
                  <a:gd name="connsiteX10" fmla="*/ 174282 w 474348"/>
                  <a:gd name="connsiteY10" fmla="*/ 24619 h 670154"/>
                  <a:gd name="connsiteX0" fmla="*/ 174282 w 474348"/>
                  <a:gd name="connsiteY0" fmla="*/ 24619 h 670154"/>
                  <a:gd name="connsiteX1" fmla="*/ 216121 w 474348"/>
                  <a:gd name="connsiteY1" fmla="*/ 0 h 670154"/>
                  <a:gd name="connsiteX2" fmla="*/ 314250 w 474348"/>
                  <a:gd name="connsiteY2" fmla="*/ 25070 h 670154"/>
                  <a:gd name="connsiteX3" fmla="*/ 474348 w 474348"/>
                  <a:gd name="connsiteY3" fmla="*/ 217539 h 670154"/>
                  <a:gd name="connsiteX4" fmla="*/ 474348 w 474348"/>
                  <a:gd name="connsiteY4" fmla="*/ 670154 h 670154"/>
                  <a:gd name="connsiteX5" fmla="*/ 474348 w 474348"/>
                  <a:gd name="connsiteY5" fmla="*/ 670154 h 670154"/>
                  <a:gd name="connsiteX6" fmla="*/ 248129 w 474348"/>
                  <a:gd name="connsiteY6" fmla="*/ 670154 h 670154"/>
                  <a:gd name="connsiteX7" fmla="*/ 0 w 474348"/>
                  <a:gd name="connsiteY7" fmla="*/ 670154 h 670154"/>
                  <a:gd name="connsiteX8" fmla="*/ 0 w 474348"/>
                  <a:gd name="connsiteY8" fmla="*/ 670154 h 670154"/>
                  <a:gd name="connsiteX9" fmla="*/ 0 w 474348"/>
                  <a:gd name="connsiteY9" fmla="*/ 217539 h 670154"/>
                  <a:gd name="connsiteX10" fmla="*/ 174282 w 474348"/>
                  <a:gd name="connsiteY10" fmla="*/ 24619 h 670154"/>
                  <a:gd name="connsiteX0" fmla="*/ 174282 w 474348"/>
                  <a:gd name="connsiteY0" fmla="*/ 24619 h 670154"/>
                  <a:gd name="connsiteX1" fmla="*/ 216121 w 474348"/>
                  <a:gd name="connsiteY1" fmla="*/ 0 h 670154"/>
                  <a:gd name="connsiteX2" fmla="*/ 314250 w 474348"/>
                  <a:gd name="connsiteY2" fmla="*/ 25070 h 670154"/>
                  <a:gd name="connsiteX3" fmla="*/ 474348 w 474348"/>
                  <a:gd name="connsiteY3" fmla="*/ 217539 h 670154"/>
                  <a:gd name="connsiteX4" fmla="*/ 474348 w 474348"/>
                  <a:gd name="connsiteY4" fmla="*/ 670154 h 670154"/>
                  <a:gd name="connsiteX5" fmla="*/ 474348 w 474348"/>
                  <a:gd name="connsiteY5" fmla="*/ 670154 h 670154"/>
                  <a:gd name="connsiteX6" fmla="*/ 248129 w 474348"/>
                  <a:gd name="connsiteY6" fmla="*/ 670154 h 670154"/>
                  <a:gd name="connsiteX7" fmla="*/ 0 w 474348"/>
                  <a:gd name="connsiteY7" fmla="*/ 670154 h 670154"/>
                  <a:gd name="connsiteX8" fmla="*/ 0 w 474348"/>
                  <a:gd name="connsiteY8" fmla="*/ 670154 h 670154"/>
                  <a:gd name="connsiteX9" fmla="*/ 0 w 474348"/>
                  <a:gd name="connsiteY9" fmla="*/ 217539 h 670154"/>
                  <a:gd name="connsiteX10" fmla="*/ 174282 w 474348"/>
                  <a:gd name="connsiteY10" fmla="*/ 24619 h 670154"/>
                  <a:gd name="connsiteX0" fmla="*/ 148557 w 474348"/>
                  <a:gd name="connsiteY0" fmla="*/ 27264 h 670154"/>
                  <a:gd name="connsiteX1" fmla="*/ 216121 w 474348"/>
                  <a:gd name="connsiteY1" fmla="*/ 0 h 670154"/>
                  <a:gd name="connsiteX2" fmla="*/ 314250 w 474348"/>
                  <a:gd name="connsiteY2" fmla="*/ 25070 h 670154"/>
                  <a:gd name="connsiteX3" fmla="*/ 474348 w 474348"/>
                  <a:gd name="connsiteY3" fmla="*/ 217539 h 670154"/>
                  <a:gd name="connsiteX4" fmla="*/ 474348 w 474348"/>
                  <a:gd name="connsiteY4" fmla="*/ 670154 h 670154"/>
                  <a:gd name="connsiteX5" fmla="*/ 474348 w 474348"/>
                  <a:gd name="connsiteY5" fmla="*/ 670154 h 670154"/>
                  <a:gd name="connsiteX6" fmla="*/ 248129 w 474348"/>
                  <a:gd name="connsiteY6" fmla="*/ 670154 h 670154"/>
                  <a:gd name="connsiteX7" fmla="*/ 0 w 474348"/>
                  <a:gd name="connsiteY7" fmla="*/ 670154 h 670154"/>
                  <a:gd name="connsiteX8" fmla="*/ 0 w 474348"/>
                  <a:gd name="connsiteY8" fmla="*/ 670154 h 670154"/>
                  <a:gd name="connsiteX9" fmla="*/ 0 w 474348"/>
                  <a:gd name="connsiteY9" fmla="*/ 217539 h 670154"/>
                  <a:gd name="connsiteX10" fmla="*/ 148557 w 474348"/>
                  <a:gd name="connsiteY10" fmla="*/ 27264 h 670154"/>
                  <a:gd name="connsiteX0" fmla="*/ 148557 w 474348"/>
                  <a:gd name="connsiteY0" fmla="*/ 20950 h 663840"/>
                  <a:gd name="connsiteX1" fmla="*/ 214238 w 474348"/>
                  <a:gd name="connsiteY1" fmla="*/ 0 h 663840"/>
                  <a:gd name="connsiteX2" fmla="*/ 314250 w 474348"/>
                  <a:gd name="connsiteY2" fmla="*/ 18756 h 663840"/>
                  <a:gd name="connsiteX3" fmla="*/ 474348 w 474348"/>
                  <a:gd name="connsiteY3" fmla="*/ 211225 h 663840"/>
                  <a:gd name="connsiteX4" fmla="*/ 474348 w 474348"/>
                  <a:gd name="connsiteY4" fmla="*/ 663840 h 663840"/>
                  <a:gd name="connsiteX5" fmla="*/ 474348 w 474348"/>
                  <a:gd name="connsiteY5" fmla="*/ 663840 h 663840"/>
                  <a:gd name="connsiteX6" fmla="*/ 248129 w 474348"/>
                  <a:gd name="connsiteY6" fmla="*/ 663840 h 663840"/>
                  <a:gd name="connsiteX7" fmla="*/ 0 w 474348"/>
                  <a:gd name="connsiteY7" fmla="*/ 663840 h 663840"/>
                  <a:gd name="connsiteX8" fmla="*/ 0 w 474348"/>
                  <a:gd name="connsiteY8" fmla="*/ 663840 h 663840"/>
                  <a:gd name="connsiteX9" fmla="*/ 0 w 474348"/>
                  <a:gd name="connsiteY9" fmla="*/ 211225 h 663840"/>
                  <a:gd name="connsiteX10" fmla="*/ 148557 w 474348"/>
                  <a:gd name="connsiteY10" fmla="*/ 20950 h 663840"/>
                  <a:gd name="connsiteX0" fmla="*/ 148557 w 474348"/>
                  <a:gd name="connsiteY0" fmla="*/ 20950 h 663840"/>
                  <a:gd name="connsiteX1" fmla="*/ 214238 w 474348"/>
                  <a:gd name="connsiteY1" fmla="*/ 0 h 663840"/>
                  <a:gd name="connsiteX2" fmla="*/ 314250 w 474348"/>
                  <a:gd name="connsiteY2" fmla="*/ 18756 h 663840"/>
                  <a:gd name="connsiteX3" fmla="*/ 474348 w 474348"/>
                  <a:gd name="connsiteY3" fmla="*/ 211225 h 663840"/>
                  <a:gd name="connsiteX4" fmla="*/ 474348 w 474348"/>
                  <a:gd name="connsiteY4" fmla="*/ 663840 h 663840"/>
                  <a:gd name="connsiteX5" fmla="*/ 474348 w 474348"/>
                  <a:gd name="connsiteY5" fmla="*/ 663840 h 663840"/>
                  <a:gd name="connsiteX6" fmla="*/ 248129 w 474348"/>
                  <a:gd name="connsiteY6" fmla="*/ 663840 h 663840"/>
                  <a:gd name="connsiteX7" fmla="*/ 0 w 474348"/>
                  <a:gd name="connsiteY7" fmla="*/ 663840 h 663840"/>
                  <a:gd name="connsiteX8" fmla="*/ 0 w 474348"/>
                  <a:gd name="connsiteY8" fmla="*/ 663840 h 663840"/>
                  <a:gd name="connsiteX9" fmla="*/ 0 w 474348"/>
                  <a:gd name="connsiteY9" fmla="*/ 211225 h 663840"/>
                  <a:gd name="connsiteX10" fmla="*/ 148557 w 474348"/>
                  <a:gd name="connsiteY10" fmla="*/ 20950 h 663840"/>
                  <a:gd name="connsiteX0" fmla="*/ 148557 w 474348"/>
                  <a:gd name="connsiteY0" fmla="*/ 20950 h 663840"/>
                  <a:gd name="connsiteX1" fmla="*/ 214238 w 474348"/>
                  <a:gd name="connsiteY1" fmla="*/ 0 h 663840"/>
                  <a:gd name="connsiteX2" fmla="*/ 314250 w 474348"/>
                  <a:gd name="connsiteY2" fmla="*/ 18756 h 663840"/>
                  <a:gd name="connsiteX3" fmla="*/ 474348 w 474348"/>
                  <a:gd name="connsiteY3" fmla="*/ 211225 h 663840"/>
                  <a:gd name="connsiteX4" fmla="*/ 474348 w 474348"/>
                  <a:gd name="connsiteY4" fmla="*/ 663840 h 663840"/>
                  <a:gd name="connsiteX5" fmla="*/ 474348 w 474348"/>
                  <a:gd name="connsiteY5" fmla="*/ 663840 h 663840"/>
                  <a:gd name="connsiteX6" fmla="*/ 248129 w 474348"/>
                  <a:gd name="connsiteY6" fmla="*/ 663840 h 663840"/>
                  <a:gd name="connsiteX7" fmla="*/ 0 w 474348"/>
                  <a:gd name="connsiteY7" fmla="*/ 663840 h 663840"/>
                  <a:gd name="connsiteX8" fmla="*/ 0 w 474348"/>
                  <a:gd name="connsiteY8" fmla="*/ 663840 h 663840"/>
                  <a:gd name="connsiteX9" fmla="*/ 0 w 474348"/>
                  <a:gd name="connsiteY9" fmla="*/ 211225 h 663840"/>
                  <a:gd name="connsiteX10" fmla="*/ 148557 w 474348"/>
                  <a:gd name="connsiteY10" fmla="*/ 20950 h 663840"/>
                  <a:gd name="connsiteX0" fmla="*/ 144178 w 474348"/>
                  <a:gd name="connsiteY0" fmla="*/ 22667 h 663840"/>
                  <a:gd name="connsiteX1" fmla="*/ 214238 w 474348"/>
                  <a:gd name="connsiteY1" fmla="*/ 0 h 663840"/>
                  <a:gd name="connsiteX2" fmla="*/ 314250 w 474348"/>
                  <a:gd name="connsiteY2" fmla="*/ 18756 h 663840"/>
                  <a:gd name="connsiteX3" fmla="*/ 474348 w 474348"/>
                  <a:gd name="connsiteY3" fmla="*/ 211225 h 663840"/>
                  <a:gd name="connsiteX4" fmla="*/ 474348 w 474348"/>
                  <a:gd name="connsiteY4" fmla="*/ 663840 h 663840"/>
                  <a:gd name="connsiteX5" fmla="*/ 474348 w 474348"/>
                  <a:gd name="connsiteY5" fmla="*/ 663840 h 663840"/>
                  <a:gd name="connsiteX6" fmla="*/ 248129 w 474348"/>
                  <a:gd name="connsiteY6" fmla="*/ 663840 h 663840"/>
                  <a:gd name="connsiteX7" fmla="*/ 0 w 474348"/>
                  <a:gd name="connsiteY7" fmla="*/ 663840 h 663840"/>
                  <a:gd name="connsiteX8" fmla="*/ 0 w 474348"/>
                  <a:gd name="connsiteY8" fmla="*/ 663840 h 663840"/>
                  <a:gd name="connsiteX9" fmla="*/ 0 w 474348"/>
                  <a:gd name="connsiteY9" fmla="*/ 211225 h 663840"/>
                  <a:gd name="connsiteX10" fmla="*/ 144178 w 474348"/>
                  <a:gd name="connsiteY10" fmla="*/ 22667 h 663840"/>
                  <a:gd name="connsiteX0" fmla="*/ 144178 w 474348"/>
                  <a:gd name="connsiteY0" fmla="*/ 22667 h 663840"/>
                  <a:gd name="connsiteX1" fmla="*/ 214238 w 474348"/>
                  <a:gd name="connsiteY1" fmla="*/ 0 h 663840"/>
                  <a:gd name="connsiteX2" fmla="*/ 314250 w 474348"/>
                  <a:gd name="connsiteY2" fmla="*/ 18756 h 663840"/>
                  <a:gd name="connsiteX3" fmla="*/ 474348 w 474348"/>
                  <a:gd name="connsiteY3" fmla="*/ 211225 h 663840"/>
                  <a:gd name="connsiteX4" fmla="*/ 474348 w 474348"/>
                  <a:gd name="connsiteY4" fmla="*/ 663840 h 663840"/>
                  <a:gd name="connsiteX5" fmla="*/ 474348 w 474348"/>
                  <a:gd name="connsiteY5" fmla="*/ 663840 h 663840"/>
                  <a:gd name="connsiteX6" fmla="*/ 248129 w 474348"/>
                  <a:gd name="connsiteY6" fmla="*/ 663840 h 663840"/>
                  <a:gd name="connsiteX7" fmla="*/ 0 w 474348"/>
                  <a:gd name="connsiteY7" fmla="*/ 663840 h 663840"/>
                  <a:gd name="connsiteX8" fmla="*/ 0 w 474348"/>
                  <a:gd name="connsiteY8" fmla="*/ 663840 h 663840"/>
                  <a:gd name="connsiteX9" fmla="*/ 0 w 474348"/>
                  <a:gd name="connsiteY9" fmla="*/ 211225 h 663840"/>
                  <a:gd name="connsiteX10" fmla="*/ 144178 w 474348"/>
                  <a:gd name="connsiteY10" fmla="*/ 22667 h 663840"/>
                  <a:gd name="connsiteX0" fmla="*/ 144178 w 474348"/>
                  <a:gd name="connsiteY0" fmla="*/ 22667 h 663840"/>
                  <a:gd name="connsiteX1" fmla="*/ 214238 w 474348"/>
                  <a:gd name="connsiteY1" fmla="*/ 0 h 663840"/>
                  <a:gd name="connsiteX2" fmla="*/ 314250 w 474348"/>
                  <a:gd name="connsiteY2" fmla="*/ 18756 h 663840"/>
                  <a:gd name="connsiteX3" fmla="*/ 474348 w 474348"/>
                  <a:gd name="connsiteY3" fmla="*/ 211225 h 663840"/>
                  <a:gd name="connsiteX4" fmla="*/ 474348 w 474348"/>
                  <a:gd name="connsiteY4" fmla="*/ 663840 h 663840"/>
                  <a:gd name="connsiteX5" fmla="*/ 474348 w 474348"/>
                  <a:gd name="connsiteY5" fmla="*/ 663840 h 663840"/>
                  <a:gd name="connsiteX6" fmla="*/ 248129 w 474348"/>
                  <a:gd name="connsiteY6" fmla="*/ 663840 h 663840"/>
                  <a:gd name="connsiteX7" fmla="*/ 0 w 474348"/>
                  <a:gd name="connsiteY7" fmla="*/ 663840 h 663840"/>
                  <a:gd name="connsiteX8" fmla="*/ 0 w 474348"/>
                  <a:gd name="connsiteY8" fmla="*/ 663840 h 663840"/>
                  <a:gd name="connsiteX9" fmla="*/ 0 w 474348"/>
                  <a:gd name="connsiteY9" fmla="*/ 211225 h 663840"/>
                  <a:gd name="connsiteX10" fmla="*/ 144178 w 474348"/>
                  <a:gd name="connsiteY10" fmla="*/ 22667 h 663840"/>
                  <a:gd name="connsiteX0" fmla="*/ 144178 w 474348"/>
                  <a:gd name="connsiteY0" fmla="*/ 22667 h 663840"/>
                  <a:gd name="connsiteX1" fmla="*/ 214238 w 474348"/>
                  <a:gd name="connsiteY1" fmla="*/ 0 h 663840"/>
                  <a:gd name="connsiteX2" fmla="*/ 314250 w 474348"/>
                  <a:gd name="connsiteY2" fmla="*/ 18756 h 663840"/>
                  <a:gd name="connsiteX3" fmla="*/ 474348 w 474348"/>
                  <a:gd name="connsiteY3" fmla="*/ 211225 h 663840"/>
                  <a:gd name="connsiteX4" fmla="*/ 474348 w 474348"/>
                  <a:gd name="connsiteY4" fmla="*/ 663840 h 663840"/>
                  <a:gd name="connsiteX5" fmla="*/ 474348 w 474348"/>
                  <a:gd name="connsiteY5" fmla="*/ 663840 h 663840"/>
                  <a:gd name="connsiteX6" fmla="*/ 248129 w 474348"/>
                  <a:gd name="connsiteY6" fmla="*/ 663840 h 663840"/>
                  <a:gd name="connsiteX7" fmla="*/ 0 w 474348"/>
                  <a:gd name="connsiteY7" fmla="*/ 663840 h 663840"/>
                  <a:gd name="connsiteX8" fmla="*/ 0 w 474348"/>
                  <a:gd name="connsiteY8" fmla="*/ 663840 h 663840"/>
                  <a:gd name="connsiteX9" fmla="*/ 0 w 474348"/>
                  <a:gd name="connsiteY9" fmla="*/ 211225 h 663840"/>
                  <a:gd name="connsiteX10" fmla="*/ 144178 w 474348"/>
                  <a:gd name="connsiteY10" fmla="*/ 22667 h 6638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74348" h="663840">
                    <a:moveTo>
                      <a:pt x="144178" y="22667"/>
                    </a:moveTo>
                    <a:cubicBezTo>
                      <a:pt x="211732" y="-970"/>
                      <a:pt x="181869" y="7990"/>
                      <a:pt x="214238" y="0"/>
                    </a:cubicBezTo>
                    <a:cubicBezTo>
                      <a:pt x="259321" y="7224"/>
                      <a:pt x="221757" y="369"/>
                      <a:pt x="314250" y="18756"/>
                    </a:cubicBezTo>
                    <a:cubicBezTo>
                      <a:pt x="399877" y="51074"/>
                      <a:pt x="474348" y="104798"/>
                      <a:pt x="474348" y="211225"/>
                    </a:cubicBezTo>
                    <a:lnTo>
                      <a:pt x="474348" y="663840"/>
                    </a:lnTo>
                    <a:lnTo>
                      <a:pt x="474348" y="663840"/>
                    </a:lnTo>
                    <a:lnTo>
                      <a:pt x="248129" y="663840"/>
                    </a:lnTo>
                    <a:lnTo>
                      <a:pt x="0" y="663840"/>
                    </a:lnTo>
                    <a:lnTo>
                      <a:pt x="0" y="663840"/>
                    </a:lnTo>
                    <a:lnTo>
                      <a:pt x="0" y="211225"/>
                    </a:lnTo>
                    <a:cubicBezTo>
                      <a:pt x="0" y="104798"/>
                      <a:pt x="80700" y="56026"/>
                      <a:pt x="144178" y="22667"/>
                    </a:cubicBezTo>
                    <a:close/>
                  </a:path>
                </a:pathLst>
              </a:cu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grpSp>
        <p:grpSp>
          <p:nvGrpSpPr>
            <p:cNvPr id="163" name="Group 162"/>
            <p:cNvGrpSpPr/>
            <p:nvPr/>
          </p:nvGrpSpPr>
          <p:grpSpPr>
            <a:xfrm rot="8100000">
              <a:off x="6430508" y="2814389"/>
              <a:ext cx="2108839" cy="101418"/>
              <a:chOff x="6437694" y="2814389"/>
              <a:chExt cx="2108839" cy="101418"/>
            </a:xfrm>
          </p:grpSpPr>
          <p:sp>
            <p:nvSpPr>
              <p:cNvPr id="167" name="Round Same Side Corner Rectangle 11"/>
              <p:cNvSpPr/>
              <p:nvPr/>
            </p:nvSpPr>
            <p:spPr>
              <a:xfrm rot="5400000" flipH="1">
                <a:off x="7969911" y="2339184"/>
                <a:ext cx="101418" cy="1051827"/>
              </a:xfrm>
              <a:custGeom>
                <a:avLst/>
                <a:gdLst>
                  <a:gd name="connsiteX0" fmla="*/ 192704 w 474348"/>
                  <a:gd name="connsiteY0" fmla="*/ 0 h 645319"/>
                  <a:gd name="connsiteX1" fmla="*/ 281644 w 474348"/>
                  <a:gd name="connsiteY1" fmla="*/ 0 h 645319"/>
                  <a:gd name="connsiteX2" fmla="*/ 474348 w 474348"/>
                  <a:gd name="connsiteY2" fmla="*/ 192704 h 645319"/>
                  <a:gd name="connsiteX3" fmla="*/ 474348 w 474348"/>
                  <a:gd name="connsiteY3" fmla="*/ 645319 h 645319"/>
                  <a:gd name="connsiteX4" fmla="*/ 474348 w 474348"/>
                  <a:gd name="connsiteY4" fmla="*/ 645319 h 645319"/>
                  <a:gd name="connsiteX5" fmla="*/ 0 w 474348"/>
                  <a:gd name="connsiteY5" fmla="*/ 645319 h 645319"/>
                  <a:gd name="connsiteX6" fmla="*/ 0 w 474348"/>
                  <a:gd name="connsiteY6" fmla="*/ 645319 h 645319"/>
                  <a:gd name="connsiteX7" fmla="*/ 0 w 474348"/>
                  <a:gd name="connsiteY7" fmla="*/ 192704 h 645319"/>
                  <a:gd name="connsiteX8" fmla="*/ 192704 w 474348"/>
                  <a:gd name="connsiteY8" fmla="*/ 0 h 645319"/>
                  <a:gd name="connsiteX0" fmla="*/ 192704 w 474348"/>
                  <a:gd name="connsiteY0" fmla="*/ 0 h 645319"/>
                  <a:gd name="connsiteX1" fmla="*/ 281644 w 474348"/>
                  <a:gd name="connsiteY1" fmla="*/ 0 h 645319"/>
                  <a:gd name="connsiteX2" fmla="*/ 474348 w 474348"/>
                  <a:gd name="connsiteY2" fmla="*/ 192704 h 645319"/>
                  <a:gd name="connsiteX3" fmla="*/ 474348 w 474348"/>
                  <a:gd name="connsiteY3" fmla="*/ 645319 h 645319"/>
                  <a:gd name="connsiteX4" fmla="*/ 474348 w 474348"/>
                  <a:gd name="connsiteY4" fmla="*/ 645319 h 645319"/>
                  <a:gd name="connsiteX5" fmla="*/ 248129 w 474348"/>
                  <a:gd name="connsiteY5" fmla="*/ 645319 h 645319"/>
                  <a:gd name="connsiteX6" fmla="*/ 0 w 474348"/>
                  <a:gd name="connsiteY6" fmla="*/ 645319 h 645319"/>
                  <a:gd name="connsiteX7" fmla="*/ 0 w 474348"/>
                  <a:gd name="connsiteY7" fmla="*/ 645319 h 645319"/>
                  <a:gd name="connsiteX8" fmla="*/ 0 w 474348"/>
                  <a:gd name="connsiteY8" fmla="*/ 192704 h 645319"/>
                  <a:gd name="connsiteX9" fmla="*/ 192704 w 474348"/>
                  <a:gd name="connsiteY9" fmla="*/ 0 h 645319"/>
                  <a:gd name="connsiteX0" fmla="*/ 192704 w 474348"/>
                  <a:gd name="connsiteY0" fmla="*/ 2381 h 647700"/>
                  <a:gd name="connsiteX1" fmla="*/ 240986 w 474348"/>
                  <a:gd name="connsiteY1" fmla="*/ 0 h 647700"/>
                  <a:gd name="connsiteX2" fmla="*/ 281644 w 474348"/>
                  <a:gd name="connsiteY2" fmla="*/ 2381 h 647700"/>
                  <a:gd name="connsiteX3" fmla="*/ 474348 w 474348"/>
                  <a:gd name="connsiteY3" fmla="*/ 195085 h 647700"/>
                  <a:gd name="connsiteX4" fmla="*/ 474348 w 474348"/>
                  <a:gd name="connsiteY4" fmla="*/ 647700 h 647700"/>
                  <a:gd name="connsiteX5" fmla="*/ 474348 w 474348"/>
                  <a:gd name="connsiteY5" fmla="*/ 647700 h 647700"/>
                  <a:gd name="connsiteX6" fmla="*/ 248129 w 474348"/>
                  <a:gd name="connsiteY6" fmla="*/ 647700 h 647700"/>
                  <a:gd name="connsiteX7" fmla="*/ 0 w 474348"/>
                  <a:gd name="connsiteY7" fmla="*/ 647700 h 647700"/>
                  <a:gd name="connsiteX8" fmla="*/ 0 w 474348"/>
                  <a:gd name="connsiteY8" fmla="*/ 647700 h 647700"/>
                  <a:gd name="connsiteX9" fmla="*/ 0 w 474348"/>
                  <a:gd name="connsiteY9" fmla="*/ 195085 h 647700"/>
                  <a:gd name="connsiteX10" fmla="*/ 192704 w 474348"/>
                  <a:gd name="connsiteY10" fmla="*/ 2381 h 647700"/>
                  <a:gd name="connsiteX0" fmla="*/ 192704 w 474348"/>
                  <a:gd name="connsiteY0" fmla="*/ 42862 h 688181"/>
                  <a:gd name="connsiteX1" fmla="*/ 240986 w 474348"/>
                  <a:gd name="connsiteY1" fmla="*/ 0 h 688181"/>
                  <a:gd name="connsiteX2" fmla="*/ 281644 w 474348"/>
                  <a:gd name="connsiteY2" fmla="*/ 42862 h 688181"/>
                  <a:gd name="connsiteX3" fmla="*/ 474348 w 474348"/>
                  <a:gd name="connsiteY3" fmla="*/ 235566 h 688181"/>
                  <a:gd name="connsiteX4" fmla="*/ 474348 w 474348"/>
                  <a:gd name="connsiteY4" fmla="*/ 688181 h 688181"/>
                  <a:gd name="connsiteX5" fmla="*/ 474348 w 474348"/>
                  <a:gd name="connsiteY5" fmla="*/ 688181 h 688181"/>
                  <a:gd name="connsiteX6" fmla="*/ 248129 w 474348"/>
                  <a:gd name="connsiteY6" fmla="*/ 688181 h 688181"/>
                  <a:gd name="connsiteX7" fmla="*/ 0 w 474348"/>
                  <a:gd name="connsiteY7" fmla="*/ 688181 h 688181"/>
                  <a:gd name="connsiteX8" fmla="*/ 0 w 474348"/>
                  <a:gd name="connsiteY8" fmla="*/ 688181 h 688181"/>
                  <a:gd name="connsiteX9" fmla="*/ 0 w 474348"/>
                  <a:gd name="connsiteY9" fmla="*/ 235566 h 688181"/>
                  <a:gd name="connsiteX10" fmla="*/ 192704 w 474348"/>
                  <a:gd name="connsiteY10" fmla="*/ 42862 h 688181"/>
                  <a:gd name="connsiteX0" fmla="*/ 192704 w 474348"/>
                  <a:gd name="connsiteY0" fmla="*/ 23812 h 669131"/>
                  <a:gd name="connsiteX1" fmla="*/ 265690 w 474348"/>
                  <a:gd name="connsiteY1" fmla="*/ 0 h 669131"/>
                  <a:gd name="connsiteX2" fmla="*/ 281644 w 474348"/>
                  <a:gd name="connsiteY2" fmla="*/ 23812 h 669131"/>
                  <a:gd name="connsiteX3" fmla="*/ 474348 w 474348"/>
                  <a:gd name="connsiteY3" fmla="*/ 216516 h 669131"/>
                  <a:gd name="connsiteX4" fmla="*/ 474348 w 474348"/>
                  <a:gd name="connsiteY4" fmla="*/ 669131 h 669131"/>
                  <a:gd name="connsiteX5" fmla="*/ 474348 w 474348"/>
                  <a:gd name="connsiteY5" fmla="*/ 669131 h 669131"/>
                  <a:gd name="connsiteX6" fmla="*/ 248129 w 474348"/>
                  <a:gd name="connsiteY6" fmla="*/ 669131 h 669131"/>
                  <a:gd name="connsiteX7" fmla="*/ 0 w 474348"/>
                  <a:gd name="connsiteY7" fmla="*/ 669131 h 669131"/>
                  <a:gd name="connsiteX8" fmla="*/ 0 w 474348"/>
                  <a:gd name="connsiteY8" fmla="*/ 669131 h 669131"/>
                  <a:gd name="connsiteX9" fmla="*/ 0 w 474348"/>
                  <a:gd name="connsiteY9" fmla="*/ 216516 h 669131"/>
                  <a:gd name="connsiteX10" fmla="*/ 192704 w 474348"/>
                  <a:gd name="connsiteY10" fmla="*/ 23812 h 669131"/>
                  <a:gd name="connsiteX0" fmla="*/ 192704 w 474348"/>
                  <a:gd name="connsiteY0" fmla="*/ 23812 h 669131"/>
                  <a:gd name="connsiteX1" fmla="*/ 265690 w 474348"/>
                  <a:gd name="connsiteY1" fmla="*/ 0 h 669131"/>
                  <a:gd name="connsiteX2" fmla="*/ 281644 w 474348"/>
                  <a:gd name="connsiteY2" fmla="*/ 23812 h 669131"/>
                  <a:gd name="connsiteX3" fmla="*/ 474348 w 474348"/>
                  <a:gd name="connsiteY3" fmla="*/ 216516 h 669131"/>
                  <a:gd name="connsiteX4" fmla="*/ 474348 w 474348"/>
                  <a:gd name="connsiteY4" fmla="*/ 669131 h 669131"/>
                  <a:gd name="connsiteX5" fmla="*/ 474348 w 474348"/>
                  <a:gd name="connsiteY5" fmla="*/ 669131 h 669131"/>
                  <a:gd name="connsiteX6" fmla="*/ 248129 w 474348"/>
                  <a:gd name="connsiteY6" fmla="*/ 669131 h 669131"/>
                  <a:gd name="connsiteX7" fmla="*/ 0 w 474348"/>
                  <a:gd name="connsiteY7" fmla="*/ 669131 h 669131"/>
                  <a:gd name="connsiteX8" fmla="*/ 0 w 474348"/>
                  <a:gd name="connsiteY8" fmla="*/ 669131 h 669131"/>
                  <a:gd name="connsiteX9" fmla="*/ 0 w 474348"/>
                  <a:gd name="connsiteY9" fmla="*/ 216516 h 669131"/>
                  <a:gd name="connsiteX10" fmla="*/ 192704 w 474348"/>
                  <a:gd name="connsiteY10" fmla="*/ 23812 h 669131"/>
                  <a:gd name="connsiteX0" fmla="*/ 192704 w 474348"/>
                  <a:gd name="connsiteY0" fmla="*/ 23812 h 669131"/>
                  <a:gd name="connsiteX1" fmla="*/ 265690 w 474348"/>
                  <a:gd name="connsiteY1" fmla="*/ 0 h 669131"/>
                  <a:gd name="connsiteX2" fmla="*/ 281644 w 474348"/>
                  <a:gd name="connsiteY2" fmla="*/ 23812 h 669131"/>
                  <a:gd name="connsiteX3" fmla="*/ 474348 w 474348"/>
                  <a:gd name="connsiteY3" fmla="*/ 216516 h 669131"/>
                  <a:gd name="connsiteX4" fmla="*/ 474348 w 474348"/>
                  <a:gd name="connsiteY4" fmla="*/ 669131 h 669131"/>
                  <a:gd name="connsiteX5" fmla="*/ 474348 w 474348"/>
                  <a:gd name="connsiteY5" fmla="*/ 669131 h 669131"/>
                  <a:gd name="connsiteX6" fmla="*/ 248129 w 474348"/>
                  <a:gd name="connsiteY6" fmla="*/ 669131 h 669131"/>
                  <a:gd name="connsiteX7" fmla="*/ 0 w 474348"/>
                  <a:gd name="connsiteY7" fmla="*/ 669131 h 669131"/>
                  <a:gd name="connsiteX8" fmla="*/ 0 w 474348"/>
                  <a:gd name="connsiteY8" fmla="*/ 669131 h 669131"/>
                  <a:gd name="connsiteX9" fmla="*/ 0 w 474348"/>
                  <a:gd name="connsiteY9" fmla="*/ 216516 h 669131"/>
                  <a:gd name="connsiteX10" fmla="*/ 192704 w 474348"/>
                  <a:gd name="connsiteY10" fmla="*/ 23812 h 669131"/>
                  <a:gd name="connsiteX0" fmla="*/ 192704 w 474348"/>
                  <a:gd name="connsiteY0" fmla="*/ 23812 h 669131"/>
                  <a:gd name="connsiteX1" fmla="*/ 265690 w 474348"/>
                  <a:gd name="connsiteY1" fmla="*/ 0 h 669131"/>
                  <a:gd name="connsiteX2" fmla="*/ 314250 w 474348"/>
                  <a:gd name="connsiteY2" fmla="*/ 24047 h 669131"/>
                  <a:gd name="connsiteX3" fmla="*/ 474348 w 474348"/>
                  <a:gd name="connsiteY3" fmla="*/ 216516 h 669131"/>
                  <a:gd name="connsiteX4" fmla="*/ 474348 w 474348"/>
                  <a:gd name="connsiteY4" fmla="*/ 669131 h 669131"/>
                  <a:gd name="connsiteX5" fmla="*/ 474348 w 474348"/>
                  <a:gd name="connsiteY5" fmla="*/ 669131 h 669131"/>
                  <a:gd name="connsiteX6" fmla="*/ 248129 w 474348"/>
                  <a:gd name="connsiteY6" fmla="*/ 669131 h 669131"/>
                  <a:gd name="connsiteX7" fmla="*/ 0 w 474348"/>
                  <a:gd name="connsiteY7" fmla="*/ 669131 h 669131"/>
                  <a:gd name="connsiteX8" fmla="*/ 0 w 474348"/>
                  <a:gd name="connsiteY8" fmla="*/ 669131 h 669131"/>
                  <a:gd name="connsiteX9" fmla="*/ 0 w 474348"/>
                  <a:gd name="connsiteY9" fmla="*/ 216516 h 669131"/>
                  <a:gd name="connsiteX10" fmla="*/ 192704 w 474348"/>
                  <a:gd name="connsiteY10" fmla="*/ 23812 h 669131"/>
                  <a:gd name="connsiteX0" fmla="*/ 192704 w 474348"/>
                  <a:gd name="connsiteY0" fmla="*/ 23812 h 669131"/>
                  <a:gd name="connsiteX1" fmla="*/ 265690 w 474348"/>
                  <a:gd name="connsiteY1" fmla="*/ 0 h 669131"/>
                  <a:gd name="connsiteX2" fmla="*/ 314250 w 474348"/>
                  <a:gd name="connsiteY2" fmla="*/ 24047 h 669131"/>
                  <a:gd name="connsiteX3" fmla="*/ 474348 w 474348"/>
                  <a:gd name="connsiteY3" fmla="*/ 216516 h 669131"/>
                  <a:gd name="connsiteX4" fmla="*/ 474348 w 474348"/>
                  <a:gd name="connsiteY4" fmla="*/ 669131 h 669131"/>
                  <a:gd name="connsiteX5" fmla="*/ 474348 w 474348"/>
                  <a:gd name="connsiteY5" fmla="*/ 669131 h 669131"/>
                  <a:gd name="connsiteX6" fmla="*/ 248129 w 474348"/>
                  <a:gd name="connsiteY6" fmla="*/ 669131 h 669131"/>
                  <a:gd name="connsiteX7" fmla="*/ 0 w 474348"/>
                  <a:gd name="connsiteY7" fmla="*/ 669131 h 669131"/>
                  <a:gd name="connsiteX8" fmla="*/ 0 w 474348"/>
                  <a:gd name="connsiteY8" fmla="*/ 669131 h 669131"/>
                  <a:gd name="connsiteX9" fmla="*/ 0 w 474348"/>
                  <a:gd name="connsiteY9" fmla="*/ 216516 h 669131"/>
                  <a:gd name="connsiteX10" fmla="*/ 192704 w 474348"/>
                  <a:gd name="connsiteY10" fmla="*/ 23812 h 669131"/>
                  <a:gd name="connsiteX0" fmla="*/ 192704 w 474348"/>
                  <a:gd name="connsiteY0" fmla="*/ 23812 h 669131"/>
                  <a:gd name="connsiteX1" fmla="*/ 265690 w 474348"/>
                  <a:gd name="connsiteY1" fmla="*/ 0 h 669131"/>
                  <a:gd name="connsiteX2" fmla="*/ 314250 w 474348"/>
                  <a:gd name="connsiteY2" fmla="*/ 24047 h 669131"/>
                  <a:gd name="connsiteX3" fmla="*/ 474348 w 474348"/>
                  <a:gd name="connsiteY3" fmla="*/ 216516 h 669131"/>
                  <a:gd name="connsiteX4" fmla="*/ 474348 w 474348"/>
                  <a:gd name="connsiteY4" fmla="*/ 669131 h 669131"/>
                  <a:gd name="connsiteX5" fmla="*/ 474348 w 474348"/>
                  <a:gd name="connsiteY5" fmla="*/ 669131 h 669131"/>
                  <a:gd name="connsiteX6" fmla="*/ 248129 w 474348"/>
                  <a:gd name="connsiteY6" fmla="*/ 669131 h 669131"/>
                  <a:gd name="connsiteX7" fmla="*/ 0 w 474348"/>
                  <a:gd name="connsiteY7" fmla="*/ 669131 h 669131"/>
                  <a:gd name="connsiteX8" fmla="*/ 0 w 474348"/>
                  <a:gd name="connsiteY8" fmla="*/ 669131 h 669131"/>
                  <a:gd name="connsiteX9" fmla="*/ 0 w 474348"/>
                  <a:gd name="connsiteY9" fmla="*/ 216516 h 669131"/>
                  <a:gd name="connsiteX10" fmla="*/ 192704 w 474348"/>
                  <a:gd name="connsiteY10" fmla="*/ 23812 h 669131"/>
                  <a:gd name="connsiteX0" fmla="*/ 174282 w 474348"/>
                  <a:gd name="connsiteY0" fmla="*/ 23596 h 669131"/>
                  <a:gd name="connsiteX1" fmla="*/ 265690 w 474348"/>
                  <a:gd name="connsiteY1" fmla="*/ 0 h 669131"/>
                  <a:gd name="connsiteX2" fmla="*/ 314250 w 474348"/>
                  <a:gd name="connsiteY2" fmla="*/ 24047 h 669131"/>
                  <a:gd name="connsiteX3" fmla="*/ 474348 w 474348"/>
                  <a:gd name="connsiteY3" fmla="*/ 216516 h 669131"/>
                  <a:gd name="connsiteX4" fmla="*/ 474348 w 474348"/>
                  <a:gd name="connsiteY4" fmla="*/ 669131 h 669131"/>
                  <a:gd name="connsiteX5" fmla="*/ 474348 w 474348"/>
                  <a:gd name="connsiteY5" fmla="*/ 669131 h 669131"/>
                  <a:gd name="connsiteX6" fmla="*/ 248129 w 474348"/>
                  <a:gd name="connsiteY6" fmla="*/ 669131 h 669131"/>
                  <a:gd name="connsiteX7" fmla="*/ 0 w 474348"/>
                  <a:gd name="connsiteY7" fmla="*/ 669131 h 669131"/>
                  <a:gd name="connsiteX8" fmla="*/ 0 w 474348"/>
                  <a:gd name="connsiteY8" fmla="*/ 669131 h 669131"/>
                  <a:gd name="connsiteX9" fmla="*/ 0 w 474348"/>
                  <a:gd name="connsiteY9" fmla="*/ 216516 h 669131"/>
                  <a:gd name="connsiteX10" fmla="*/ 174282 w 474348"/>
                  <a:gd name="connsiteY10" fmla="*/ 23596 h 669131"/>
                  <a:gd name="connsiteX0" fmla="*/ 174282 w 474348"/>
                  <a:gd name="connsiteY0" fmla="*/ 24619 h 670154"/>
                  <a:gd name="connsiteX1" fmla="*/ 216121 w 474348"/>
                  <a:gd name="connsiteY1" fmla="*/ 0 h 670154"/>
                  <a:gd name="connsiteX2" fmla="*/ 314250 w 474348"/>
                  <a:gd name="connsiteY2" fmla="*/ 25070 h 670154"/>
                  <a:gd name="connsiteX3" fmla="*/ 474348 w 474348"/>
                  <a:gd name="connsiteY3" fmla="*/ 217539 h 670154"/>
                  <a:gd name="connsiteX4" fmla="*/ 474348 w 474348"/>
                  <a:gd name="connsiteY4" fmla="*/ 670154 h 670154"/>
                  <a:gd name="connsiteX5" fmla="*/ 474348 w 474348"/>
                  <a:gd name="connsiteY5" fmla="*/ 670154 h 670154"/>
                  <a:gd name="connsiteX6" fmla="*/ 248129 w 474348"/>
                  <a:gd name="connsiteY6" fmla="*/ 670154 h 670154"/>
                  <a:gd name="connsiteX7" fmla="*/ 0 w 474348"/>
                  <a:gd name="connsiteY7" fmla="*/ 670154 h 670154"/>
                  <a:gd name="connsiteX8" fmla="*/ 0 w 474348"/>
                  <a:gd name="connsiteY8" fmla="*/ 670154 h 670154"/>
                  <a:gd name="connsiteX9" fmla="*/ 0 w 474348"/>
                  <a:gd name="connsiteY9" fmla="*/ 217539 h 670154"/>
                  <a:gd name="connsiteX10" fmla="*/ 174282 w 474348"/>
                  <a:gd name="connsiteY10" fmla="*/ 24619 h 670154"/>
                  <a:gd name="connsiteX0" fmla="*/ 174282 w 474348"/>
                  <a:gd name="connsiteY0" fmla="*/ 24619 h 670154"/>
                  <a:gd name="connsiteX1" fmla="*/ 216121 w 474348"/>
                  <a:gd name="connsiteY1" fmla="*/ 0 h 670154"/>
                  <a:gd name="connsiteX2" fmla="*/ 314250 w 474348"/>
                  <a:gd name="connsiteY2" fmla="*/ 25070 h 670154"/>
                  <a:gd name="connsiteX3" fmla="*/ 474348 w 474348"/>
                  <a:gd name="connsiteY3" fmla="*/ 217539 h 670154"/>
                  <a:gd name="connsiteX4" fmla="*/ 474348 w 474348"/>
                  <a:gd name="connsiteY4" fmla="*/ 670154 h 670154"/>
                  <a:gd name="connsiteX5" fmla="*/ 474348 w 474348"/>
                  <a:gd name="connsiteY5" fmla="*/ 670154 h 670154"/>
                  <a:gd name="connsiteX6" fmla="*/ 248129 w 474348"/>
                  <a:gd name="connsiteY6" fmla="*/ 670154 h 670154"/>
                  <a:gd name="connsiteX7" fmla="*/ 0 w 474348"/>
                  <a:gd name="connsiteY7" fmla="*/ 670154 h 670154"/>
                  <a:gd name="connsiteX8" fmla="*/ 0 w 474348"/>
                  <a:gd name="connsiteY8" fmla="*/ 670154 h 670154"/>
                  <a:gd name="connsiteX9" fmla="*/ 0 w 474348"/>
                  <a:gd name="connsiteY9" fmla="*/ 217539 h 670154"/>
                  <a:gd name="connsiteX10" fmla="*/ 174282 w 474348"/>
                  <a:gd name="connsiteY10" fmla="*/ 24619 h 670154"/>
                  <a:gd name="connsiteX0" fmla="*/ 174282 w 474348"/>
                  <a:gd name="connsiteY0" fmla="*/ 24619 h 670154"/>
                  <a:gd name="connsiteX1" fmla="*/ 216121 w 474348"/>
                  <a:gd name="connsiteY1" fmla="*/ 0 h 670154"/>
                  <a:gd name="connsiteX2" fmla="*/ 314250 w 474348"/>
                  <a:gd name="connsiteY2" fmla="*/ 25070 h 670154"/>
                  <a:gd name="connsiteX3" fmla="*/ 474348 w 474348"/>
                  <a:gd name="connsiteY3" fmla="*/ 217539 h 670154"/>
                  <a:gd name="connsiteX4" fmla="*/ 474348 w 474348"/>
                  <a:gd name="connsiteY4" fmla="*/ 670154 h 670154"/>
                  <a:gd name="connsiteX5" fmla="*/ 474348 w 474348"/>
                  <a:gd name="connsiteY5" fmla="*/ 670154 h 670154"/>
                  <a:gd name="connsiteX6" fmla="*/ 248129 w 474348"/>
                  <a:gd name="connsiteY6" fmla="*/ 670154 h 670154"/>
                  <a:gd name="connsiteX7" fmla="*/ 0 w 474348"/>
                  <a:gd name="connsiteY7" fmla="*/ 670154 h 670154"/>
                  <a:gd name="connsiteX8" fmla="*/ 0 w 474348"/>
                  <a:gd name="connsiteY8" fmla="*/ 670154 h 670154"/>
                  <a:gd name="connsiteX9" fmla="*/ 0 w 474348"/>
                  <a:gd name="connsiteY9" fmla="*/ 217539 h 670154"/>
                  <a:gd name="connsiteX10" fmla="*/ 174282 w 474348"/>
                  <a:gd name="connsiteY10" fmla="*/ 24619 h 670154"/>
                  <a:gd name="connsiteX0" fmla="*/ 174282 w 474348"/>
                  <a:gd name="connsiteY0" fmla="*/ 24619 h 670154"/>
                  <a:gd name="connsiteX1" fmla="*/ 216121 w 474348"/>
                  <a:gd name="connsiteY1" fmla="*/ 0 h 670154"/>
                  <a:gd name="connsiteX2" fmla="*/ 314250 w 474348"/>
                  <a:gd name="connsiteY2" fmla="*/ 25070 h 670154"/>
                  <a:gd name="connsiteX3" fmla="*/ 474348 w 474348"/>
                  <a:gd name="connsiteY3" fmla="*/ 217539 h 670154"/>
                  <a:gd name="connsiteX4" fmla="*/ 474348 w 474348"/>
                  <a:gd name="connsiteY4" fmla="*/ 670154 h 670154"/>
                  <a:gd name="connsiteX5" fmla="*/ 474348 w 474348"/>
                  <a:gd name="connsiteY5" fmla="*/ 670154 h 670154"/>
                  <a:gd name="connsiteX6" fmla="*/ 248129 w 474348"/>
                  <a:gd name="connsiteY6" fmla="*/ 670154 h 670154"/>
                  <a:gd name="connsiteX7" fmla="*/ 0 w 474348"/>
                  <a:gd name="connsiteY7" fmla="*/ 670154 h 670154"/>
                  <a:gd name="connsiteX8" fmla="*/ 0 w 474348"/>
                  <a:gd name="connsiteY8" fmla="*/ 670154 h 670154"/>
                  <a:gd name="connsiteX9" fmla="*/ 0 w 474348"/>
                  <a:gd name="connsiteY9" fmla="*/ 217539 h 670154"/>
                  <a:gd name="connsiteX10" fmla="*/ 174282 w 474348"/>
                  <a:gd name="connsiteY10" fmla="*/ 24619 h 670154"/>
                  <a:gd name="connsiteX0" fmla="*/ 148557 w 474348"/>
                  <a:gd name="connsiteY0" fmla="*/ 27264 h 670154"/>
                  <a:gd name="connsiteX1" fmla="*/ 216121 w 474348"/>
                  <a:gd name="connsiteY1" fmla="*/ 0 h 670154"/>
                  <a:gd name="connsiteX2" fmla="*/ 314250 w 474348"/>
                  <a:gd name="connsiteY2" fmla="*/ 25070 h 670154"/>
                  <a:gd name="connsiteX3" fmla="*/ 474348 w 474348"/>
                  <a:gd name="connsiteY3" fmla="*/ 217539 h 670154"/>
                  <a:gd name="connsiteX4" fmla="*/ 474348 w 474348"/>
                  <a:gd name="connsiteY4" fmla="*/ 670154 h 670154"/>
                  <a:gd name="connsiteX5" fmla="*/ 474348 w 474348"/>
                  <a:gd name="connsiteY5" fmla="*/ 670154 h 670154"/>
                  <a:gd name="connsiteX6" fmla="*/ 248129 w 474348"/>
                  <a:gd name="connsiteY6" fmla="*/ 670154 h 670154"/>
                  <a:gd name="connsiteX7" fmla="*/ 0 w 474348"/>
                  <a:gd name="connsiteY7" fmla="*/ 670154 h 670154"/>
                  <a:gd name="connsiteX8" fmla="*/ 0 w 474348"/>
                  <a:gd name="connsiteY8" fmla="*/ 670154 h 670154"/>
                  <a:gd name="connsiteX9" fmla="*/ 0 w 474348"/>
                  <a:gd name="connsiteY9" fmla="*/ 217539 h 670154"/>
                  <a:gd name="connsiteX10" fmla="*/ 148557 w 474348"/>
                  <a:gd name="connsiteY10" fmla="*/ 27264 h 670154"/>
                  <a:gd name="connsiteX0" fmla="*/ 148557 w 474348"/>
                  <a:gd name="connsiteY0" fmla="*/ 20950 h 663840"/>
                  <a:gd name="connsiteX1" fmla="*/ 214238 w 474348"/>
                  <a:gd name="connsiteY1" fmla="*/ 0 h 663840"/>
                  <a:gd name="connsiteX2" fmla="*/ 314250 w 474348"/>
                  <a:gd name="connsiteY2" fmla="*/ 18756 h 663840"/>
                  <a:gd name="connsiteX3" fmla="*/ 474348 w 474348"/>
                  <a:gd name="connsiteY3" fmla="*/ 211225 h 663840"/>
                  <a:gd name="connsiteX4" fmla="*/ 474348 w 474348"/>
                  <a:gd name="connsiteY4" fmla="*/ 663840 h 663840"/>
                  <a:gd name="connsiteX5" fmla="*/ 474348 w 474348"/>
                  <a:gd name="connsiteY5" fmla="*/ 663840 h 663840"/>
                  <a:gd name="connsiteX6" fmla="*/ 248129 w 474348"/>
                  <a:gd name="connsiteY6" fmla="*/ 663840 h 663840"/>
                  <a:gd name="connsiteX7" fmla="*/ 0 w 474348"/>
                  <a:gd name="connsiteY7" fmla="*/ 663840 h 663840"/>
                  <a:gd name="connsiteX8" fmla="*/ 0 w 474348"/>
                  <a:gd name="connsiteY8" fmla="*/ 663840 h 663840"/>
                  <a:gd name="connsiteX9" fmla="*/ 0 w 474348"/>
                  <a:gd name="connsiteY9" fmla="*/ 211225 h 663840"/>
                  <a:gd name="connsiteX10" fmla="*/ 148557 w 474348"/>
                  <a:gd name="connsiteY10" fmla="*/ 20950 h 663840"/>
                  <a:gd name="connsiteX0" fmla="*/ 148557 w 474348"/>
                  <a:gd name="connsiteY0" fmla="*/ 20950 h 663840"/>
                  <a:gd name="connsiteX1" fmla="*/ 214238 w 474348"/>
                  <a:gd name="connsiteY1" fmla="*/ 0 h 663840"/>
                  <a:gd name="connsiteX2" fmla="*/ 314250 w 474348"/>
                  <a:gd name="connsiteY2" fmla="*/ 18756 h 663840"/>
                  <a:gd name="connsiteX3" fmla="*/ 474348 w 474348"/>
                  <a:gd name="connsiteY3" fmla="*/ 211225 h 663840"/>
                  <a:gd name="connsiteX4" fmla="*/ 474348 w 474348"/>
                  <a:gd name="connsiteY4" fmla="*/ 663840 h 663840"/>
                  <a:gd name="connsiteX5" fmla="*/ 474348 w 474348"/>
                  <a:gd name="connsiteY5" fmla="*/ 663840 h 663840"/>
                  <a:gd name="connsiteX6" fmla="*/ 248129 w 474348"/>
                  <a:gd name="connsiteY6" fmla="*/ 663840 h 663840"/>
                  <a:gd name="connsiteX7" fmla="*/ 0 w 474348"/>
                  <a:gd name="connsiteY7" fmla="*/ 663840 h 663840"/>
                  <a:gd name="connsiteX8" fmla="*/ 0 w 474348"/>
                  <a:gd name="connsiteY8" fmla="*/ 663840 h 663840"/>
                  <a:gd name="connsiteX9" fmla="*/ 0 w 474348"/>
                  <a:gd name="connsiteY9" fmla="*/ 211225 h 663840"/>
                  <a:gd name="connsiteX10" fmla="*/ 148557 w 474348"/>
                  <a:gd name="connsiteY10" fmla="*/ 20950 h 663840"/>
                  <a:gd name="connsiteX0" fmla="*/ 148557 w 474348"/>
                  <a:gd name="connsiteY0" fmla="*/ 20950 h 663840"/>
                  <a:gd name="connsiteX1" fmla="*/ 214238 w 474348"/>
                  <a:gd name="connsiteY1" fmla="*/ 0 h 663840"/>
                  <a:gd name="connsiteX2" fmla="*/ 314250 w 474348"/>
                  <a:gd name="connsiteY2" fmla="*/ 18756 h 663840"/>
                  <a:gd name="connsiteX3" fmla="*/ 474348 w 474348"/>
                  <a:gd name="connsiteY3" fmla="*/ 211225 h 663840"/>
                  <a:gd name="connsiteX4" fmla="*/ 474348 w 474348"/>
                  <a:gd name="connsiteY4" fmla="*/ 663840 h 663840"/>
                  <a:gd name="connsiteX5" fmla="*/ 474348 w 474348"/>
                  <a:gd name="connsiteY5" fmla="*/ 663840 h 663840"/>
                  <a:gd name="connsiteX6" fmla="*/ 248129 w 474348"/>
                  <a:gd name="connsiteY6" fmla="*/ 663840 h 663840"/>
                  <a:gd name="connsiteX7" fmla="*/ 0 w 474348"/>
                  <a:gd name="connsiteY7" fmla="*/ 663840 h 663840"/>
                  <a:gd name="connsiteX8" fmla="*/ 0 w 474348"/>
                  <a:gd name="connsiteY8" fmla="*/ 663840 h 663840"/>
                  <a:gd name="connsiteX9" fmla="*/ 0 w 474348"/>
                  <a:gd name="connsiteY9" fmla="*/ 211225 h 663840"/>
                  <a:gd name="connsiteX10" fmla="*/ 148557 w 474348"/>
                  <a:gd name="connsiteY10" fmla="*/ 20950 h 663840"/>
                  <a:gd name="connsiteX0" fmla="*/ 144178 w 474348"/>
                  <a:gd name="connsiteY0" fmla="*/ 22667 h 663840"/>
                  <a:gd name="connsiteX1" fmla="*/ 214238 w 474348"/>
                  <a:gd name="connsiteY1" fmla="*/ 0 h 663840"/>
                  <a:gd name="connsiteX2" fmla="*/ 314250 w 474348"/>
                  <a:gd name="connsiteY2" fmla="*/ 18756 h 663840"/>
                  <a:gd name="connsiteX3" fmla="*/ 474348 w 474348"/>
                  <a:gd name="connsiteY3" fmla="*/ 211225 h 663840"/>
                  <a:gd name="connsiteX4" fmla="*/ 474348 w 474348"/>
                  <a:gd name="connsiteY4" fmla="*/ 663840 h 663840"/>
                  <a:gd name="connsiteX5" fmla="*/ 474348 w 474348"/>
                  <a:gd name="connsiteY5" fmla="*/ 663840 h 663840"/>
                  <a:gd name="connsiteX6" fmla="*/ 248129 w 474348"/>
                  <a:gd name="connsiteY6" fmla="*/ 663840 h 663840"/>
                  <a:gd name="connsiteX7" fmla="*/ 0 w 474348"/>
                  <a:gd name="connsiteY7" fmla="*/ 663840 h 663840"/>
                  <a:gd name="connsiteX8" fmla="*/ 0 w 474348"/>
                  <a:gd name="connsiteY8" fmla="*/ 663840 h 663840"/>
                  <a:gd name="connsiteX9" fmla="*/ 0 w 474348"/>
                  <a:gd name="connsiteY9" fmla="*/ 211225 h 663840"/>
                  <a:gd name="connsiteX10" fmla="*/ 144178 w 474348"/>
                  <a:gd name="connsiteY10" fmla="*/ 22667 h 663840"/>
                  <a:gd name="connsiteX0" fmla="*/ 144178 w 474348"/>
                  <a:gd name="connsiteY0" fmla="*/ 22667 h 663840"/>
                  <a:gd name="connsiteX1" fmla="*/ 214238 w 474348"/>
                  <a:gd name="connsiteY1" fmla="*/ 0 h 663840"/>
                  <a:gd name="connsiteX2" fmla="*/ 314250 w 474348"/>
                  <a:gd name="connsiteY2" fmla="*/ 18756 h 663840"/>
                  <a:gd name="connsiteX3" fmla="*/ 474348 w 474348"/>
                  <a:gd name="connsiteY3" fmla="*/ 211225 h 663840"/>
                  <a:gd name="connsiteX4" fmla="*/ 474348 w 474348"/>
                  <a:gd name="connsiteY4" fmla="*/ 663840 h 663840"/>
                  <a:gd name="connsiteX5" fmla="*/ 474348 w 474348"/>
                  <a:gd name="connsiteY5" fmla="*/ 663840 h 663840"/>
                  <a:gd name="connsiteX6" fmla="*/ 248129 w 474348"/>
                  <a:gd name="connsiteY6" fmla="*/ 663840 h 663840"/>
                  <a:gd name="connsiteX7" fmla="*/ 0 w 474348"/>
                  <a:gd name="connsiteY7" fmla="*/ 663840 h 663840"/>
                  <a:gd name="connsiteX8" fmla="*/ 0 w 474348"/>
                  <a:gd name="connsiteY8" fmla="*/ 663840 h 663840"/>
                  <a:gd name="connsiteX9" fmla="*/ 0 w 474348"/>
                  <a:gd name="connsiteY9" fmla="*/ 211225 h 663840"/>
                  <a:gd name="connsiteX10" fmla="*/ 144178 w 474348"/>
                  <a:gd name="connsiteY10" fmla="*/ 22667 h 663840"/>
                  <a:gd name="connsiteX0" fmla="*/ 144178 w 474348"/>
                  <a:gd name="connsiteY0" fmla="*/ 22667 h 663840"/>
                  <a:gd name="connsiteX1" fmla="*/ 214238 w 474348"/>
                  <a:gd name="connsiteY1" fmla="*/ 0 h 663840"/>
                  <a:gd name="connsiteX2" fmla="*/ 314250 w 474348"/>
                  <a:gd name="connsiteY2" fmla="*/ 18756 h 663840"/>
                  <a:gd name="connsiteX3" fmla="*/ 474348 w 474348"/>
                  <a:gd name="connsiteY3" fmla="*/ 211225 h 663840"/>
                  <a:gd name="connsiteX4" fmla="*/ 474348 w 474348"/>
                  <a:gd name="connsiteY4" fmla="*/ 663840 h 663840"/>
                  <a:gd name="connsiteX5" fmla="*/ 474348 w 474348"/>
                  <a:gd name="connsiteY5" fmla="*/ 663840 h 663840"/>
                  <a:gd name="connsiteX6" fmla="*/ 248129 w 474348"/>
                  <a:gd name="connsiteY6" fmla="*/ 663840 h 663840"/>
                  <a:gd name="connsiteX7" fmla="*/ 0 w 474348"/>
                  <a:gd name="connsiteY7" fmla="*/ 663840 h 663840"/>
                  <a:gd name="connsiteX8" fmla="*/ 0 w 474348"/>
                  <a:gd name="connsiteY8" fmla="*/ 663840 h 663840"/>
                  <a:gd name="connsiteX9" fmla="*/ 0 w 474348"/>
                  <a:gd name="connsiteY9" fmla="*/ 211225 h 663840"/>
                  <a:gd name="connsiteX10" fmla="*/ 144178 w 474348"/>
                  <a:gd name="connsiteY10" fmla="*/ 22667 h 663840"/>
                  <a:gd name="connsiteX0" fmla="*/ 144178 w 474348"/>
                  <a:gd name="connsiteY0" fmla="*/ 22667 h 663840"/>
                  <a:gd name="connsiteX1" fmla="*/ 214238 w 474348"/>
                  <a:gd name="connsiteY1" fmla="*/ 0 h 663840"/>
                  <a:gd name="connsiteX2" fmla="*/ 314250 w 474348"/>
                  <a:gd name="connsiteY2" fmla="*/ 18756 h 663840"/>
                  <a:gd name="connsiteX3" fmla="*/ 474348 w 474348"/>
                  <a:gd name="connsiteY3" fmla="*/ 211225 h 663840"/>
                  <a:gd name="connsiteX4" fmla="*/ 474348 w 474348"/>
                  <a:gd name="connsiteY4" fmla="*/ 663840 h 663840"/>
                  <a:gd name="connsiteX5" fmla="*/ 474348 w 474348"/>
                  <a:gd name="connsiteY5" fmla="*/ 663840 h 663840"/>
                  <a:gd name="connsiteX6" fmla="*/ 248129 w 474348"/>
                  <a:gd name="connsiteY6" fmla="*/ 663840 h 663840"/>
                  <a:gd name="connsiteX7" fmla="*/ 0 w 474348"/>
                  <a:gd name="connsiteY7" fmla="*/ 663840 h 663840"/>
                  <a:gd name="connsiteX8" fmla="*/ 0 w 474348"/>
                  <a:gd name="connsiteY8" fmla="*/ 663840 h 663840"/>
                  <a:gd name="connsiteX9" fmla="*/ 0 w 474348"/>
                  <a:gd name="connsiteY9" fmla="*/ 211225 h 663840"/>
                  <a:gd name="connsiteX10" fmla="*/ 144178 w 474348"/>
                  <a:gd name="connsiteY10" fmla="*/ 22667 h 6638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74348" h="663840">
                    <a:moveTo>
                      <a:pt x="144178" y="22667"/>
                    </a:moveTo>
                    <a:cubicBezTo>
                      <a:pt x="211732" y="-970"/>
                      <a:pt x="181869" y="7990"/>
                      <a:pt x="214238" y="0"/>
                    </a:cubicBezTo>
                    <a:cubicBezTo>
                      <a:pt x="259321" y="7224"/>
                      <a:pt x="221757" y="369"/>
                      <a:pt x="314250" y="18756"/>
                    </a:cubicBezTo>
                    <a:cubicBezTo>
                      <a:pt x="399877" y="51074"/>
                      <a:pt x="474348" y="104798"/>
                      <a:pt x="474348" y="211225"/>
                    </a:cubicBezTo>
                    <a:lnTo>
                      <a:pt x="474348" y="663840"/>
                    </a:lnTo>
                    <a:lnTo>
                      <a:pt x="474348" y="663840"/>
                    </a:lnTo>
                    <a:lnTo>
                      <a:pt x="248129" y="663840"/>
                    </a:lnTo>
                    <a:lnTo>
                      <a:pt x="0" y="663840"/>
                    </a:lnTo>
                    <a:lnTo>
                      <a:pt x="0" y="663840"/>
                    </a:lnTo>
                    <a:lnTo>
                      <a:pt x="0" y="211225"/>
                    </a:lnTo>
                    <a:cubicBezTo>
                      <a:pt x="0" y="104798"/>
                      <a:pt x="80700" y="56026"/>
                      <a:pt x="144178" y="22667"/>
                    </a:cubicBezTo>
                    <a:close/>
                  </a:path>
                </a:pathLst>
              </a:cu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68" name="Round Same Side Corner Rectangle 11"/>
              <p:cNvSpPr/>
              <p:nvPr/>
            </p:nvSpPr>
            <p:spPr>
              <a:xfrm rot="16200000">
                <a:off x="6912899" y="2339184"/>
                <a:ext cx="101418" cy="1051827"/>
              </a:xfrm>
              <a:custGeom>
                <a:avLst/>
                <a:gdLst>
                  <a:gd name="connsiteX0" fmla="*/ 192704 w 474348"/>
                  <a:gd name="connsiteY0" fmla="*/ 0 h 645319"/>
                  <a:gd name="connsiteX1" fmla="*/ 281644 w 474348"/>
                  <a:gd name="connsiteY1" fmla="*/ 0 h 645319"/>
                  <a:gd name="connsiteX2" fmla="*/ 474348 w 474348"/>
                  <a:gd name="connsiteY2" fmla="*/ 192704 h 645319"/>
                  <a:gd name="connsiteX3" fmla="*/ 474348 w 474348"/>
                  <a:gd name="connsiteY3" fmla="*/ 645319 h 645319"/>
                  <a:gd name="connsiteX4" fmla="*/ 474348 w 474348"/>
                  <a:gd name="connsiteY4" fmla="*/ 645319 h 645319"/>
                  <a:gd name="connsiteX5" fmla="*/ 0 w 474348"/>
                  <a:gd name="connsiteY5" fmla="*/ 645319 h 645319"/>
                  <a:gd name="connsiteX6" fmla="*/ 0 w 474348"/>
                  <a:gd name="connsiteY6" fmla="*/ 645319 h 645319"/>
                  <a:gd name="connsiteX7" fmla="*/ 0 w 474348"/>
                  <a:gd name="connsiteY7" fmla="*/ 192704 h 645319"/>
                  <a:gd name="connsiteX8" fmla="*/ 192704 w 474348"/>
                  <a:gd name="connsiteY8" fmla="*/ 0 h 645319"/>
                  <a:gd name="connsiteX0" fmla="*/ 192704 w 474348"/>
                  <a:gd name="connsiteY0" fmla="*/ 0 h 645319"/>
                  <a:gd name="connsiteX1" fmla="*/ 281644 w 474348"/>
                  <a:gd name="connsiteY1" fmla="*/ 0 h 645319"/>
                  <a:gd name="connsiteX2" fmla="*/ 474348 w 474348"/>
                  <a:gd name="connsiteY2" fmla="*/ 192704 h 645319"/>
                  <a:gd name="connsiteX3" fmla="*/ 474348 w 474348"/>
                  <a:gd name="connsiteY3" fmla="*/ 645319 h 645319"/>
                  <a:gd name="connsiteX4" fmla="*/ 474348 w 474348"/>
                  <a:gd name="connsiteY4" fmla="*/ 645319 h 645319"/>
                  <a:gd name="connsiteX5" fmla="*/ 248129 w 474348"/>
                  <a:gd name="connsiteY5" fmla="*/ 645319 h 645319"/>
                  <a:gd name="connsiteX6" fmla="*/ 0 w 474348"/>
                  <a:gd name="connsiteY6" fmla="*/ 645319 h 645319"/>
                  <a:gd name="connsiteX7" fmla="*/ 0 w 474348"/>
                  <a:gd name="connsiteY7" fmla="*/ 645319 h 645319"/>
                  <a:gd name="connsiteX8" fmla="*/ 0 w 474348"/>
                  <a:gd name="connsiteY8" fmla="*/ 192704 h 645319"/>
                  <a:gd name="connsiteX9" fmla="*/ 192704 w 474348"/>
                  <a:gd name="connsiteY9" fmla="*/ 0 h 645319"/>
                  <a:gd name="connsiteX0" fmla="*/ 192704 w 474348"/>
                  <a:gd name="connsiteY0" fmla="*/ 2381 h 647700"/>
                  <a:gd name="connsiteX1" fmla="*/ 240986 w 474348"/>
                  <a:gd name="connsiteY1" fmla="*/ 0 h 647700"/>
                  <a:gd name="connsiteX2" fmla="*/ 281644 w 474348"/>
                  <a:gd name="connsiteY2" fmla="*/ 2381 h 647700"/>
                  <a:gd name="connsiteX3" fmla="*/ 474348 w 474348"/>
                  <a:gd name="connsiteY3" fmla="*/ 195085 h 647700"/>
                  <a:gd name="connsiteX4" fmla="*/ 474348 w 474348"/>
                  <a:gd name="connsiteY4" fmla="*/ 647700 h 647700"/>
                  <a:gd name="connsiteX5" fmla="*/ 474348 w 474348"/>
                  <a:gd name="connsiteY5" fmla="*/ 647700 h 647700"/>
                  <a:gd name="connsiteX6" fmla="*/ 248129 w 474348"/>
                  <a:gd name="connsiteY6" fmla="*/ 647700 h 647700"/>
                  <a:gd name="connsiteX7" fmla="*/ 0 w 474348"/>
                  <a:gd name="connsiteY7" fmla="*/ 647700 h 647700"/>
                  <a:gd name="connsiteX8" fmla="*/ 0 w 474348"/>
                  <a:gd name="connsiteY8" fmla="*/ 647700 h 647700"/>
                  <a:gd name="connsiteX9" fmla="*/ 0 w 474348"/>
                  <a:gd name="connsiteY9" fmla="*/ 195085 h 647700"/>
                  <a:gd name="connsiteX10" fmla="*/ 192704 w 474348"/>
                  <a:gd name="connsiteY10" fmla="*/ 2381 h 647700"/>
                  <a:gd name="connsiteX0" fmla="*/ 192704 w 474348"/>
                  <a:gd name="connsiteY0" fmla="*/ 42862 h 688181"/>
                  <a:gd name="connsiteX1" fmla="*/ 240986 w 474348"/>
                  <a:gd name="connsiteY1" fmla="*/ 0 h 688181"/>
                  <a:gd name="connsiteX2" fmla="*/ 281644 w 474348"/>
                  <a:gd name="connsiteY2" fmla="*/ 42862 h 688181"/>
                  <a:gd name="connsiteX3" fmla="*/ 474348 w 474348"/>
                  <a:gd name="connsiteY3" fmla="*/ 235566 h 688181"/>
                  <a:gd name="connsiteX4" fmla="*/ 474348 w 474348"/>
                  <a:gd name="connsiteY4" fmla="*/ 688181 h 688181"/>
                  <a:gd name="connsiteX5" fmla="*/ 474348 w 474348"/>
                  <a:gd name="connsiteY5" fmla="*/ 688181 h 688181"/>
                  <a:gd name="connsiteX6" fmla="*/ 248129 w 474348"/>
                  <a:gd name="connsiteY6" fmla="*/ 688181 h 688181"/>
                  <a:gd name="connsiteX7" fmla="*/ 0 w 474348"/>
                  <a:gd name="connsiteY7" fmla="*/ 688181 h 688181"/>
                  <a:gd name="connsiteX8" fmla="*/ 0 w 474348"/>
                  <a:gd name="connsiteY8" fmla="*/ 688181 h 688181"/>
                  <a:gd name="connsiteX9" fmla="*/ 0 w 474348"/>
                  <a:gd name="connsiteY9" fmla="*/ 235566 h 688181"/>
                  <a:gd name="connsiteX10" fmla="*/ 192704 w 474348"/>
                  <a:gd name="connsiteY10" fmla="*/ 42862 h 688181"/>
                  <a:gd name="connsiteX0" fmla="*/ 192704 w 474348"/>
                  <a:gd name="connsiteY0" fmla="*/ 23812 h 669131"/>
                  <a:gd name="connsiteX1" fmla="*/ 265690 w 474348"/>
                  <a:gd name="connsiteY1" fmla="*/ 0 h 669131"/>
                  <a:gd name="connsiteX2" fmla="*/ 281644 w 474348"/>
                  <a:gd name="connsiteY2" fmla="*/ 23812 h 669131"/>
                  <a:gd name="connsiteX3" fmla="*/ 474348 w 474348"/>
                  <a:gd name="connsiteY3" fmla="*/ 216516 h 669131"/>
                  <a:gd name="connsiteX4" fmla="*/ 474348 w 474348"/>
                  <a:gd name="connsiteY4" fmla="*/ 669131 h 669131"/>
                  <a:gd name="connsiteX5" fmla="*/ 474348 w 474348"/>
                  <a:gd name="connsiteY5" fmla="*/ 669131 h 669131"/>
                  <a:gd name="connsiteX6" fmla="*/ 248129 w 474348"/>
                  <a:gd name="connsiteY6" fmla="*/ 669131 h 669131"/>
                  <a:gd name="connsiteX7" fmla="*/ 0 w 474348"/>
                  <a:gd name="connsiteY7" fmla="*/ 669131 h 669131"/>
                  <a:gd name="connsiteX8" fmla="*/ 0 w 474348"/>
                  <a:gd name="connsiteY8" fmla="*/ 669131 h 669131"/>
                  <a:gd name="connsiteX9" fmla="*/ 0 w 474348"/>
                  <a:gd name="connsiteY9" fmla="*/ 216516 h 669131"/>
                  <a:gd name="connsiteX10" fmla="*/ 192704 w 474348"/>
                  <a:gd name="connsiteY10" fmla="*/ 23812 h 669131"/>
                  <a:gd name="connsiteX0" fmla="*/ 192704 w 474348"/>
                  <a:gd name="connsiteY0" fmla="*/ 23812 h 669131"/>
                  <a:gd name="connsiteX1" fmla="*/ 265690 w 474348"/>
                  <a:gd name="connsiteY1" fmla="*/ 0 h 669131"/>
                  <a:gd name="connsiteX2" fmla="*/ 281644 w 474348"/>
                  <a:gd name="connsiteY2" fmla="*/ 23812 h 669131"/>
                  <a:gd name="connsiteX3" fmla="*/ 474348 w 474348"/>
                  <a:gd name="connsiteY3" fmla="*/ 216516 h 669131"/>
                  <a:gd name="connsiteX4" fmla="*/ 474348 w 474348"/>
                  <a:gd name="connsiteY4" fmla="*/ 669131 h 669131"/>
                  <a:gd name="connsiteX5" fmla="*/ 474348 w 474348"/>
                  <a:gd name="connsiteY5" fmla="*/ 669131 h 669131"/>
                  <a:gd name="connsiteX6" fmla="*/ 248129 w 474348"/>
                  <a:gd name="connsiteY6" fmla="*/ 669131 h 669131"/>
                  <a:gd name="connsiteX7" fmla="*/ 0 w 474348"/>
                  <a:gd name="connsiteY7" fmla="*/ 669131 h 669131"/>
                  <a:gd name="connsiteX8" fmla="*/ 0 w 474348"/>
                  <a:gd name="connsiteY8" fmla="*/ 669131 h 669131"/>
                  <a:gd name="connsiteX9" fmla="*/ 0 w 474348"/>
                  <a:gd name="connsiteY9" fmla="*/ 216516 h 669131"/>
                  <a:gd name="connsiteX10" fmla="*/ 192704 w 474348"/>
                  <a:gd name="connsiteY10" fmla="*/ 23812 h 669131"/>
                  <a:gd name="connsiteX0" fmla="*/ 192704 w 474348"/>
                  <a:gd name="connsiteY0" fmla="*/ 23812 h 669131"/>
                  <a:gd name="connsiteX1" fmla="*/ 265690 w 474348"/>
                  <a:gd name="connsiteY1" fmla="*/ 0 h 669131"/>
                  <a:gd name="connsiteX2" fmla="*/ 281644 w 474348"/>
                  <a:gd name="connsiteY2" fmla="*/ 23812 h 669131"/>
                  <a:gd name="connsiteX3" fmla="*/ 474348 w 474348"/>
                  <a:gd name="connsiteY3" fmla="*/ 216516 h 669131"/>
                  <a:gd name="connsiteX4" fmla="*/ 474348 w 474348"/>
                  <a:gd name="connsiteY4" fmla="*/ 669131 h 669131"/>
                  <a:gd name="connsiteX5" fmla="*/ 474348 w 474348"/>
                  <a:gd name="connsiteY5" fmla="*/ 669131 h 669131"/>
                  <a:gd name="connsiteX6" fmla="*/ 248129 w 474348"/>
                  <a:gd name="connsiteY6" fmla="*/ 669131 h 669131"/>
                  <a:gd name="connsiteX7" fmla="*/ 0 w 474348"/>
                  <a:gd name="connsiteY7" fmla="*/ 669131 h 669131"/>
                  <a:gd name="connsiteX8" fmla="*/ 0 w 474348"/>
                  <a:gd name="connsiteY8" fmla="*/ 669131 h 669131"/>
                  <a:gd name="connsiteX9" fmla="*/ 0 w 474348"/>
                  <a:gd name="connsiteY9" fmla="*/ 216516 h 669131"/>
                  <a:gd name="connsiteX10" fmla="*/ 192704 w 474348"/>
                  <a:gd name="connsiteY10" fmla="*/ 23812 h 669131"/>
                  <a:gd name="connsiteX0" fmla="*/ 192704 w 474348"/>
                  <a:gd name="connsiteY0" fmla="*/ 23812 h 669131"/>
                  <a:gd name="connsiteX1" fmla="*/ 265690 w 474348"/>
                  <a:gd name="connsiteY1" fmla="*/ 0 h 669131"/>
                  <a:gd name="connsiteX2" fmla="*/ 314250 w 474348"/>
                  <a:gd name="connsiteY2" fmla="*/ 24047 h 669131"/>
                  <a:gd name="connsiteX3" fmla="*/ 474348 w 474348"/>
                  <a:gd name="connsiteY3" fmla="*/ 216516 h 669131"/>
                  <a:gd name="connsiteX4" fmla="*/ 474348 w 474348"/>
                  <a:gd name="connsiteY4" fmla="*/ 669131 h 669131"/>
                  <a:gd name="connsiteX5" fmla="*/ 474348 w 474348"/>
                  <a:gd name="connsiteY5" fmla="*/ 669131 h 669131"/>
                  <a:gd name="connsiteX6" fmla="*/ 248129 w 474348"/>
                  <a:gd name="connsiteY6" fmla="*/ 669131 h 669131"/>
                  <a:gd name="connsiteX7" fmla="*/ 0 w 474348"/>
                  <a:gd name="connsiteY7" fmla="*/ 669131 h 669131"/>
                  <a:gd name="connsiteX8" fmla="*/ 0 w 474348"/>
                  <a:gd name="connsiteY8" fmla="*/ 669131 h 669131"/>
                  <a:gd name="connsiteX9" fmla="*/ 0 w 474348"/>
                  <a:gd name="connsiteY9" fmla="*/ 216516 h 669131"/>
                  <a:gd name="connsiteX10" fmla="*/ 192704 w 474348"/>
                  <a:gd name="connsiteY10" fmla="*/ 23812 h 669131"/>
                  <a:gd name="connsiteX0" fmla="*/ 192704 w 474348"/>
                  <a:gd name="connsiteY0" fmla="*/ 23812 h 669131"/>
                  <a:gd name="connsiteX1" fmla="*/ 265690 w 474348"/>
                  <a:gd name="connsiteY1" fmla="*/ 0 h 669131"/>
                  <a:gd name="connsiteX2" fmla="*/ 314250 w 474348"/>
                  <a:gd name="connsiteY2" fmla="*/ 24047 h 669131"/>
                  <a:gd name="connsiteX3" fmla="*/ 474348 w 474348"/>
                  <a:gd name="connsiteY3" fmla="*/ 216516 h 669131"/>
                  <a:gd name="connsiteX4" fmla="*/ 474348 w 474348"/>
                  <a:gd name="connsiteY4" fmla="*/ 669131 h 669131"/>
                  <a:gd name="connsiteX5" fmla="*/ 474348 w 474348"/>
                  <a:gd name="connsiteY5" fmla="*/ 669131 h 669131"/>
                  <a:gd name="connsiteX6" fmla="*/ 248129 w 474348"/>
                  <a:gd name="connsiteY6" fmla="*/ 669131 h 669131"/>
                  <a:gd name="connsiteX7" fmla="*/ 0 w 474348"/>
                  <a:gd name="connsiteY7" fmla="*/ 669131 h 669131"/>
                  <a:gd name="connsiteX8" fmla="*/ 0 w 474348"/>
                  <a:gd name="connsiteY8" fmla="*/ 669131 h 669131"/>
                  <a:gd name="connsiteX9" fmla="*/ 0 w 474348"/>
                  <a:gd name="connsiteY9" fmla="*/ 216516 h 669131"/>
                  <a:gd name="connsiteX10" fmla="*/ 192704 w 474348"/>
                  <a:gd name="connsiteY10" fmla="*/ 23812 h 669131"/>
                  <a:gd name="connsiteX0" fmla="*/ 192704 w 474348"/>
                  <a:gd name="connsiteY0" fmla="*/ 23812 h 669131"/>
                  <a:gd name="connsiteX1" fmla="*/ 265690 w 474348"/>
                  <a:gd name="connsiteY1" fmla="*/ 0 h 669131"/>
                  <a:gd name="connsiteX2" fmla="*/ 314250 w 474348"/>
                  <a:gd name="connsiteY2" fmla="*/ 24047 h 669131"/>
                  <a:gd name="connsiteX3" fmla="*/ 474348 w 474348"/>
                  <a:gd name="connsiteY3" fmla="*/ 216516 h 669131"/>
                  <a:gd name="connsiteX4" fmla="*/ 474348 w 474348"/>
                  <a:gd name="connsiteY4" fmla="*/ 669131 h 669131"/>
                  <a:gd name="connsiteX5" fmla="*/ 474348 w 474348"/>
                  <a:gd name="connsiteY5" fmla="*/ 669131 h 669131"/>
                  <a:gd name="connsiteX6" fmla="*/ 248129 w 474348"/>
                  <a:gd name="connsiteY6" fmla="*/ 669131 h 669131"/>
                  <a:gd name="connsiteX7" fmla="*/ 0 w 474348"/>
                  <a:gd name="connsiteY7" fmla="*/ 669131 h 669131"/>
                  <a:gd name="connsiteX8" fmla="*/ 0 w 474348"/>
                  <a:gd name="connsiteY8" fmla="*/ 669131 h 669131"/>
                  <a:gd name="connsiteX9" fmla="*/ 0 w 474348"/>
                  <a:gd name="connsiteY9" fmla="*/ 216516 h 669131"/>
                  <a:gd name="connsiteX10" fmla="*/ 192704 w 474348"/>
                  <a:gd name="connsiteY10" fmla="*/ 23812 h 669131"/>
                  <a:gd name="connsiteX0" fmla="*/ 174282 w 474348"/>
                  <a:gd name="connsiteY0" fmla="*/ 23596 h 669131"/>
                  <a:gd name="connsiteX1" fmla="*/ 265690 w 474348"/>
                  <a:gd name="connsiteY1" fmla="*/ 0 h 669131"/>
                  <a:gd name="connsiteX2" fmla="*/ 314250 w 474348"/>
                  <a:gd name="connsiteY2" fmla="*/ 24047 h 669131"/>
                  <a:gd name="connsiteX3" fmla="*/ 474348 w 474348"/>
                  <a:gd name="connsiteY3" fmla="*/ 216516 h 669131"/>
                  <a:gd name="connsiteX4" fmla="*/ 474348 w 474348"/>
                  <a:gd name="connsiteY4" fmla="*/ 669131 h 669131"/>
                  <a:gd name="connsiteX5" fmla="*/ 474348 w 474348"/>
                  <a:gd name="connsiteY5" fmla="*/ 669131 h 669131"/>
                  <a:gd name="connsiteX6" fmla="*/ 248129 w 474348"/>
                  <a:gd name="connsiteY6" fmla="*/ 669131 h 669131"/>
                  <a:gd name="connsiteX7" fmla="*/ 0 w 474348"/>
                  <a:gd name="connsiteY7" fmla="*/ 669131 h 669131"/>
                  <a:gd name="connsiteX8" fmla="*/ 0 w 474348"/>
                  <a:gd name="connsiteY8" fmla="*/ 669131 h 669131"/>
                  <a:gd name="connsiteX9" fmla="*/ 0 w 474348"/>
                  <a:gd name="connsiteY9" fmla="*/ 216516 h 669131"/>
                  <a:gd name="connsiteX10" fmla="*/ 174282 w 474348"/>
                  <a:gd name="connsiteY10" fmla="*/ 23596 h 669131"/>
                  <a:gd name="connsiteX0" fmla="*/ 174282 w 474348"/>
                  <a:gd name="connsiteY0" fmla="*/ 24619 h 670154"/>
                  <a:gd name="connsiteX1" fmla="*/ 216121 w 474348"/>
                  <a:gd name="connsiteY1" fmla="*/ 0 h 670154"/>
                  <a:gd name="connsiteX2" fmla="*/ 314250 w 474348"/>
                  <a:gd name="connsiteY2" fmla="*/ 25070 h 670154"/>
                  <a:gd name="connsiteX3" fmla="*/ 474348 w 474348"/>
                  <a:gd name="connsiteY3" fmla="*/ 217539 h 670154"/>
                  <a:gd name="connsiteX4" fmla="*/ 474348 w 474348"/>
                  <a:gd name="connsiteY4" fmla="*/ 670154 h 670154"/>
                  <a:gd name="connsiteX5" fmla="*/ 474348 w 474348"/>
                  <a:gd name="connsiteY5" fmla="*/ 670154 h 670154"/>
                  <a:gd name="connsiteX6" fmla="*/ 248129 w 474348"/>
                  <a:gd name="connsiteY6" fmla="*/ 670154 h 670154"/>
                  <a:gd name="connsiteX7" fmla="*/ 0 w 474348"/>
                  <a:gd name="connsiteY7" fmla="*/ 670154 h 670154"/>
                  <a:gd name="connsiteX8" fmla="*/ 0 w 474348"/>
                  <a:gd name="connsiteY8" fmla="*/ 670154 h 670154"/>
                  <a:gd name="connsiteX9" fmla="*/ 0 w 474348"/>
                  <a:gd name="connsiteY9" fmla="*/ 217539 h 670154"/>
                  <a:gd name="connsiteX10" fmla="*/ 174282 w 474348"/>
                  <a:gd name="connsiteY10" fmla="*/ 24619 h 670154"/>
                  <a:gd name="connsiteX0" fmla="*/ 174282 w 474348"/>
                  <a:gd name="connsiteY0" fmla="*/ 24619 h 670154"/>
                  <a:gd name="connsiteX1" fmla="*/ 216121 w 474348"/>
                  <a:gd name="connsiteY1" fmla="*/ 0 h 670154"/>
                  <a:gd name="connsiteX2" fmla="*/ 314250 w 474348"/>
                  <a:gd name="connsiteY2" fmla="*/ 25070 h 670154"/>
                  <a:gd name="connsiteX3" fmla="*/ 474348 w 474348"/>
                  <a:gd name="connsiteY3" fmla="*/ 217539 h 670154"/>
                  <a:gd name="connsiteX4" fmla="*/ 474348 w 474348"/>
                  <a:gd name="connsiteY4" fmla="*/ 670154 h 670154"/>
                  <a:gd name="connsiteX5" fmla="*/ 474348 w 474348"/>
                  <a:gd name="connsiteY5" fmla="*/ 670154 h 670154"/>
                  <a:gd name="connsiteX6" fmla="*/ 248129 w 474348"/>
                  <a:gd name="connsiteY6" fmla="*/ 670154 h 670154"/>
                  <a:gd name="connsiteX7" fmla="*/ 0 w 474348"/>
                  <a:gd name="connsiteY7" fmla="*/ 670154 h 670154"/>
                  <a:gd name="connsiteX8" fmla="*/ 0 w 474348"/>
                  <a:gd name="connsiteY8" fmla="*/ 670154 h 670154"/>
                  <a:gd name="connsiteX9" fmla="*/ 0 w 474348"/>
                  <a:gd name="connsiteY9" fmla="*/ 217539 h 670154"/>
                  <a:gd name="connsiteX10" fmla="*/ 174282 w 474348"/>
                  <a:gd name="connsiteY10" fmla="*/ 24619 h 670154"/>
                  <a:gd name="connsiteX0" fmla="*/ 174282 w 474348"/>
                  <a:gd name="connsiteY0" fmla="*/ 24619 h 670154"/>
                  <a:gd name="connsiteX1" fmla="*/ 216121 w 474348"/>
                  <a:gd name="connsiteY1" fmla="*/ 0 h 670154"/>
                  <a:gd name="connsiteX2" fmla="*/ 314250 w 474348"/>
                  <a:gd name="connsiteY2" fmla="*/ 25070 h 670154"/>
                  <a:gd name="connsiteX3" fmla="*/ 474348 w 474348"/>
                  <a:gd name="connsiteY3" fmla="*/ 217539 h 670154"/>
                  <a:gd name="connsiteX4" fmla="*/ 474348 w 474348"/>
                  <a:gd name="connsiteY4" fmla="*/ 670154 h 670154"/>
                  <a:gd name="connsiteX5" fmla="*/ 474348 w 474348"/>
                  <a:gd name="connsiteY5" fmla="*/ 670154 h 670154"/>
                  <a:gd name="connsiteX6" fmla="*/ 248129 w 474348"/>
                  <a:gd name="connsiteY6" fmla="*/ 670154 h 670154"/>
                  <a:gd name="connsiteX7" fmla="*/ 0 w 474348"/>
                  <a:gd name="connsiteY7" fmla="*/ 670154 h 670154"/>
                  <a:gd name="connsiteX8" fmla="*/ 0 w 474348"/>
                  <a:gd name="connsiteY8" fmla="*/ 670154 h 670154"/>
                  <a:gd name="connsiteX9" fmla="*/ 0 w 474348"/>
                  <a:gd name="connsiteY9" fmla="*/ 217539 h 670154"/>
                  <a:gd name="connsiteX10" fmla="*/ 174282 w 474348"/>
                  <a:gd name="connsiteY10" fmla="*/ 24619 h 670154"/>
                  <a:gd name="connsiteX0" fmla="*/ 174282 w 474348"/>
                  <a:gd name="connsiteY0" fmla="*/ 24619 h 670154"/>
                  <a:gd name="connsiteX1" fmla="*/ 216121 w 474348"/>
                  <a:gd name="connsiteY1" fmla="*/ 0 h 670154"/>
                  <a:gd name="connsiteX2" fmla="*/ 314250 w 474348"/>
                  <a:gd name="connsiteY2" fmla="*/ 25070 h 670154"/>
                  <a:gd name="connsiteX3" fmla="*/ 474348 w 474348"/>
                  <a:gd name="connsiteY3" fmla="*/ 217539 h 670154"/>
                  <a:gd name="connsiteX4" fmla="*/ 474348 w 474348"/>
                  <a:gd name="connsiteY4" fmla="*/ 670154 h 670154"/>
                  <a:gd name="connsiteX5" fmla="*/ 474348 w 474348"/>
                  <a:gd name="connsiteY5" fmla="*/ 670154 h 670154"/>
                  <a:gd name="connsiteX6" fmla="*/ 248129 w 474348"/>
                  <a:gd name="connsiteY6" fmla="*/ 670154 h 670154"/>
                  <a:gd name="connsiteX7" fmla="*/ 0 w 474348"/>
                  <a:gd name="connsiteY7" fmla="*/ 670154 h 670154"/>
                  <a:gd name="connsiteX8" fmla="*/ 0 w 474348"/>
                  <a:gd name="connsiteY8" fmla="*/ 670154 h 670154"/>
                  <a:gd name="connsiteX9" fmla="*/ 0 w 474348"/>
                  <a:gd name="connsiteY9" fmla="*/ 217539 h 670154"/>
                  <a:gd name="connsiteX10" fmla="*/ 174282 w 474348"/>
                  <a:gd name="connsiteY10" fmla="*/ 24619 h 670154"/>
                  <a:gd name="connsiteX0" fmla="*/ 148557 w 474348"/>
                  <a:gd name="connsiteY0" fmla="*/ 27264 h 670154"/>
                  <a:gd name="connsiteX1" fmla="*/ 216121 w 474348"/>
                  <a:gd name="connsiteY1" fmla="*/ 0 h 670154"/>
                  <a:gd name="connsiteX2" fmla="*/ 314250 w 474348"/>
                  <a:gd name="connsiteY2" fmla="*/ 25070 h 670154"/>
                  <a:gd name="connsiteX3" fmla="*/ 474348 w 474348"/>
                  <a:gd name="connsiteY3" fmla="*/ 217539 h 670154"/>
                  <a:gd name="connsiteX4" fmla="*/ 474348 w 474348"/>
                  <a:gd name="connsiteY4" fmla="*/ 670154 h 670154"/>
                  <a:gd name="connsiteX5" fmla="*/ 474348 w 474348"/>
                  <a:gd name="connsiteY5" fmla="*/ 670154 h 670154"/>
                  <a:gd name="connsiteX6" fmla="*/ 248129 w 474348"/>
                  <a:gd name="connsiteY6" fmla="*/ 670154 h 670154"/>
                  <a:gd name="connsiteX7" fmla="*/ 0 w 474348"/>
                  <a:gd name="connsiteY7" fmla="*/ 670154 h 670154"/>
                  <a:gd name="connsiteX8" fmla="*/ 0 w 474348"/>
                  <a:gd name="connsiteY8" fmla="*/ 670154 h 670154"/>
                  <a:gd name="connsiteX9" fmla="*/ 0 w 474348"/>
                  <a:gd name="connsiteY9" fmla="*/ 217539 h 670154"/>
                  <a:gd name="connsiteX10" fmla="*/ 148557 w 474348"/>
                  <a:gd name="connsiteY10" fmla="*/ 27264 h 670154"/>
                  <a:gd name="connsiteX0" fmla="*/ 148557 w 474348"/>
                  <a:gd name="connsiteY0" fmla="*/ 20950 h 663840"/>
                  <a:gd name="connsiteX1" fmla="*/ 214238 w 474348"/>
                  <a:gd name="connsiteY1" fmla="*/ 0 h 663840"/>
                  <a:gd name="connsiteX2" fmla="*/ 314250 w 474348"/>
                  <a:gd name="connsiteY2" fmla="*/ 18756 h 663840"/>
                  <a:gd name="connsiteX3" fmla="*/ 474348 w 474348"/>
                  <a:gd name="connsiteY3" fmla="*/ 211225 h 663840"/>
                  <a:gd name="connsiteX4" fmla="*/ 474348 w 474348"/>
                  <a:gd name="connsiteY4" fmla="*/ 663840 h 663840"/>
                  <a:gd name="connsiteX5" fmla="*/ 474348 w 474348"/>
                  <a:gd name="connsiteY5" fmla="*/ 663840 h 663840"/>
                  <a:gd name="connsiteX6" fmla="*/ 248129 w 474348"/>
                  <a:gd name="connsiteY6" fmla="*/ 663840 h 663840"/>
                  <a:gd name="connsiteX7" fmla="*/ 0 w 474348"/>
                  <a:gd name="connsiteY7" fmla="*/ 663840 h 663840"/>
                  <a:gd name="connsiteX8" fmla="*/ 0 w 474348"/>
                  <a:gd name="connsiteY8" fmla="*/ 663840 h 663840"/>
                  <a:gd name="connsiteX9" fmla="*/ 0 w 474348"/>
                  <a:gd name="connsiteY9" fmla="*/ 211225 h 663840"/>
                  <a:gd name="connsiteX10" fmla="*/ 148557 w 474348"/>
                  <a:gd name="connsiteY10" fmla="*/ 20950 h 663840"/>
                  <a:gd name="connsiteX0" fmla="*/ 148557 w 474348"/>
                  <a:gd name="connsiteY0" fmla="*/ 20950 h 663840"/>
                  <a:gd name="connsiteX1" fmla="*/ 214238 w 474348"/>
                  <a:gd name="connsiteY1" fmla="*/ 0 h 663840"/>
                  <a:gd name="connsiteX2" fmla="*/ 314250 w 474348"/>
                  <a:gd name="connsiteY2" fmla="*/ 18756 h 663840"/>
                  <a:gd name="connsiteX3" fmla="*/ 474348 w 474348"/>
                  <a:gd name="connsiteY3" fmla="*/ 211225 h 663840"/>
                  <a:gd name="connsiteX4" fmla="*/ 474348 w 474348"/>
                  <a:gd name="connsiteY4" fmla="*/ 663840 h 663840"/>
                  <a:gd name="connsiteX5" fmla="*/ 474348 w 474348"/>
                  <a:gd name="connsiteY5" fmla="*/ 663840 h 663840"/>
                  <a:gd name="connsiteX6" fmla="*/ 248129 w 474348"/>
                  <a:gd name="connsiteY6" fmla="*/ 663840 h 663840"/>
                  <a:gd name="connsiteX7" fmla="*/ 0 w 474348"/>
                  <a:gd name="connsiteY7" fmla="*/ 663840 h 663840"/>
                  <a:gd name="connsiteX8" fmla="*/ 0 w 474348"/>
                  <a:gd name="connsiteY8" fmla="*/ 663840 h 663840"/>
                  <a:gd name="connsiteX9" fmla="*/ 0 w 474348"/>
                  <a:gd name="connsiteY9" fmla="*/ 211225 h 663840"/>
                  <a:gd name="connsiteX10" fmla="*/ 148557 w 474348"/>
                  <a:gd name="connsiteY10" fmla="*/ 20950 h 663840"/>
                  <a:gd name="connsiteX0" fmla="*/ 148557 w 474348"/>
                  <a:gd name="connsiteY0" fmla="*/ 20950 h 663840"/>
                  <a:gd name="connsiteX1" fmla="*/ 214238 w 474348"/>
                  <a:gd name="connsiteY1" fmla="*/ 0 h 663840"/>
                  <a:gd name="connsiteX2" fmla="*/ 314250 w 474348"/>
                  <a:gd name="connsiteY2" fmla="*/ 18756 h 663840"/>
                  <a:gd name="connsiteX3" fmla="*/ 474348 w 474348"/>
                  <a:gd name="connsiteY3" fmla="*/ 211225 h 663840"/>
                  <a:gd name="connsiteX4" fmla="*/ 474348 w 474348"/>
                  <a:gd name="connsiteY4" fmla="*/ 663840 h 663840"/>
                  <a:gd name="connsiteX5" fmla="*/ 474348 w 474348"/>
                  <a:gd name="connsiteY5" fmla="*/ 663840 h 663840"/>
                  <a:gd name="connsiteX6" fmla="*/ 248129 w 474348"/>
                  <a:gd name="connsiteY6" fmla="*/ 663840 h 663840"/>
                  <a:gd name="connsiteX7" fmla="*/ 0 w 474348"/>
                  <a:gd name="connsiteY7" fmla="*/ 663840 h 663840"/>
                  <a:gd name="connsiteX8" fmla="*/ 0 w 474348"/>
                  <a:gd name="connsiteY8" fmla="*/ 663840 h 663840"/>
                  <a:gd name="connsiteX9" fmla="*/ 0 w 474348"/>
                  <a:gd name="connsiteY9" fmla="*/ 211225 h 663840"/>
                  <a:gd name="connsiteX10" fmla="*/ 148557 w 474348"/>
                  <a:gd name="connsiteY10" fmla="*/ 20950 h 663840"/>
                  <a:gd name="connsiteX0" fmla="*/ 144178 w 474348"/>
                  <a:gd name="connsiteY0" fmla="*/ 22667 h 663840"/>
                  <a:gd name="connsiteX1" fmla="*/ 214238 w 474348"/>
                  <a:gd name="connsiteY1" fmla="*/ 0 h 663840"/>
                  <a:gd name="connsiteX2" fmla="*/ 314250 w 474348"/>
                  <a:gd name="connsiteY2" fmla="*/ 18756 h 663840"/>
                  <a:gd name="connsiteX3" fmla="*/ 474348 w 474348"/>
                  <a:gd name="connsiteY3" fmla="*/ 211225 h 663840"/>
                  <a:gd name="connsiteX4" fmla="*/ 474348 w 474348"/>
                  <a:gd name="connsiteY4" fmla="*/ 663840 h 663840"/>
                  <a:gd name="connsiteX5" fmla="*/ 474348 w 474348"/>
                  <a:gd name="connsiteY5" fmla="*/ 663840 h 663840"/>
                  <a:gd name="connsiteX6" fmla="*/ 248129 w 474348"/>
                  <a:gd name="connsiteY6" fmla="*/ 663840 h 663840"/>
                  <a:gd name="connsiteX7" fmla="*/ 0 w 474348"/>
                  <a:gd name="connsiteY7" fmla="*/ 663840 h 663840"/>
                  <a:gd name="connsiteX8" fmla="*/ 0 w 474348"/>
                  <a:gd name="connsiteY8" fmla="*/ 663840 h 663840"/>
                  <a:gd name="connsiteX9" fmla="*/ 0 w 474348"/>
                  <a:gd name="connsiteY9" fmla="*/ 211225 h 663840"/>
                  <a:gd name="connsiteX10" fmla="*/ 144178 w 474348"/>
                  <a:gd name="connsiteY10" fmla="*/ 22667 h 663840"/>
                  <a:gd name="connsiteX0" fmla="*/ 144178 w 474348"/>
                  <a:gd name="connsiteY0" fmla="*/ 22667 h 663840"/>
                  <a:gd name="connsiteX1" fmla="*/ 214238 w 474348"/>
                  <a:gd name="connsiteY1" fmla="*/ 0 h 663840"/>
                  <a:gd name="connsiteX2" fmla="*/ 314250 w 474348"/>
                  <a:gd name="connsiteY2" fmla="*/ 18756 h 663840"/>
                  <a:gd name="connsiteX3" fmla="*/ 474348 w 474348"/>
                  <a:gd name="connsiteY3" fmla="*/ 211225 h 663840"/>
                  <a:gd name="connsiteX4" fmla="*/ 474348 w 474348"/>
                  <a:gd name="connsiteY4" fmla="*/ 663840 h 663840"/>
                  <a:gd name="connsiteX5" fmla="*/ 474348 w 474348"/>
                  <a:gd name="connsiteY5" fmla="*/ 663840 h 663840"/>
                  <a:gd name="connsiteX6" fmla="*/ 248129 w 474348"/>
                  <a:gd name="connsiteY6" fmla="*/ 663840 h 663840"/>
                  <a:gd name="connsiteX7" fmla="*/ 0 w 474348"/>
                  <a:gd name="connsiteY7" fmla="*/ 663840 h 663840"/>
                  <a:gd name="connsiteX8" fmla="*/ 0 w 474348"/>
                  <a:gd name="connsiteY8" fmla="*/ 663840 h 663840"/>
                  <a:gd name="connsiteX9" fmla="*/ 0 w 474348"/>
                  <a:gd name="connsiteY9" fmla="*/ 211225 h 663840"/>
                  <a:gd name="connsiteX10" fmla="*/ 144178 w 474348"/>
                  <a:gd name="connsiteY10" fmla="*/ 22667 h 663840"/>
                  <a:gd name="connsiteX0" fmla="*/ 144178 w 474348"/>
                  <a:gd name="connsiteY0" fmla="*/ 22667 h 663840"/>
                  <a:gd name="connsiteX1" fmla="*/ 214238 w 474348"/>
                  <a:gd name="connsiteY1" fmla="*/ 0 h 663840"/>
                  <a:gd name="connsiteX2" fmla="*/ 314250 w 474348"/>
                  <a:gd name="connsiteY2" fmla="*/ 18756 h 663840"/>
                  <a:gd name="connsiteX3" fmla="*/ 474348 w 474348"/>
                  <a:gd name="connsiteY3" fmla="*/ 211225 h 663840"/>
                  <a:gd name="connsiteX4" fmla="*/ 474348 w 474348"/>
                  <a:gd name="connsiteY4" fmla="*/ 663840 h 663840"/>
                  <a:gd name="connsiteX5" fmla="*/ 474348 w 474348"/>
                  <a:gd name="connsiteY5" fmla="*/ 663840 h 663840"/>
                  <a:gd name="connsiteX6" fmla="*/ 248129 w 474348"/>
                  <a:gd name="connsiteY6" fmla="*/ 663840 h 663840"/>
                  <a:gd name="connsiteX7" fmla="*/ 0 w 474348"/>
                  <a:gd name="connsiteY7" fmla="*/ 663840 h 663840"/>
                  <a:gd name="connsiteX8" fmla="*/ 0 w 474348"/>
                  <a:gd name="connsiteY8" fmla="*/ 663840 h 663840"/>
                  <a:gd name="connsiteX9" fmla="*/ 0 w 474348"/>
                  <a:gd name="connsiteY9" fmla="*/ 211225 h 663840"/>
                  <a:gd name="connsiteX10" fmla="*/ 144178 w 474348"/>
                  <a:gd name="connsiteY10" fmla="*/ 22667 h 663840"/>
                  <a:gd name="connsiteX0" fmla="*/ 144178 w 474348"/>
                  <a:gd name="connsiteY0" fmla="*/ 22667 h 663840"/>
                  <a:gd name="connsiteX1" fmla="*/ 214238 w 474348"/>
                  <a:gd name="connsiteY1" fmla="*/ 0 h 663840"/>
                  <a:gd name="connsiteX2" fmla="*/ 314250 w 474348"/>
                  <a:gd name="connsiteY2" fmla="*/ 18756 h 663840"/>
                  <a:gd name="connsiteX3" fmla="*/ 474348 w 474348"/>
                  <a:gd name="connsiteY3" fmla="*/ 211225 h 663840"/>
                  <a:gd name="connsiteX4" fmla="*/ 474348 w 474348"/>
                  <a:gd name="connsiteY4" fmla="*/ 663840 h 663840"/>
                  <a:gd name="connsiteX5" fmla="*/ 474348 w 474348"/>
                  <a:gd name="connsiteY5" fmla="*/ 663840 h 663840"/>
                  <a:gd name="connsiteX6" fmla="*/ 248129 w 474348"/>
                  <a:gd name="connsiteY6" fmla="*/ 663840 h 663840"/>
                  <a:gd name="connsiteX7" fmla="*/ 0 w 474348"/>
                  <a:gd name="connsiteY7" fmla="*/ 663840 h 663840"/>
                  <a:gd name="connsiteX8" fmla="*/ 0 w 474348"/>
                  <a:gd name="connsiteY8" fmla="*/ 663840 h 663840"/>
                  <a:gd name="connsiteX9" fmla="*/ 0 w 474348"/>
                  <a:gd name="connsiteY9" fmla="*/ 211225 h 663840"/>
                  <a:gd name="connsiteX10" fmla="*/ 144178 w 474348"/>
                  <a:gd name="connsiteY10" fmla="*/ 22667 h 6638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74348" h="663840">
                    <a:moveTo>
                      <a:pt x="144178" y="22667"/>
                    </a:moveTo>
                    <a:cubicBezTo>
                      <a:pt x="211732" y="-970"/>
                      <a:pt x="181869" y="7990"/>
                      <a:pt x="214238" y="0"/>
                    </a:cubicBezTo>
                    <a:cubicBezTo>
                      <a:pt x="259321" y="7224"/>
                      <a:pt x="221757" y="369"/>
                      <a:pt x="314250" y="18756"/>
                    </a:cubicBezTo>
                    <a:cubicBezTo>
                      <a:pt x="399877" y="51074"/>
                      <a:pt x="474348" y="104798"/>
                      <a:pt x="474348" y="211225"/>
                    </a:cubicBezTo>
                    <a:lnTo>
                      <a:pt x="474348" y="663840"/>
                    </a:lnTo>
                    <a:lnTo>
                      <a:pt x="474348" y="663840"/>
                    </a:lnTo>
                    <a:lnTo>
                      <a:pt x="248129" y="663840"/>
                    </a:lnTo>
                    <a:lnTo>
                      <a:pt x="0" y="663840"/>
                    </a:lnTo>
                    <a:lnTo>
                      <a:pt x="0" y="663840"/>
                    </a:lnTo>
                    <a:lnTo>
                      <a:pt x="0" y="211225"/>
                    </a:lnTo>
                    <a:cubicBezTo>
                      <a:pt x="0" y="104798"/>
                      <a:pt x="80700" y="56026"/>
                      <a:pt x="144178" y="22667"/>
                    </a:cubicBezTo>
                    <a:close/>
                  </a:path>
                </a:pathLst>
              </a:cu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grpSp>
        <p:grpSp>
          <p:nvGrpSpPr>
            <p:cNvPr id="164" name="Group 163"/>
            <p:cNvGrpSpPr/>
            <p:nvPr/>
          </p:nvGrpSpPr>
          <p:grpSpPr>
            <a:xfrm rot="15300000">
              <a:off x="6430508" y="2814389"/>
              <a:ext cx="2108839" cy="101418"/>
              <a:chOff x="6437694" y="2814389"/>
              <a:chExt cx="2108839" cy="101418"/>
            </a:xfrm>
          </p:grpSpPr>
          <p:sp>
            <p:nvSpPr>
              <p:cNvPr id="165" name="Round Same Side Corner Rectangle 11"/>
              <p:cNvSpPr/>
              <p:nvPr/>
            </p:nvSpPr>
            <p:spPr>
              <a:xfrm rot="5400000" flipH="1">
                <a:off x="7969911" y="2339184"/>
                <a:ext cx="101418" cy="1051827"/>
              </a:xfrm>
              <a:custGeom>
                <a:avLst/>
                <a:gdLst>
                  <a:gd name="connsiteX0" fmla="*/ 192704 w 474348"/>
                  <a:gd name="connsiteY0" fmla="*/ 0 h 645319"/>
                  <a:gd name="connsiteX1" fmla="*/ 281644 w 474348"/>
                  <a:gd name="connsiteY1" fmla="*/ 0 h 645319"/>
                  <a:gd name="connsiteX2" fmla="*/ 474348 w 474348"/>
                  <a:gd name="connsiteY2" fmla="*/ 192704 h 645319"/>
                  <a:gd name="connsiteX3" fmla="*/ 474348 w 474348"/>
                  <a:gd name="connsiteY3" fmla="*/ 645319 h 645319"/>
                  <a:gd name="connsiteX4" fmla="*/ 474348 w 474348"/>
                  <a:gd name="connsiteY4" fmla="*/ 645319 h 645319"/>
                  <a:gd name="connsiteX5" fmla="*/ 0 w 474348"/>
                  <a:gd name="connsiteY5" fmla="*/ 645319 h 645319"/>
                  <a:gd name="connsiteX6" fmla="*/ 0 w 474348"/>
                  <a:gd name="connsiteY6" fmla="*/ 645319 h 645319"/>
                  <a:gd name="connsiteX7" fmla="*/ 0 w 474348"/>
                  <a:gd name="connsiteY7" fmla="*/ 192704 h 645319"/>
                  <a:gd name="connsiteX8" fmla="*/ 192704 w 474348"/>
                  <a:gd name="connsiteY8" fmla="*/ 0 h 645319"/>
                  <a:gd name="connsiteX0" fmla="*/ 192704 w 474348"/>
                  <a:gd name="connsiteY0" fmla="*/ 0 h 645319"/>
                  <a:gd name="connsiteX1" fmla="*/ 281644 w 474348"/>
                  <a:gd name="connsiteY1" fmla="*/ 0 h 645319"/>
                  <a:gd name="connsiteX2" fmla="*/ 474348 w 474348"/>
                  <a:gd name="connsiteY2" fmla="*/ 192704 h 645319"/>
                  <a:gd name="connsiteX3" fmla="*/ 474348 w 474348"/>
                  <a:gd name="connsiteY3" fmla="*/ 645319 h 645319"/>
                  <a:gd name="connsiteX4" fmla="*/ 474348 w 474348"/>
                  <a:gd name="connsiteY4" fmla="*/ 645319 h 645319"/>
                  <a:gd name="connsiteX5" fmla="*/ 248129 w 474348"/>
                  <a:gd name="connsiteY5" fmla="*/ 645319 h 645319"/>
                  <a:gd name="connsiteX6" fmla="*/ 0 w 474348"/>
                  <a:gd name="connsiteY6" fmla="*/ 645319 h 645319"/>
                  <a:gd name="connsiteX7" fmla="*/ 0 w 474348"/>
                  <a:gd name="connsiteY7" fmla="*/ 645319 h 645319"/>
                  <a:gd name="connsiteX8" fmla="*/ 0 w 474348"/>
                  <a:gd name="connsiteY8" fmla="*/ 192704 h 645319"/>
                  <a:gd name="connsiteX9" fmla="*/ 192704 w 474348"/>
                  <a:gd name="connsiteY9" fmla="*/ 0 h 645319"/>
                  <a:gd name="connsiteX0" fmla="*/ 192704 w 474348"/>
                  <a:gd name="connsiteY0" fmla="*/ 2381 h 647700"/>
                  <a:gd name="connsiteX1" fmla="*/ 240986 w 474348"/>
                  <a:gd name="connsiteY1" fmla="*/ 0 h 647700"/>
                  <a:gd name="connsiteX2" fmla="*/ 281644 w 474348"/>
                  <a:gd name="connsiteY2" fmla="*/ 2381 h 647700"/>
                  <a:gd name="connsiteX3" fmla="*/ 474348 w 474348"/>
                  <a:gd name="connsiteY3" fmla="*/ 195085 h 647700"/>
                  <a:gd name="connsiteX4" fmla="*/ 474348 w 474348"/>
                  <a:gd name="connsiteY4" fmla="*/ 647700 h 647700"/>
                  <a:gd name="connsiteX5" fmla="*/ 474348 w 474348"/>
                  <a:gd name="connsiteY5" fmla="*/ 647700 h 647700"/>
                  <a:gd name="connsiteX6" fmla="*/ 248129 w 474348"/>
                  <a:gd name="connsiteY6" fmla="*/ 647700 h 647700"/>
                  <a:gd name="connsiteX7" fmla="*/ 0 w 474348"/>
                  <a:gd name="connsiteY7" fmla="*/ 647700 h 647700"/>
                  <a:gd name="connsiteX8" fmla="*/ 0 w 474348"/>
                  <a:gd name="connsiteY8" fmla="*/ 647700 h 647700"/>
                  <a:gd name="connsiteX9" fmla="*/ 0 w 474348"/>
                  <a:gd name="connsiteY9" fmla="*/ 195085 h 647700"/>
                  <a:gd name="connsiteX10" fmla="*/ 192704 w 474348"/>
                  <a:gd name="connsiteY10" fmla="*/ 2381 h 647700"/>
                  <a:gd name="connsiteX0" fmla="*/ 192704 w 474348"/>
                  <a:gd name="connsiteY0" fmla="*/ 42862 h 688181"/>
                  <a:gd name="connsiteX1" fmla="*/ 240986 w 474348"/>
                  <a:gd name="connsiteY1" fmla="*/ 0 h 688181"/>
                  <a:gd name="connsiteX2" fmla="*/ 281644 w 474348"/>
                  <a:gd name="connsiteY2" fmla="*/ 42862 h 688181"/>
                  <a:gd name="connsiteX3" fmla="*/ 474348 w 474348"/>
                  <a:gd name="connsiteY3" fmla="*/ 235566 h 688181"/>
                  <a:gd name="connsiteX4" fmla="*/ 474348 w 474348"/>
                  <a:gd name="connsiteY4" fmla="*/ 688181 h 688181"/>
                  <a:gd name="connsiteX5" fmla="*/ 474348 w 474348"/>
                  <a:gd name="connsiteY5" fmla="*/ 688181 h 688181"/>
                  <a:gd name="connsiteX6" fmla="*/ 248129 w 474348"/>
                  <a:gd name="connsiteY6" fmla="*/ 688181 h 688181"/>
                  <a:gd name="connsiteX7" fmla="*/ 0 w 474348"/>
                  <a:gd name="connsiteY7" fmla="*/ 688181 h 688181"/>
                  <a:gd name="connsiteX8" fmla="*/ 0 w 474348"/>
                  <a:gd name="connsiteY8" fmla="*/ 688181 h 688181"/>
                  <a:gd name="connsiteX9" fmla="*/ 0 w 474348"/>
                  <a:gd name="connsiteY9" fmla="*/ 235566 h 688181"/>
                  <a:gd name="connsiteX10" fmla="*/ 192704 w 474348"/>
                  <a:gd name="connsiteY10" fmla="*/ 42862 h 688181"/>
                  <a:gd name="connsiteX0" fmla="*/ 192704 w 474348"/>
                  <a:gd name="connsiteY0" fmla="*/ 23812 h 669131"/>
                  <a:gd name="connsiteX1" fmla="*/ 265690 w 474348"/>
                  <a:gd name="connsiteY1" fmla="*/ 0 h 669131"/>
                  <a:gd name="connsiteX2" fmla="*/ 281644 w 474348"/>
                  <a:gd name="connsiteY2" fmla="*/ 23812 h 669131"/>
                  <a:gd name="connsiteX3" fmla="*/ 474348 w 474348"/>
                  <a:gd name="connsiteY3" fmla="*/ 216516 h 669131"/>
                  <a:gd name="connsiteX4" fmla="*/ 474348 w 474348"/>
                  <a:gd name="connsiteY4" fmla="*/ 669131 h 669131"/>
                  <a:gd name="connsiteX5" fmla="*/ 474348 w 474348"/>
                  <a:gd name="connsiteY5" fmla="*/ 669131 h 669131"/>
                  <a:gd name="connsiteX6" fmla="*/ 248129 w 474348"/>
                  <a:gd name="connsiteY6" fmla="*/ 669131 h 669131"/>
                  <a:gd name="connsiteX7" fmla="*/ 0 w 474348"/>
                  <a:gd name="connsiteY7" fmla="*/ 669131 h 669131"/>
                  <a:gd name="connsiteX8" fmla="*/ 0 w 474348"/>
                  <a:gd name="connsiteY8" fmla="*/ 669131 h 669131"/>
                  <a:gd name="connsiteX9" fmla="*/ 0 w 474348"/>
                  <a:gd name="connsiteY9" fmla="*/ 216516 h 669131"/>
                  <a:gd name="connsiteX10" fmla="*/ 192704 w 474348"/>
                  <a:gd name="connsiteY10" fmla="*/ 23812 h 669131"/>
                  <a:gd name="connsiteX0" fmla="*/ 192704 w 474348"/>
                  <a:gd name="connsiteY0" fmla="*/ 23812 h 669131"/>
                  <a:gd name="connsiteX1" fmla="*/ 265690 w 474348"/>
                  <a:gd name="connsiteY1" fmla="*/ 0 h 669131"/>
                  <a:gd name="connsiteX2" fmla="*/ 281644 w 474348"/>
                  <a:gd name="connsiteY2" fmla="*/ 23812 h 669131"/>
                  <a:gd name="connsiteX3" fmla="*/ 474348 w 474348"/>
                  <a:gd name="connsiteY3" fmla="*/ 216516 h 669131"/>
                  <a:gd name="connsiteX4" fmla="*/ 474348 w 474348"/>
                  <a:gd name="connsiteY4" fmla="*/ 669131 h 669131"/>
                  <a:gd name="connsiteX5" fmla="*/ 474348 w 474348"/>
                  <a:gd name="connsiteY5" fmla="*/ 669131 h 669131"/>
                  <a:gd name="connsiteX6" fmla="*/ 248129 w 474348"/>
                  <a:gd name="connsiteY6" fmla="*/ 669131 h 669131"/>
                  <a:gd name="connsiteX7" fmla="*/ 0 w 474348"/>
                  <a:gd name="connsiteY7" fmla="*/ 669131 h 669131"/>
                  <a:gd name="connsiteX8" fmla="*/ 0 w 474348"/>
                  <a:gd name="connsiteY8" fmla="*/ 669131 h 669131"/>
                  <a:gd name="connsiteX9" fmla="*/ 0 w 474348"/>
                  <a:gd name="connsiteY9" fmla="*/ 216516 h 669131"/>
                  <a:gd name="connsiteX10" fmla="*/ 192704 w 474348"/>
                  <a:gd name="connsiteY10" fmla="*/ 23812 h 669131"/>
                  <a:gd name="connsiteX0" fmla="*/ 192704 w 474348"/>
                  <a:gd name="connsiteY0" fmla="*/ 23812 h 669131"/>
                  <a:gd name="connsiteX1" fmla="*/ 265690 w 474348"/>
                  <a:gd name="connsiteY1" fmla="*/ 0 h 669131"/>
                  <a:gd name="connsiteX2" fmla="*/ 281644 w 474348"/>
                  <a:gd name="connsiteY2" fmla="*/ 23812 h 669131"/>
                  <a:gd name="connsiteX3" fmla="*/ 474348 w 474348"/>
                  <a:gd name="connsiteY3" fmla="*/ 216516 h 669131"/>
                  <a:gd name="connsiteX4" fmla="*/ 474348 w 474348"/>
                  <a:gd name="connsiteY4" fmla="*/ 669131 h 669131"/>
                  <a:gd name="connsiteX5" fmla="*/ 474348 w 474348"/>
                  <a:gd name="connsiteY5" fmla="*/ 669131 h 669131"/>
                  <a:gd name="connsiteX6" fmla="*/ 248129 w 474348"/>
                  <a:gd name="connsiteY6" fmla="*/ 669131 h 669131"/>
                  <a:gd name="connsiteX7" fmla="*/ 0 w 474348"/>
                  <a:gd name="connsiteY7" fmla="*/ 669131 h 669131"/>
                  <a:gd name="connsiteX8" fmla="*/ 0 w 474348"/>
                  <a:gd name="connsiteY8" fmla="*/ 669131 h 669131"/>
                  <a:gd name="connsiteX9" fmla="*/ 0 w 474348"/>
                  <a:gd name="connsiteY9" fmla="*/ 216516 h 669131"/>
                  <a:gd name="connsiteX10" fmla="*/ 192704 w 474348"/>
                  <a:gd name="connsiteY10" fmla="*/ 23812 h 669131"/>
                  <a:gd name="connsiteX0" fmla="*/ 192704 w 474348"/>
                  <a:gd name="connsiteY0" fmla="*/ 23812 h 669131"/>
                  <a:gd name="connsiteX1" fmla="*/ 265690 w 474348"/>
                  <a:gd name="connsiteY1" fmla="*/ 0 h 669131"/>
                  <a:gd name="connsiteX2" fmla="*/ 314250 w 474348"/>
                  <a:gd name="connsiteY2" fmla="*/ 24047 h 669131"/>
                  <a:gd name="connsiteX3" fmla="*/ 474348 w 474348"/>
                  <a:gd name="connsiteY3" fmla="*/ 216516 h 669131"/>
                  <a:gd name="connsiteX4" fmla="*/ 474348 w 474348"/>
                  <a:gd name="connsiteY4" fmla="*/ 669131 h 669131"/>
                  <a:gd name="connsiteX5" fmla="*/ 474348 w 474348"/>
                  <a:gd name="connsiteY5" fmla="*/ 669131 h 669131"/>
                  <a:gd name="connsiteX6" fmla="*/ 248129 w 474348"/>
                  <a:gd name="connsiteY6" fmla="*/ 669131 h 669131"/>
                  <a:gd name="connsiteX7" fmla="*/ 0 w 474348"/>
                  <a:gd name="connsiteY7" fmla="*/ 669131 h 669131"/>
                  <a:gd name="connsiteX8" fmla="*/ 0 w 474348"/>
                  <a:gd name="connsiteY8" fmla="*/ 669131 h 669131"/>
                  <a:gd name="connsiteX9" fmla="*/ 0 w 474348"/>
                  <a:gd name="connsiteY9" fmla="*/ 216516 h 669131"/>
                  <a:gd name="connsiteX10" fmla="*/ 192704 w 474348"/>
                  <a:gd name="connsiteY10" fmla="*/ 23812 h 669131"/>
                  <a:gd name="connsiteX0" fmla="*/ 192704 w 474348"/>
                  <a:gd name="connsiteY0" fmla="*/ 23812 h 669131"/>
                  <a:gd name="connsiteX1" fmla="*/ 265690 w 474348"/>
                  <a:gd name="connsiteY1" fmla="*/ 0 h 669131"/>
                  <a:gd name="connsiteX2" fmla="*/ 314250 w 474348"/>
                  <a:gd name="connsiteY2" fmla="*/ 24047 h 669131"/>
                  <a:gd name="connsiteX3" fmla="*/ 474348 w 474348"/>
                  <a:gd name="connsiteY3" fmla="*/ 216516 h 669131"/>
                  <a:gd name="connsiteX4" fmla="*/ 474348 w 474348"/>
                  <a:gd name="connsiteY4" fmla="*/ 669131 h 669131"/>
                  <a:gd name="connsiteX5" fmla="*/ 474348 w 474348"/>
                  <a:gd name="connsiteY5" fmla="*/ 669131 h 669131"/>
                  <a:gd name="connsiteX6" fmla="*/ 248129 w 474348"/>
                  <a:gd name="connsiteY6" fmla="*/ 669131 h 669131"/>
                  <a:gd name="connsiteX7" fmla="*/ 0 w 474348"/>
                  <a:gd name="connsiteY7" fmla="*/ 669131 h 669131"/>
                  <a:gd name="connsiteX8" fmla="*/ 0 w 474348"/>
                  <a:gd name="connsiteY8" fmla="*/ 669131 h 669131"/>
                  <a:gd name="connsiteX9" fmla="*/ 0 w 474348"/>
                  <a:gd name="connsiteY9" fmla="*/ 216516 h 669131"/>
                  <a:gd name="connsiteX10" fmla="*/ 192704 w 474348"/>
                  <a:gd name="connsiteY10" fmla="*/ 23812 h 669131"/>
                  <a:gd name="connsiteX0" fmla="*/ 192704 w 474348"/>
                  <a:gd name="connsiteY0" fmla="*/ 23812 h 669131"/>
                  <a:gd name="connsiteX1" fmla="*/ 265690 w 474348"/>
                  <a:gd name="connsiteY1" fmla="*/ 0 h 669131"/>
                  <a:gd name="connsiteX2" fmla="*/ 314250 w 474348"/>
                  <a:gd name="connsiteY2" fmla="*/ 24047 h 669131"/>
                  <a:gd name="connsiteX3" fmla="*/ 474348 w 474348"/>
                  <a:gd name="connsiteY3" fmla="*/ 216516 h 669131"/>
                  <a:gd name="connsiteX4" fmla="*/ 474348 w 474348"/>
                  <a:gd name="connsiteY4" fmla="*/ 669131 h 669131"/>
                  <a:gd name="connsiteX5" fmla="*/ 474348 w 474348"/>
                  <a:gd name="connsiteY5" fmla="*/ 669131 h 669131"/>
                  <a:gd name="connsiteX6" fmla="*/ 248129 w 474348"/>
                  <a:gd name="connsiteY6" fmla="*/ 669131 h 669131"/>
                  <a:gd name="connsiteX7" fmla="*/ 0 w 474348"/>
                  <a:gd name="connsiteY7" fmla="*/ 669131 h 669131"/>
                  <a:gd name="connsiteX8" fmla="*/ 0 w 474348"/>
                  <a:gd name="connsiteY8" fmla="*/ 669131 h 669131"/>
                  <a:gd name="connsiteX9" fmla="*/ 0 w 474348"/>
                  <a:gd name="connsiteY9" fmla="*/ 216516 h 669131"/>
                  <a:gd name="connsiteX10" fmla="*/ 192704 w 474348"/>
                  <a:gd name="connsiteY10" fmla="*/ 23812 h 669131"/>
                  <a:gd name="connsiteX0" fmla="*/ 174282 w 474348"/>
                  <a:gd name="connsiteY0" fmla="*/ 23596 h 669131"/>
                  <a:gd name="connsiteX1" fmla="*/ 265690 w 474348"/>
                  <a:gd name="connsiteY1" fmla="*/ 0 h 669131"/>
                  <a:gd name="connsiteX2" fmla="*/ 314250 w 474348"/>
                  <a:gd name="connsiteY2" fmla="*/ 24047 h 669131"/>
                  <a:gd name="connsiteX3" fmla="*/ 474348 w 474348"/>
                  <a:gd name="connsiteY3" fmla="*/ 216516 h 669131"/>
                  <a:gd name="connsiteX4" fmla="*/ 474348 w 474348"/>
                  <a:gd name="connsiteY4" fmla="*/ 669131 h 669131"/>
                  <a:gd name="connsiteX5" fmla="*/ 474348 w 474348"/>
                  <a:gd name="connsiteY5" fmla="*/ 669131 h 669131"/>
                  <a:gd name="connsiteX6" fmla="*/ 248129 w 474348"/>
                  <a:gd name="connsiteY6" fmla="*/ 669131 h 669131"/>
                  <a:gd name="connsiteX7" fmla="*/ 0 w 474348"/>
                  <a:gd name="connsiteY7" fmla="*/ 669131 h 669131"/>
                  <a:gd name="connsiteX8" fmla="*/ 0 w 474348"/>
                  <a:gd name="connsiteY8" fmla="*/ 669131 h 669131"/>
                  <a:gd name="connsiteX9" fmla="*/ 0 w 474348"/>
                  <a:gd name="connsiteY9" fmla="*/ 216516 h 669131"/>
                  <a:gd name="connsiteX10" fmla="*/ 174282 w 474348"/>
                  <a:gd name="connsiteY10" fmla="*/ 23596 h 669131"/>
                  <a:gd name="connsiteX0" fmla="*/ 174282 w 474348"/>
                  <a:gd name="connsiteY0" fmla="*/ 24619 h 670154"/>
                  <a:gd name="connsiteX1" fmla="*/ 216121 w 474348"/>
                  <a:gd name="connsiteY1" fmla="*/ 0 h 670154"/>
                  <a:gd name="connsiteX2" fmla="*/ 314250 w 474348"/>
                  <a:gd name="connsiteY2" fmla="*/ 25070 h 670154"/>
                  <a:gd name="connsiteX3" fmla="*/ 474348 w 474348"/>
                  <a:gd name="connsiteY3" fmla="*/ 217539 h 670154"/>
                  <a:gd name="connsiteX4" fmla="*/ 474348 w 474348"/>
                  <a:gd name="connsiteY4" fmla="*/ 670154 h 670154"/>
                  <a:gd name="connsiteX5" fmla="*/ 474348 w 474348"/>
                  <a:gd name="connsiteY5" fmla="*/ 670154 h 670154"/>
                  <a:gd name="connsiteX6" fmla="*/ 248129 w 474348"/>
                  <a:gd name="connsiteY6" fmla="*/ 670154 h 670154"/>
                  <a:gd name="connsiteX7" fmla="*/ 0 w 474348"/>
                  <a:gd name="connsiteY7" fmla="*/ 670154 h 670154"/>
                  <a:gd name="connsiteX8" fmla="*/ 0 w 474348"/>
                  <a:gd name="connsiteY8" fmla="*/ 670154 h 670154"/>
                  <a:gd name="connsiteX9" fmla="*/ 0 w 474348"/>
                  <a:gd name="connsiteY9" fmla="*/ 217539 h 670154"/>
                  <a:gd name="connsiteX10" fmla="*/ 174282 w 474348"/>
                  <a:gd name="connsiteY10" fmla="*/ 24619 h 670154"/>
                  <a:gd name="connsiteX0" fmla="*/ 174282 w 474348"/>
                  <a:gd name="connsiteY0" fmla="*/ 24619 h 670154"/>
                  <a:gd name="connsiteX1" fmla="*/ 216121 w 474348"/>
                  <a:gd name="connsiteY1" fmla="*/ 0 h 670154"/>
                  <a:gd name="connsiteX2" fmla="*/ 314250 w 474348"/>
                  <a:gd name="connsiteY2" fmla="*/ 25070 h 670154"/>
                  <a:gd name="connsiteX3" fmla="*/ 474348 w 474348"/>
                  <a:gd name="connsiteY3" fmla="*/ 217539 h 670154"/>
                  <a:gd name="connsiteX4" fmla="*/ 474348 w 474348"/>
                  <a:gd name="connsiteY4" fmla="*/ 670154 h 670154"/>
                  <a:gd name="connsiteX5" fmla="*/ 474348 w 474348"/>
                  <a:gd name="connsiteY5" fmla="*/ 670154 h 670154"/>
                  <a:gd name="connsiteX6" fmla="*/ 248129 w 474348"/>
                  <a:gd name="connsiteY6" fmla="*/ 670154 h 670154"/>
                  <a:gd name="connsiteX7" fmla="*/ 0 w 474348"/>
                  <a:gd name="connsiteY7" fmla="*/ 670154 h 670154"/>
                  <a:gd name="connsiteX8" fmla="*/ 0 w 474348"/>
                  <a:gd name="connsiteY8" fmla="*/ 670154 h 670154"/>
                  <a:gd name="connsiteX9" fmla="*/ 0 w 474348"/>
                  <a:gd name="connsiteY9" fmla="*/ 217539 h 670154"/>
                  <a:gd name="connsiteX10" fmla="*/ 174282 w 474348"/>
                  <a:gd name="connsiteY10" fmla="*/ 24619 h 670154"/>
                  <a:gd name="connsiteX0" fmla="*/ 174282 w 474348"/>
                  <a:gd name="connsiteY0" fmla="*/ 24619 h 670154"/>
                  <a:gd name="connsiteX1" fmla="*/ 216121 w 474348"/>
                  <a:gd name="connsiteY1" fmla="*/ 0 h 670154"/>
                  <a:gd name="connsiteX2" fmla="*/ 314250 w 474348"/>
                  <a:gd name="connsiteY2" fmla="*/ 25070 h 670154"/>
                  <a:gd name="connsiteX3" fmla="*/ 474348 w 474348"/>
                  <a:gd name="connsiteY3" fmla="*/ 217539 h 670154"/>
                  <a:gd name="connsiteX4" fmla="*/ 474348 w 474348"/>
                  <a:gd name="connsiteY4" fmla="*/ 670154 h 670154"/>
                  <a:gd name="connsiteX5" fmla="*/ 474348 w 474348"/>
                  <a:gd name="connsiteY5" fmla="*/ 670154 h 670154"/>
                  <a:gd name="connsiteX6" fmla="*/ 248129 w 474348"/>
                  <a:gd name="connsiteY6" fmla="*/ 670154 h 670154"/>
                  <a:gd name="connsiteX7" fmla="*/ 0 w 474348"/>
                  <a:gd name="connsiteY7" fmla="*/ 670154 h 670154"/>
                  <a:gd name="connsiteX8" fmla="*/ 0 w 474348"/>
                  <a:gd name="connsiteY8" fmla="*/ 670154 h 670154"/>
                  <a:gd name="connsiteX9" fmla="*/ 0 w 474348"/>
                  <a:gd name="connsiteY9" fmla="*/ 217539 h 670154"/>
                  <a:gd name="connsiteX10" fmla="*/ 174282 w 474348"/>
                  <a:gd name="connsiteY10" fmla="*/ 24619 h 670154"/>
                  <a:gd name="connsiteX0" fmla="*/ 174282 w 474348"/>
                  <a:gd name="connsiteY0" fmla="*/ 24619 h 670154"/>
                  <a:gd name="connsiteX1" fmla="*/ 216121 w 474348"/>
                  <a:gd name="connsiteY1" fmla="*/ 0 h 670154"/>
                  <a:gd name="connsiteX2" fmla="*/ 314250 w 474348"/>
                  <a:gd name="connsiteY2" fmla="*/ 25070 h 670154"/>
                  <a:gd name="connsiteX3" fmla="*/ 474348 w 474348"/>
                  <a:gd name="connsiteY3" fmla="*/ 217539 h 670154"/>
                  <a:gd name="connsiteX4" fmla="*/ 474348 w 474348"/>
                  <a:gd name="connsiteY4" fmla="*/ 670154 h 670154"/>
                  <a:gd name="connsiteX5" fmla="*/ 474348 w 474348"/>
                  <a:gd name="connsiteY5" fmla="*/ 670154 h 670154"/>
                  <a:gd name="connsiteX6" fmla="*/ 248129 w 474348"/>
                  <a:gd name="connsiteY6" fmla="*/ 670154 h 670154"/>
                  <a:gd name="connsiteX7" fmla="*/ 0 w 474348"/>
                  <a:gd name="connsiteY7" fmla="*/ 670154 h 670154"/>
                  <a:gd name="connsiteX8" fmla="*/ 0 w 474348"/>
                  <a:gd name="connsiteY8" fmla="*/ 670154 h 670154"/>
                  <a:gd name="connsiteX9" fmla="*/ 0 w 474348"/>
                  <a:gd name="connsiteY9" fmla="*/ 217539 h 670154"/>
                  <a:gd name="connsiteX10" fmla="*/ 174282 w 474348"/>
                  <a:gd name="connsiteY10" fmla="*/ 24619 h 670154"/>
                  <a:gd name="connsiteX0" fmla="*/ 148557 w 474348"/>
                  <a:gd name="connsiteY0" fmla="*/ 27264 h 670154"/>
                  <a:gd name="connsiteX1" fmla="*/ 216121 w 474348"/>
                  <a:gd name="connsiteY1" fmla="*/ 0 h 670154"/>
                  <a:gd name="connsiteX2" fmla="*/ 314250 w 474348"/>
                  <a:gd name="connsiteY2" fmla="*/ 25070 h 670154"/>
                  <a:gd name="connsiteX3" fmla="*/ 474348 w 474348"/>
                  <a:gd name="connsiteY3" fmla="*/ 217539 h 670154"/>
                  <a:gd name="connsiteX4" fmla="*/ 474348 w 474348"/>
                  <a:gd name="connsiteY4" fmla="*/ 670154 h 670154"/>
                  <a:gd name="connsiteX5" fmla="*/ 474348 w 474348"/>
                  <a:gd name="connsiteY5" fmla="*/ 670154 h 670154"/>
                  <a:gd name="connsiteX6" fmla="*/ 248129 w 474348"/>
                  <a:gd name="connsiteY6" fmla="*/ 670154 h 670154"/>
                  <a:gd name="connsiteX7" fmla="*/ 0 w 474348"/>
                  <a:gd name="connsiteY7" fmla="*/ 670154 h 670154"/>
                  <a:gd name="connsiteX8" fmla="*/ 0 w 474348"/>
                  <a:gd name="connsiteY8" fmla="*/ 670154 h 670154"/>
                  <a:gd name="connsiteX9" fmla="*/ 0 w 474348"/>
                  <a:gd name="connsiteY9" fmla="*/ 217539 h 670154"/>
                  <a:gd name="connsiteX10" fmla="*/ 148557 w 474348"/>
                  <a:gd name="connsiteY10" fmla="*/ 27264 h 670154"/>
                  <a:gd name="connsiteX0" fmla="*/ 148557 w 474348"/>
                  <a:gd name="connsiteY0" fmla="*/ 20950 h 663840"/>
                  <a:gd name="connsiteX1" fmla="*/ 214238 w 474348"/>
                  <a:gd name="connsiteY1" fmla="*/ 0 h 663840"/>
                  <a:gd name="connsiteX2" fmla="*/ 314250 w 474348"/>
                  <a:gd name="connsiteY2" fmla="*/ 18756 h 663840"/>
                  <a:gd name="connsiteX3" fmla="*/ 474348 w 474348"/>
                  <a:gd name="connsiteY3" fmla="*/ 211225 h 663840"/>
                  <a:gd name="connsiteX4" fmla="*/ 474348 w 474348"/>
                  <a:gd name="connsiteY4" fmla="*/ 663840 h 663840"/>
                  <a:gd name="connsiteX5" fmla="*/ 474348 w 474348"/>
                  <a:gd name="connsiteY5" fmla="*/ 663840 h 663840"/>
                  <a:gd name="connsiteX6" fmla="*/ 248129 w 474348"/>
                  <a:gd name="connsiteY6" fmla="*/ 663840 h 663840"/>
                  <a:gd name="connsiteX7" fmla="*/ 0 w 474348"/>
                  <a:gd name="connsiteY7" fmla="*/ 663840 h 663840"/>
                  <a:gd name="connsiteX8" fmla="*/ 0 w 474348"/>
                  <a:gd name="connsiteY8" fmla="*/ 663840 h 663840"/>
                  <a:gd name="connsiteX9" fmla="*/ 0 w 474348"/>
                  <a:gd name="connsiteY9" fmla="*/ 211225 h 663840"/>
                  <a:gd name="connsiteX10" fmla="*/ 148557 w 474348"/>
                  <a:gd name="connsiteY10" fmla="*/ 20950 h 663840"/>
                  <a:gd name="connsiteX0" fmla="*/ 148557 w 474348"/>
                  <a:gd name="connsiteY0" fmla="*/ 20950 h 663840"/>
                  <a:gd name="connsiteX1" fmla="*/ 214238 w 474348"/>
                  <a:gd name="connsiteY1" fmla="*/ 0 h 663840"/>
                  <a:gd name="connsiteX2" fmla="*/ 314250 w 474348"/>
                  <a:gd name="connsiteY2" fmla="*/ 18756 h 663840"/>
                  <a:gd name="connsiteX3" fmla="*/ 474348 w 474348"/>
                  <a:gd name="connsiteY3" fmla="*/ 211225 h 663840"/>
                  <a:gd name="connsiteX4" fmla="*/ 474348 w 474348"/>
                  <a:gd name="connsiteY4" fmla="*/ 663840 h 663840"/>
                  <a:gd name="connsiteX5" fmla="*/ 474348 w 474348"/>
                  <a:gd name="connsiteY5" fmla="*/ 663840 h 663840"/>
                  <a:gd name="connsiteX6" fmla="*/ 248129 w 474348"/>
                  <a:gd name="connsiteY6" fmla="*/ 663840 h 663840"/>
                  <a:gd name="connsiteX7" fmla="*/ 0 w 474348"/>
                  <a:gd name="connsiteY7" fmla="*/ 663840 h 663840"/>
                  <a:gd name="connsiteX8" fmla="*/ 0 w 474348"/>
                  <a:gd name="connsiteY8" fmla="*/ 663840 h 663840"/>
                  <a:gd name="connsiteX9" fmla="*/ 0 w 474348"/>
                  <a:gd name="connsiteY9" fmla="*/ 211225 h 663840"/>
                  <a:gd name="connsiteX10" fmla="*/ 148557 w 474348"/>
                  <a:gd name="connsiteY10" fmla="*/ 20950 h 663840"/>
                  <a:gd name="connsiteX0" fmla="*/ 148557 w 474348"/>
                  <a:gd name="connsiteY0" fmla="*/ 20950 h 663840"/>
                  <a:gd name="connsiteX1" fmla="*/ 214238 w 474348"/>
                  <a:gd name="connsiteY1" fmla="*/ 0 h 663840"/>
                  <a:gd name="connsiteX2" fmla="*/ 314250 w 474348"/>
                  <a:gd name="connsiteY2" fmla="*/ 18756 h 663840"/>
                  <a:gd name="connsiteX3" fmla="*/ 474348 w 474348"/>
                  <a:gd name="connsiteY3" fmla="*/ 211225 h 663840"/>
                  <a:gd name="connsiteX4" fmla="*/ 474348 w 474348"/>
                  <a:gd name="connsiteY4" fmla="*/ 663840 h 663840"/>
                  <a:gd name="connsiteX5" fmla="*/ 474348 w 474348"/>
                  <a:gd name="connsiteY5" fmla="*/ 663840 h 663840"/>
                  <a:gd name="connsiteX6" fmla="*/ 248129 w 474348"/>
                  <a:gd name="connsiteY6" fmla="*/ 663840 h 663840"/>
                  <a:gd name="connsiteX7" fmla="*/ 0 w 474348"/>
                  <a:gd name="connsiteY7" fmla="*/ 663840 h 663840"/>
                  <a:gd name="connsiteX8" fmla="*/ 0 w 474348"/>
                  <a:gd name="connsiteY8" fmla="*/ 663840 h 663840"/>
                  <a:gd name="connsiteX9" fmla="*/ 0 w 474348"/>
                  <a:gd name="connsiteY9" fmla="*/ 211225 h 663840"/>
                  <a:gd name="connsiteX10" fmla="*/ 148557 w 474348"/>
                  <a:gd name="connsiteY10" fmla="*/ 20950 h 663840"/>
                  <a:gd name="connsiteX0" fmla="*/ 144178 w 474348"/>
                  <a:gd name="connsiteY0" fmla="*/ 22667 h 663840"/>
                  <a:gd name="connsiteX1" fmla="*/ 214238 w 474348"/>
                  <a:gd name="connsiteY1" fmla="*/ 0 h 663840"/>
                  <a:gd name="connsiteX2" fmla="*/ 314250 w 474348"/>
                  <a:gd name="connsiteY2" fmla="*/ 18756 h 663840"/>
                  <a:gd name="connsiteX3" fmla="*/ 474348 w 474348"/>
                  <a:gd name="connsiteY3" fmla="*/ 211225 h 663840"/>
                  <a:gd name="connsiteX4" fmla="*/ 474348 w 474348"/>
                  <a:gd name="connsiteY4" fmla="*/ 663840 h 663840"/>
                  <a:gd name="connsiteX5" fmla="*/ 474348 w 474348"/>
                  <a:gd name="connsiteY5" fmla="*/ 663840 h 663840"/>
                  <a:gd name="connsiteX6" fmla="*/ 248129 w 474348"/>
                  <a:gd name="connsiteY6" fmla="*/ 663840 h 663840"/>
                  <a:gd name="connsiteX7" fmla="*/ 0 w 474348"/>
                  <a:gd name="connsiteY7" fmla="*/ 663840 h 663840"/>
                  <a:gd name="connsiteX8" fmla="*/ 0 w 474348"/>
                  <a:gd name="connsiteY8" fmla="*/ 663840 h 663840"/>
                  <a:gd name="connsiteX9" fmla="*/ 0 w 474348"/>
                  <a:gd name="connsiteY9" fmla="*/ 211225 h 663840"/>
                  <a:gd name="connsiteX10" fmla="*/ 144178 w 474348"/>
                  <a:gd name="connsiteY10" fmla="*/ 22667 h 663840"/>
                  <a:gd name="connsiteX0" fmla="*/ 144178 w 474348"/>
                  <a:gd name="connsiteY0" fmla="*/ 22667 h 663840"/>
                  <a:gd name="connsiteX1" fmla="*/ 214238 w 474348"/>
                  <a:gd name="connsiteY1" fmla="*/ 0 h 663840"/>
                  <a:gd name="connsiteX2" fmla="*/ 314250 w 474348"/>
                  <a:gd name="connsiteY2" fmla="*/ 18756 h 663840"/>
                  <a:gd name="connsiteX3" fmla="*/ 474348 w 474348"/>
                  <a:gd name="connsiteY3" fmla="*/ 211225 h 663840"/>
                  <a:gd name="connsiteX4" fmla="*/ 474348 w 474348"/>
                  <a:gd name="connsiteY4" fmla="*/ 663840 h 663840"/>
                  <a:gd name="connsiteX5" fmla="*/ 474348 w 474348"/>
                  <a:gd name="connsiteY5" fmla="*/ 663840 h 663840"/>
                  <a:gd name="connsiteX6" fmla="*/ 248129 w 474348"/>
                  <a:gd name="connsiteY6" fmla="*/ 663840 h 663840"/>
                  <a:gd name="connsiteX7" fmla="*/ 0 w 474348"/>
                  <a:gd name="connsiteY7" fmla="*/ 663840 h 663840"/>
                  <a:gd name="connsiteX8" fmla="*/ 0 w 474348"/>
                  <a:gd name="connsiteY8" fmla="*/ 663840 h 663840"/>
                  <a:gd name="connsiteX9" fmla="*/ 0 w 474348"/>
                  <a:gd name="connsiteY9" fmla="*/ 211225 h 663840"/>
                  <a:gd name="connsiteX10" fmla="*/ 144178 w 474348"/>
                  <a:gd name="connsiteY10" fmla="*/ 22667 h 663840"/>
                  <a:gd name="connsiteX0" fmla="*/ 144178 w 474348"/>
                  <a:gd name="connsiteY0" fmla="*/ 22667 h 663840"/>
                  <a:gd name="connsiteX1" fmla="*/ 214238 w 474348"/>
                  <a:gd name="connsiteY1" fmla="*/ 0 h 663840"/>
                  <a:gd name="connsiteX2" fmla="*/ 314250 w 474348"/>
                  <a:gd name="connsiteY2" fmla="*/ 18756 h 663840"/>
                  <a:gd name="connsiteX3" fmla="*/ 474348 w 474348"/>
                  <a:gd name="connsiteY3" fmla="*/ 211225 h 663840"/>
                  <a:gd name="connsiteX4" fmla="*/ 474348 w 474348"/>
                  <a:gd name="connsiteY4" fmla="*/ 663840 h 663840"/>
                  <a:gd name="connsiteX5" fmla="*/ 474348 w 474348"/>
                  <a:gd name="connsiteY5" fmla="*/ 663840 h 663840"/>
                  <a:gd name="connsiteX6" fmla="*/ 248129 w 474348"/>
                  <a:gd name="connsiteY6" fmla="*/ 663840 h 663840"/>
                  <a:gd name="connsiteX7" fmla="*/ 0 w 474348"/>
                  <a:gd name="connsiteY7" fmla="*/ 663840 h 663840"/>
                  <a:gd name="connsiteX8" fmla="*/ 0 w 474348"/>
                  <a:gd name="connsiteY8" fmla="*/ 663840 h 663840"/>
                  <a:gd name="connsiteX9" fmla="*/ 0 w 474348"/>
                  <a:gd name="connsiteY9" fmla="*/ 211225 h 663840"/>
                  <a:gd name="connsiteX10" fmla="*/ 144178 w 474348"/>
                  <a:gd name="connsiteY10" fmla="*/ 22667 h 663840"/>
                  <a:gd name="connsiteX0" fmla="*/ 144178 w 474348"/>
                  <a:gd name="connsiteY0" fmla="*/ 22667 h 663840"/>
                  <a:gd name="connsiteX1" fmla="*/ 214238 w 474348"/>
                  <a:gd name="connsiteY1" fmla="*/ 0 h 663840"/>
                  <a:gd name="connsiteX2" fmla="*/ 314250 w 474348"/>
                  <a:gd name="connsiteY2" fmla="*/ 18756 h 663840"/>
                  <a:gd name="connsiteX3" fmla="*/ 474348 w 474348"/>
                  <a:gd name="connsiteY3" fmla="*/ 211225 h 663840"/>
                  <a:gd name="connsiteX4" fmla="*/ 474348 w 474348"/>
                  <a:gd name="connsiteY4" fmla="*/ 663840 h 663840"/>
                  <a:gd name="connsiteX5" fmla="*/ 474348 w 474348"/>
                  <a:gd name="connsiteY5" fmla="*/ 663840 h 663840"/>
                  <a:gd name="connsiteX6" fmla="*/ 248129 w 474348"/>
                  <a:gd name="connsiteY6" fmla="*/ 663840 h 663840"/>
                  <a:gd name="connsiteX7" fmla="*/ 0 w 474348"/>
                  <a:gd name="connsiteY7" fmla="*/ 663840 h 663840"/>
                  <a:gd name="connsiteX8" fmla="*/ 0 w 474348"/>
                  <a:gd name="connsiteY8" fmla="*/ 663840 h 663840"/>
                  <a:gd name="connsiteX9" fmla="*/ 0 w 474348"/>
                  <a:gd name="connsiteY9" fmla="*/ 211225 h 663840"/>
                  <a:gd name="connsiteX10" fmla="*/ 144178 w 474348"/>
                  <a:gd name="connsiteY10" fmla="*/ 22667 h 6638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74348" h="663840">
                    <a:moveTo>
                      <a:pt x="144178" y="22667"/>
                    </a:moveTo>
                    <a:cubicBezTo>
                      <a:pt x="211732" y="-970"/>
                      <a:pt x="181869" y="7990"/>
                      <a:pt x="214238" y="0"/>
                    </a:cubicBezTo>
                    <a:cubicBezTo>
                      <a:pt x="259321" y="7224"/>
                      <a:pt x="221757" y="369"/>
                      <a:pt x="314250" y="18756"/>
                    </a:cubicBezTo>
                    <a:cubicBezTo>
                      <a:pt x="399877" y="51074"/>
                      <a:pt x="474348" y="104798"/>
                      <a:pt x="474348" y="211225"/>
                    </a:cubicBezTo>
                    <a:lnTo>
                      <a:pt x="474348" y="663840"/>
                    </a:lnTo>
                    <a:lnTo>
                      <a:pt x="474348" y="663840"/>
                    </a:lnTo>
                    <a:lnTo>
                      <a:pt x="248129" y="663840"/>
                    </a:lnTo>
                    <a:lnTo>
                      <a:pt x="0" y="663840"/>
                    </a:lnTo>
                    <a:lnTo>
                      <a:pt x="0" y="663840"/>
                    </a:lnTo>
                    <a:lnTo>
                      <a:pt x="0" y="211225"/>
                    </a:lnTo>
                    <a:cubicBezTo>
                      <a:pt x="0" y="104798"/>
                      <a:pt x="80700" y="56026"/>
                      <a:pt x="144178" y="22667"/>
                    </a:cubicBezTo>
                    <a:close/>
                  </a:path>
                </a:pathLst>
              </a:cu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66" name="Round Same Side Corner Rectangle 11"/>
              <p:cNvSpPr/>
              <p:nvPr/>
            </p:nvSpPr>
            <p:spPr>
              <a:xfrm rot="16200000">
                <a:off x="6912899" y="2339184"/>
                <a:ext cx="101418" cy="1051827"/>
              </a:xfrm>
              <a:custGeom>
                <a:avLst/>
                <a:gdLst>
                  <a:gd name="connsiteX0" fmla="*/ 192704 w 474348"/>
                  <a:gd name="connsiteY0" fmla="*/ 0 h 645319"/>
                  <a:gd name="connsiteX1" fmla="*/ 281644 w 474348"/>
                  <a:gd name="connsiteY1" fmla="*/ 0 h 645319"/>
                  <a:gd name="connsiteX2" fmla="*/ 474348 w 474348"/>
                  <a:gd name="connsiteY2" fmla="*/ 192704 h 645319"/>
                  <a:gd name="connsiteX3" fmla="*/ 474348 w 474348"/>
                  <a:gd name="connsiteY3" fmla="*/ 645319 h 645319"/>
                  <a:gd name="connsiteX4" fmla="*/ 474348 w 474348"/>
                  <a:gd name="connsiteY4" fmla="*/ 645319 h 645319"/>
                  <a:gd name="connsiteX5" fmla="*/ 0 w 474348"/>
                  <a:gd name="connsiteY5" fmla="*/ 645319 h 645319"/>
                  <a:gd name="connsiteX6" fmla="*/ 0 w 474348"/>
                  <a:gd name="connsiteY6" fmla="*/ 645319 h 645319"/>
                  <a:gd name="connsiteX7" fmla="*/ 0 w 474348"/>
                  <a:gd name="connsiteY7" fmla="*/ 192704 h 645319"/>
                  <a:gd name="connsiteX8" fmla="*/ 192704 w 474348"/>
                  <a:gd name="connsiteY8" fmla="*/ 0 h 645319"/>
                  <a:gd name="connsiteX0" fmla="*/ 192704 w 474348"/>
                  <a:gd name="connsiteY0" fmla="*/ 0 h 645319"/>
                  <a:gd name="connsiteX1" fmla="*/ 281644 w 474348"/>
                  <a:gd name="connsiteY1" fmla="*/ 0 h 645319"/>
                  <a:gd name="connsiteX2" fmla="*/ 474348 w 474348"/>
                  <a:gd name="connsiteY2" fmla="*/ 192704 h 645319"/>
                  <a:gd name="connsiteX3" fmla="*/ 474348 w 474348"/>
                  <a:gd name="connsiteY3" fmla="*/ 645319 h 645319"/>
                  <a:gd name="connsiteX4" fmla="*/ 474348 w 474348"/>
                  <a:gd name="connsiteY4" fmla="*/ 645319 h 645319"/>
                  <a:gd name="connsiteX5" fmla="*/ 248129 w 474348"/>
                  <a:gd name="connsiteY5" fmla="*/ 645319 h 645319"/>
                  <a:gd name="connsiteX6" fmla="*/ 0 w 474348"/>
                  <a:gd name="connsiteY6" fmla="*/ 645319 h 645319"/>
                  <a:gd name="connsiteX7" fmla="*/ 0 w 474348"/>
                  <a:gd name="connsiteY7" fmla="*/ 645319 h 645319"/>
                  <a:gd name="connsiteX8" fmla="*/ 0 w 474348"/>
                  <a:gd name="connsiteY8" fmla="*/ 192704 h 645319"/>
                  <a:gd name="connsiteX9" fmla="*/ 192704 w 474348"/>
                  <a:gd name="connsiteY9" fmla="*/ 0 h 645319"/>
                  <a:gd name="connsiteX0" fmla="*/ 192704 w 474348"/>
                  <a:gd name="connsiteY0" fmla="*/ 2381 h 647700"/>
                  <a:gd name="connsiteX1" fmla="*/ 240986 w 474348"/>
                  <a:gd name="connsiteY1" fmla="*/ 0 h 647700"/>
                  <a:gd name="connsiteX2" fmla="*/ 281644 w 474348"/>
                  <a:gd name="connsiteY2" fmla="*/ 2381 h 647700"/>
                  <a:gd name="connsiteX3" fmla="*/ 474348 w 474348"/>
                  <a:gd name="connsiteY3" fmla="*/ 195085 h 647700"/>
                  <a:gd name="connsiteX4" fmla="*/ 474348 w 474348"/>
                  <a:gd name="connsiteY4" fmla="*/ 647700 h 647700"/>
                  <a:gd name="connsiteX5" fmla="*/ 474348 w 474348"/>
                  <a:gd name="connsiteY5" fmla="*/ 647700 h 647700"/>
                  <a:gd name="connsiteX6" fmla="*/ 248129 w 474348"/>
                  <a:gd name="connsiteY6" fmla="*/ 647700 h 647700"/>
                  <a:gd name="connsiteX7" fmla="*/ 0 w 474348"/>
                  <a:gd name="connsiteY7" fmla="*/ 647700 h 647700"/>
                  <a:gd name="connsiteX8" fmla="*/ 0 w 474348"/>
                  <a:gd name="connsiteY8" fmla="*/ 647700 h 647700"/>
                  <a:gd name="connsiteX9" fmla="*/ 0 w 474348"/>
                  <a:gd name="connsiteY9" fmla="*/ 195085 h 647700"/>
                  <a:gd name="connsiteX10" fmla="*/ 192704 w 474348"/>
                  <a:gd name="connsiteY10" fmla="*/ 2381 h 647700"/>
                  <a:gd name="connsiteX0" fmla="*/ 192704 w 474348"/>
                  <a:gd name="connsiteY0" fmla="*/ 42862 h 688181"/>
                  <a:gd name="connsiteX1" fmla="*/ 240986 w 474348"/>
                  <a:gd name="connsiteY1" fmla="*/ 0 h 688181"/>
                  <a:gd name="connsiteX2" fmla="*/ 281644 w 474348"/>
                  <a:gd name="connsiteY2" fmla="*/ 42862 h 688181"/>
                  <a:gd name="connsiteX3" fmla="*/ 474348 w 474348"/>
                  <a:gd name="connsiteY3" fmla="*/ 235566 h 688181"/>
                  <a:gd name="connsiteX4" fmla="*/ 474348 w 474348"/>
                  <a:gd name="connsiteY4" fmla="*/ 688181 h 688181"/>
                  <a:gd name="connsiteX5" fmla="*/ 474348 w 474348"/>
                  <a:gd name="connsiteY5" fmla="*/ 688181 h 688181"/>
                  <a:gd name="connsiteX6" fmla="*/ 248129 w 474348"/>
                  <a:gd name="connsiteY6" fmla="*/ 688181 h 688181"/>
                  <a:gd name="connsiteX7" fmla="*/ 0 w 474348"/>
                  <a:gd name="connsiteY7" fmla="*/ 688181 h 688181"/>
                  <a:gd name="connsiteX8" fmla="*/ 0 w 474348"/>
                  <a:gd name="connsiteY8" fmla="*/ 688181 h 688181"/>
                  <a:gd name="connsiteX9" fmla="*/ 0 w 474348"/>
                  <a:gd name="connsiteY9" fmla="*/ 235566 h 688181"/>
                  <a:gd name="connsiteX10" fmla="*/ 192704 w 474348"/>
                  <a:gd name="connsiteY10" fmla="*/ 42862 h 688181"/>
                  <a:gd name="connsiteX0" fmla="*/ 192704 w 474348"/>
                  <a:gd name="connsiteY0" fmla="*/ 23812 h 669131"/>
                  <a:gd name="connsiteX1" fmla="*/ 265690 w 474348"/>
                  <a:gd name="connsiteY1" fmla="*/ 0 h 669131"/>
                  <a:gd name="connsiteX2" fmla="*/ 281644 w 474348"/>
                  <a:gd name="connsiteY2" fmla="*/ 23812 h 669131"/>
                  <a:gd name="connsiteX3" fmla="*/ 474348 w 474348"/>
                  <a:gd name="connsiteY3" fmla="*/ 216516 h 669131"/>
                  <a:gd name="connsiteX4" fmla="*/ 474348 w 474348"/>
                  <a:gd name="connsiteY4" fmla="*/ 669131 h 669131"/>
                  <a:gd name="connsiteX5" fmla="*/ 474348 w 474348"/>
                  <a:gd name="connsiteY5" fmla="*/ 669131 h 669131"/>
                  <a:gd name="connsiteX6" fmla="*/ 248129 w 474348"/>
                  <a:gd name="connsiteY6" fmla="*/ 669131 h 669131"/>
                  <a:gd name="connsiteX7" fmla="*/ 0 w 474348"/>
                  <a:gd name="connsiteY7" fmla="*/ 669131 h 669131"/>
                  <a:gd name="connsiteX8" fmla="*/ 0 w 474348"/>
                  <a:gd name="connsiteY8" fmla="*/ 669131 h 669131"/>
                  <a:gd name="connsiteX9" fmla="*/ 0 w 474348"/>
                  <a:gd name="connsiteY9" fmla="*/ 216516 h 669131"/>
                  <a:gd name="connsiteX10" fmla="*/ 192704 w 474348"/>
                  <a:gd name="connsiteY10" fmla="*/ 23812 h 669131"/>
                  <a:gd name="connsiteX0" fmla="*/ 192704 w 474348"/>
                  <a:gd name="connsiteY0" fmla="*/ 23812 h 669131"/>
                  <a:gd name="connsiteX1" fmla="*/ 265690 w 474348"/>
                  <a:gd name="connsiteY1" fmla="*/ 0 h 669131"/>
                  <a:gd name="connsiteX2" fmla="*/ 281644 w 474348"/>
                  <a:gd name="connsiteY2" fmla="*/ 23812 h 669131"/>
                  <a:gd name="connsiteX3" fmla="*/ 474348 w 474348"/>
                  <a:gd name="connsiteY3" fmla="*/ 216516 h 669131"/>
                  <a:gd name="connsiteX4" fmla="*/ 474348 w 474348"/>
                  <a:gd name="connsiteY4" fmla="*/ 669131 h 669131"/>
                  <a:gd name="connsiteX5" fmla="*/ 474348 w 474348"/>
                  <a:gd name="connsiteY5" fmla="*/ 669131 h 669131"/>
                  <a:gd name="connsiteX6" fmla="*/ 248129 w 474348"/>
                  <a:gd name="connsiteY6" fmla="*/ 669131 h 669131"/>
                  <a:gd name="connsiteX7" fmla="*/ 0 w 474348"/>
                  <a:gd name="connsiteY7" fmla="*/ 669131 h 669131"/>
                  <a:gd name="connsiteX8" fmla="*/ 0 w 474348"/>
                  <a:gd name="connsiteY8" fmla="*/ 669131 h 669131"/>
                  <a:gd name="connsiteX9" fmla="*/ 0 w 474348"/>
                  <a:gd name="connsiteY9" fmla="*/ 216516 h 669131"/>
                  <a:gd name="connsiteX10" fmla="*/ 192704 w 474348"/>
                  <a:gd name="connsiteY10" fmla="*/ 23812 h 669131"/>
                  <a:gd name="connsiteX0" fmla="*/ 192704 w 474348"/>
                  <a:gd name="connsiteY0" fmla="*/ 23812 h 669131"/>
                  <a:gd name="connsiteX1" fmla="*/ 265690 w 474348"/>
                  <a:gd name="connsiteY1" fmla="*/ 0 h 669131"/>
                  <a:gd name="connsiteX2" fmla="*/ 281644 w 474348"/>
                  <a:gd name="connsiteY2" fmla="*/ 23812 h 669131"/>
                  <a:gd name="connsiteX3" fmla="*/ 474348 w 474348"/>
                  <a:gd name="connsiteY3" fmla="*/ 216516 h 669131"/>
                  <a:gd name="connsiteX4" fmla="*/ 474348 w 474348"/>
                  <a:gd name="connsiteY4" fmla="*/ 669131 h 669131"/>
                  <a:gd name="connsiteX5" fmla="*/ 474348 w 474348"/>
                  <a:gd name="connsiteY5" fmla="*/ 669131 h 669131"/>
                  <a:gd name="connsiteX6" fmla="*/ 248129 w 474348"/>
                  <a:gd name="connsiteY6" fmla="*/ 669131 h 669131"/>
                  <a:gd name="connsiteX7" fmla="*/ 0 w 474348"/>
                  <a:gd name="connsiteY7" fmla="*/ 669131 h 669131"/>
                  <a:gd name="connsiteX8" fmla="*/ 0 w 474348"/>
                  <a:gd name="connsiteY8" fmla="*/ 669131 h 669131"/>
                  <a:gd name="connsiteX9" fmla="*/ 0 w 474348"/>
                  <a:gd name="connsiteY9" fmla="*/ 216516 h 669131"/>
                  <a:gd name="connsiteX10" fmla="*/ 192704 w 474348"/>
                  <a:gd name="connsiteY10" fmla="*/ 23812 h 669131"/>
                  <a:gd name="connsiteX0" fmla="*/ 192704 w 474348"/>
                  <a:gd name="connsiteY0" fmla="*/ 23812 h 669131"/>
                  <a:gd name="connsiteX1" fmla="*/ 265690 w 474348"/>
                  <a:gd name="connsiteY1" fmla="*/ 0 h 669131"/>
                  <a:gd name="connsiteX2" fmla="*/ 314250 w 474348"/>
                  <a:gd name="connsiteY2" fmla="*/ 24047 h 669131"/>
                  <a:gd name="connsiteX3" fmla="*/ 474348 w 474348"/>
                  <a:gd name="connsiteY3" fmla="*/ 216516 h 669131"/>
                  <a:gd name="connsiteX4" fmla="*/ 474348 w 474348"/>
                  <a:gd name="connsiteY4" fmla="*/ 669131 h 669131"/>
                  <a:gd name="connsiteX5" fmla="*/ 474348 w 474348"/>
                  <a:gd name="connsiteY5" fmla="*/ 669131 h 669131"/>
                  <a:gd name="connsiteX6" fmla="*/ 248129 w 474348"/>
                  <a:gd name="connsiteY6" fmla="*/ 669131 h 669131"/>
                  <a:gd name="connsiteX7" fmla="*/ 0 w 474348"/>
                  <a:gd name="connsiteY7" fmla="*/ 669131 h 669131"/>
                  <a:gd name="connsiteX8" fmla="*/ 0 w 474348"/>
                  <a:gd name="connsiteY8" fmla="*/ 669131 h 669131"/>
                  <a:gd name="connsiteX9" fmla="*/ 0 w 474348"/>
                  <a:gd name="connsiteY9" fmla="*/ 216516 h 669131"/>
                  <a:gd name="connsiteX10" fmla="*/ 192704 w 474348"/>
                  <a:gd name="connsiteY10" fmla="*/ 23812 h 669131"/>
                  <a:gd name="connsiteX0" fmla="*/ 192704 w 474348"/>
                  <a:gd name="connsiteY0" fmla="*/ 23812 h 669131"/>
                  <a:gd name="connsiteX1" fmla="*/ 265690 w 474348"/>
                  <a:gd name="connsiteY1" fmla="*/ 0 h 669131"/>
                  <a:gd name="connsiteX2" fmla="*/ 314250 w 474348"/>
                  <a:gd name="connsiteY2" fmla="*/ 24047 h 669131"/>
                  <a:gd name="connsiteX3" fmla="*/ 474348 w 474348"/>
                  <a:gd name="connsiteY3" fmla="*/ 216516 h 669131"/>
                  <a:gd name="connsiteX4" fmla="*/ 474348 w 474348"/>
                  <a:gd name="connsiteY4" fmla="*/ 669131 h 669131"/>
                  <a:gd name="connsiteX5" fmla="*/ 474348 w 474348"/>
                  <a:gd name="connsiteY5" fmla="*/ 669131 h 669131"/>
                  <a:gd name="connsiteX6" fmla="*/ 248129 w 474348"/>
                  <a:gd name="connsiteY6" fmla="*/ 669131 h 669131"/>
                  <a:gd name="connsiteX7" fmla="*/ 0 w 474348"/>
                  <a:gd name="connsiteY7" fmla="*/ 669131 h 669131"/>
                  <a:gd name="connsiteX8" fmla="*/ 0 w 474348"/>
                  <a:gd name="connsiteY8" fmla="*/ 669131 h 669131"/>
                  <a:gd name="connsiteX9" fmla="*/ 0 w 474348"/>
                  <a:gd name="connsiteY9" fmla="*/ 216516 h 669131"/>
                  <a:gd name="connsiteX10" fmla="*/ 192704 w 474348"/>
                  <a:gd name="connsiteY10" fmla="*/ 23812 h 669131"/>
                  <a:gd name="connsiteX0" fmla="*/ 192704 w 474348"/>
                  <a:gd name="connsiteY0" fmla="*/ 23812 h 669131"/>
                  <a:gd name="connsiteX1" fmla="*/ 265690 w 474348"/>
                  <a:gd name="connsiteY1" fmla="*/ 0 h 669131"/>
                  <a:gd name="connsiteX2" fmla="*/ 314250 w 474348"/>
                  <a:gd name="connsiteY2" fmla="*/ 24047 h 669131"/>
                  <a:gd name="connsiteX3" fmla="*/ 474348 w 474348"/>
                  <a:gd name="connsiteY3" fmla="*/ 216516 h 669131"/>
                  <a:gd name="connsiteX4" fmla="*/ 474348 w 474348"/>
                  <a:gd name="connsiteY4" fmla="*/ 669131 h 669131"/>
                  <a:gd name="connsiteX5" fmla="*/ 474348 w 474348"/>
                  <a:gd name="connsiteY5" fmla="*/ 669131 h 669131"/>
                  <a:gd name="connsiteX6" fmla="*/ 248129 w 474348"/>
                  <a:gd name="connsiteY6" fmla="*/ 669131 h 669131"/>
                  <a:gd name="connsiteX7" fmla="*/ 0 w 474348"/>
                  <a:gd name="connsiteY7" fmla="*/ 669131 h 669131"/>
                  <a:gd name="connsiteX8" fmla="*/ 0 w 474348"/>
                  <a:gd name="connsiteY8" fmla="*/ 669131 h 669131"/>
                  <a:gd name="connsiteX9" fmla="*/ 0 w 474348"/>
                  <a:gd name="connsiteY9" fmla="*/ 216516 h 669131"/>
                  <a:gd name="connsiteX10" fmla="*/ 192704 w 474348"/>
                  <a:gd name="connsiteY10" fmla="*/ 23812 h 669131"/>
                  <a:gd name="connsiteX0" fmla="*/ 174282 w 474348"/>
                  <a:gd name="connsiteY0" fmla="*/ 23596 h 669131"/>
                  <a:gd name="connsiteX1" fmla="*/ 265690 w 474348"/>
                  <a:gd name="connsiteY1" fmla="*/ 0 h 669131"/>
                  <a:gd name="connsiteX2" fmla="*/ 314250 w 474348"/>
                  <a:gd name="connsiteY2" fmla="*/ 24047 h 669131"/>
                  <a:gd name="connsiteX3" fmla="*/ 474348 w 474348"/>
                  <a:gd name="connsiteY3" fmla="*/ 216516 h 669131"/>
                  <a:gd name="connsiteX4" fmla="*/ 474348 w 474348"/>
                  <a:gd name="connsiteY4" fmla="*/ 669131 h 669131"/>
                  <a:gd name="connsiteX5" fmla="*/ 474348 w 474348"/>
                  <a:gd name="connsiteY5" fmla="*/ 669131 h 669131"/>
                  <a:gd name="connsiteX6" fmla="*/ 248129 w 474348"/>
                  <a:gd name="connsiteY6" fmla="*/ 669131 h 669131"/>
                  <a:gd name="connsiteX7" fmla="*/ 0 w 474348"/>
                  <a:gd name="connsiteY7" fmla="*/ 669131 h 669131"/>
                  <a:gd name="connsiteX8" fmla="*/ 0 w 474348"/>
                  <a:gd name="connsiteY8" fmla="*/ 669131 h 669131"/>
                  <a:gd name="connsiteX9" fmla="*/ 0 w 474348"/>
                  <a:gd name="connsiteY9" fmla="*/ 216516 h 669131"/>
                  <a:gd name="connsiteX10" fmla="*/ 174282 w 474348"/>
                  <a:gd name="connsiteY10" fmla="*/ 23596 h 669131"/>
                  <a:gd name="connsiteX0" fmla="*/ 174282 w 474348"/>
                  <a:gd name="connsiteY0" fmla="*/ 24619 h 670154"/>
                  <a:gd name="connsiteX1" fmla="*/ 216121 w 474348"/>
                  <a:gd name="connsiteY1" fmla="*/ 0 h 670154"/>
                  <a:gd name="connsiteX2" fmla="*/ 314250 w 474348"/>
                  <a:gd name="connsiteY2" fmla="*/ 25070 h 670154"/>
                  <a:gd name="connsiteX3" fmla="*/ 474348 w 474348"/>
                  <a:gd name="connsiteY3" fmla="*/ 217539 h 670154"/>
                  <a:gd name="connsiteX4" fmla="*/ 474348 w 474348"/>
                  <a:gd name="connsiteY4" fmla="*/ 670154 h 670154"/>
                  <a:gd name="connsiteX5" fmla="*/ 474348 w 474348"/>
                  <a:gd name="connsiteY5" fmla="*/ 670154 h 670154"/>
                  <a:gd name="connsiteX6" fmla="*/ 248129 w 474348"/>
                  <a:gd name="connsiteY6" fmla="*/ 670154 h 670154"/>
                  <a:gd name="connsiteX7" fmla="*/ 0 w 474348"/>
                  <a:gd name="connsiteY7" fmla="*/ 670154 h 670154"/>
                  <a:gd name="connsiteX8" fmla="*/ 0 w 474348"/>
                  <a:gd name="connsiteY8" fmla="*/ 670154 h 670154"/>
                  <a:gd name="connsiteX9" fmla="*/ 0 w 474348"/>
                  <a:gd name="connsiteY9" fmla="*/ 217539 h 670154"/>
                  <a:gd name="connsiteX10" fmla="*/ 174282 w 474348"/>
                  <a:gd name="connsiteY10" fmla="*/ 24619 h 670154"/>
                  <a:gd name="connsiteX0" fmla="*/ 174282 w 474348"/>
                  <a:gd name="connsiteY0" fmla="*/ 24619 h 670154"/>
                  <a:gd name="connsiteX1" fmla="*/ 216121 w 474348"/>
                  <a:gd name="connsiteY1" fmla="*/ 0 h 670154"/>
                  <a:gd name="connsiteX2" fmla="*/ 314250 w 474348"/>
                  <a:gd name="connsiteY2" fmla="*/ 25070 h 670154"/>
                  <a:gd name="connsiteX3" fmla="*/ 474348 w 474348"/>
                  <a:gd name="connsiteY3" fmla="*/ 217539 h 670154"/>
                  <a:gd name="connsiteX4" fmla="*/ 474348 w 474348"/>
                  <a:gd name="connsiteY4" fmla="*/ 670154 h 670154"/>
                  <a:gd name="connsiteX5" fmla="*/ 474348 w 474348"/>
                  <a:gd name="connsiteY5" fmla="*/ 670154 h 670154"/>
                  <a:gd name="connsiteX6" fmla="*/ 248129 w 474348"/>
                  <a:gd name="connsiteY6" fmla="*/ 670154 h 670154"/>
                  <a:gd name="connsiteX7" fmla="*/ 0 w 474348"/>
                  <a:gd name="connsiteY7" fmla="*/ 670154 h 670154"/>
                  <a:gd name="connsiteX8" fmla="*/ 0 w 474348"/>
                  <a:gd name="connsiteY8" fmla="*/ 670154 h 670154"/>
                  <a:gd name="connsiteX9" fmla="*/ 0 w 474348"/>
                  <a:gd name="connsiteY9" fmla="*/ 217539 h 670154"/>
                  <a:gd name="connsiteX10" fmla="*/ 174282 w 474348"/>
                  <a:gd name="connsiteY10" fmla="*/ 24619 h 670154"/>
                  <a:gd name="connsiteX0" fmla="*/ 174282 w 474348"/>
                  <a:gd name="connsiteY0" fmla="*/ 24619 h 670154"/>
                  <a:gd name="connsiteX1" fmla="*/ 216121 w 474348"/>
                  <a:gd name="connsiteY1" fmla="*/ 0 h 670154"/>
                  <a:gd name="connsiteX2" fmla="*/ 314250 w 474348"/>
                  <a:gd name="connsiteY2" fmla="*/ 25070 h 670154"/>
                  <a:gd name="connsiteX3" fmla="*/ 474348 w 474348"/>
                  <a:gd name="connsiteY3" fmla="*/ 217539 h 670154"/>
                  <a:gd name="connsiteX4" fmla="*/ 474348 w 474348"/>
                  <a:gd name="connsiteY4" fmla="*/ 670154 h 670154"/>
                  <a:gd name="connsiteX5" fmla="*/ 474348 w 474348"/>
                  <a:gd name="connsiteY5" fmla="*/ 670154 h 670154"/>
                  <a:gd name="connsiteX6" fmla="*/ 248129 w 474348"/>
                  <a:gd name="connsiteY6" fmla="*/ 670154 h 670154"/>
                  <a:gd name="connsiteX7" fmla="*/ 0 w 474348"/>
                  <a:gd name="connsiteY7" fmla="*/ 670154 h 670154"/>
                  <a:gd name="connsiteX8" fmla="*/ 0 w 474348"/>
                  <a:gd name="connsiteY8" fmla="*/ 670154 h 670154"/>
                  <a:gd name="connsiteX9" fmla="*/ 0 w 474348"/>
                  <a:gd name="connsiteY9" fmla="*/ 217539 h 670154"/>
                  <a:gd name="connsiteX10" fmla="*/ 174282 w 474348"/>
                  <a:gd name="connsiteY10" fmla="*/ 24619 h 670154"/>
                  <a:gd name="connsiteX0" fmla="*/ 174282 w 474348"/>
                  <a:gd name="connsiteY0" fmla="*/ 24619 h 670154"/>
                  <a:gd name="connsiteX1" fmla="*/ 216121 w 474348"/>
                  <a:gd name="connsiteY1" fmla="*/ 0 h 670154"/>
                  <a:gd name="connsiteX2" fmla="*/ 314250 w 474348"/>
                  <a:gd name="connsiteY2" fmla="*/ 25070 h 670154"/>
                  <a:gd name="connsiteX3" fmla="*/ 474348 w 474348"/>
                  <a:gd name="connsiteY3" fmla="*/ 217539 h 670154"/>
                  <a:gd name="connsiteX4" fmla="*/ 474348 w 474348"/>
                  <a:gd name="connsiteY4" fmla="*/ 670154 h 670154"/>
                  <a:gd name="connsiteX5" fmla="*/ 474348 w 474348"/>
                  <a:gd name="connsiteY5" fmla="*/ 670154 h 670154"/>
                  <a:gd name="connsiteX6" fmla="*/ 248129 w 474348"/>
                  <a:gd name="connsiteY6" fmla="*/ 670154 h 670154"/>
                  <a:gd name="connsiteX7" fmla="*/ 0 w 474348"/>
                  <a:gd name="connsiteY7" fmla="*/ 670154 h 670154"/>
                  <a:gd name="connsiteX8" fmla="*/ 0 w 474348"/>
                  <a:gd name="connsiteY8" fmla="*/ 670154 h 670154"/>
                  <a:gd name="connsiteX9" fmla="*/ 0 w 474348"/>
                  <a:gd name="connsiteY9" fmla="*/ 217539 h 670154"/>
                  <a:gd name="connsiteX10" fmla="*/ 174282 w 474348"/>
                  <a:gd name="connsiteY10" fmla="*/ 24619 h 670154"/>
                  <a:gd name="connsiteX0" fmla="*/ 148557 w 474348"/>
                  <a:gd name="connsiteY0" fmla="*/ 27264 h 670154"/>
                  <a:gd name="connsiteX1" fmla="*/ 216121 w 474348"/>
                  <a:gd name="connsiteY1" fmla="*/ 0 h 670154"/>
                  <a:gd name="connsiteX2" fmla="*/ 314250 w 474348"/>
                  <a:gd name="connsiteY2" fmla="*/ 25070 h 670154"/>
                  <a:gd name="connsiteX3" fmla="*/ 474348 w 474348"/>
                  <a:gd name="connsiteY3" fmla="*/ 217539 h 670154"/>
                  <a:gd name="connsiteX4" fmla="*/ 474348 w 474348"/>
                  <a:gd name="connsiteY4" fmla="*/ 670154 h 670154"/>
                  <a:gd name="connsiteX5" fmla="*/ 474348 w 474348"/>
                  <a:gd name="connsiteY5" fmla="*/ 670154 h 670154"/>
                  <a:gd name="connsiteX6" fmla="*/ 248129 w 474348"/>
                  <a:gd name="connsiteY6" fmla="*/ 670154 h 670154"/>
                  <a:gd name="connsiteX7" fmla="*/ 0 w 474348"/>
                  <a:gd name="connsiteY7" fmla="*/ 670154 h 670154"/>
                  <a:gd name="connsiteX8" fmla="*/ 0 w 474348"/>
                  <a:gd name="connsiteY8" fmla="*/ 670154 h 670154"/>
                  <a:gd name="connsiteX9" fmla="*/ 0 w 474348"/>
                  <a:gd name="connsiteY9" fmla="*/ 217539 h 670154"/>
                  <a:gd name="connsiteX10" fmla="*/ 148557 w 474348"/>
                  <a:gd name="connsiteY10" fmla="*/ 27264 h 670154"/>
                  <a:gd name="connsiteX0" fmla="*/ 148557 w 474348"/>
                  <a:gd name="connsiteY0" fmla="*/ 20950 h 663840"/>
                  <a:gd name="connsiteX1" fmla="*/ 214238 w 474348"/>
                  <a:gd name="connsiteY1" fmla="*/ 0 h 663840"/>
                  <a:gd name="connsiteX2" fmla="*/ 314250 w 474348"/>
                  <a:gd name="connsiteY2" fmla="*/ 18756 h 663840"/>
                  <a:gd name="connsiteX3" fmla="*/ 474348 w 474348"/>
                  <a:gd name="connsiteY3" fmla="*/ 211225 h 663840"/>
                  <a:gd name="connsiteX4" fmla="*/ 474348 w 474348"/>
                  <a:gd name="connsiteY4" fmla="*/ 663840 h 663840"/>
                  <a:gd name="connsiteX5" fmla="*/ 474348 w 474348"/>
                  <a:gd name="connsiteY5" fmla="*/ 663840 h 663840"/>
                  <a:gd name="connsiteX6" fmla="*/ 248129 w 474348"/>
                  <a:gd name="connsiteY6" fmla="*/ 663840 h 663840"/>
                  <a:gd name="connsiteX7" fmla="*/ 0 w 474348"/>
                  <a:gd name="connsiteY7" fmla="*/ 663840 h 663840"/>
                  <a:gd name="connsiteX8" fmla="*/ 0 w 474348"/>
                  <a:gd name="connsiteY8" fmla="*/ 663840 h 663840"/>
                  <a:gd name="connsiteX9" fmla="*/ 0 w 474348"/>
                  <a:gd name="connsiteY9" fmla="*/ 211225 h 663840"/>
                  <a:gd name="connsiteX10" fmla="*/ 148557 w 474348"/>
                  <a:gd name="connsiteY10" fmla="*/ 20950 h 663840"/>
                  <a:gd name="connsiteX0" fmla="*/ 148557 w 474348"/>
                  <a:gd name="connsiteY0" fmla="*/ 20950 h 663840"/>
                  <a:gd name="connsiteX1" fmla="*/ 214238 w 474348"/>
                  <a:gd name="connsiteY1" fmla="*/ 0 h 663840"/>
                  <a:gd name="connsiteX2" fmla="*/ 314250 w 474348"/>
                  <a:gd name="connsiteY2" fmla="*/ 18756 h 663840"/>
                  <a:gd name="connsiteX3" fmla="*/ 474348 w 474348"/>
                  <a:gd name="connsiteY3" fmla="*/ 211225 h 663840"/>
                  <a:gd name="connsiteX4" fmla="*/ 474348 w 474348"/>
                  <a:gd name="connsiteY4" fmla="*/ 663840 h 663840"/>
                  <a:gd name="connsiteX5" fmla="*/ 474348 w 474348"/>
                  <a:gd name="connsiteY5" fmla="*/ 663840 h 663840"/>
                  <a:gd name="connsiteX6" fmla="*/ 248129 w 474348"/>
                  <a:gd name="connsiteY6" fmla="*/ 663840 h 663840"/>
                  <a:gd name="connsiteX7" fmla="*/ 0 w 474348"/>
                  <a:gd name="connsiteY7" fmla="*/ 663840 h 663840"/>
                  <a:gd name="connsiteX8" fmla="*/ 0 w 474348"/>
                  <a:gd name="connsiteY8" fmla="*/ 663840 h 663840"/>
                  <a:gd name="connsiteX9" fmla="*/ 0 w 474348"/>
                  <a:gd name="connsiteY9" fmla="*/ 211225 h 663840"/>
                  <a:gd name="connsiteX10" fmla="*/ 148557 w 474348"/>
                  <a:gd name="connsiteY10" fmla="*/ 20950 h 663840"/>
                  <a:gd name="connsiteX0" fmla="*/ 148557 w 474348"/>
                  <a:gd name="connsiteY0" fmla="*/ 20950 h 663840"/>
                  <a:gd name="connsiteX1" fmla="*/ 214238 w 474348"/>
                  <a:gd name="connsiteY1" fmla="*/ 0 h 663840"/>
                  <a:gd name="connsiteX2" fmla="*/ 314250 w 474348"/>
                  <a:gd name="connsiteY2" fmla="*/ 18756 h 663840"/>
                  <a:gd name="connsiteX3" fmla="*/ 474348 w 474348"/>
                  <a:gd name="connsiteY3" fmla="*/ 211225 h 663840"/>
                  <a:gd name="connsiteX4" fmla="*/ 474348 w 474348"/>
                  <a:gd name="connsiteY4" fmla="*/ 663840 h 663840"/>
                  <a:gd name="connsiteX5" fmla="*/ 474348 w 474348"/>
                  <a:gd name="connsiteY5" fmla="*/ 663840 h 663840"/>
                  <a:gd name="connsiteX6" fmla="*/ 248129 w 474348"/>
                  <a:gd name="connsiteY6" fmla="*/ 663840 h 663840"/>
                  <a:gd name="connsiteX7" fmla="*/ 0 w 474348"/>
                  <a:gd name="connsiteY7" fmla="*/ 663840 h 663840"/>
                  <a:gd name="connsiteX8" fmla="*/ 0 w 474348"/>
                  <a:gd name="connsiteY8" fmla="*/ 663840 h 663840"/>
                  <a:gd name="connsiteX9" fmla="*/ 0 w 474348"/>
                  <a:gd name="connsiteY9" fmla="*/ 211225 h 663840"/>
                  <a:gd name="connsiteX10" fmla="*/ 148557 w 474348"/>
                  <a:gd name="connsiteY10" fmla="*/ 20950 h 663840"/>
                  <a:gd name="connsiteX0" fmla="*/ 144178 w 474348"/>
                  <a:gd name="connsiteY0" fmla="*/ 22667 h 663840"/>
                  <a:gd name="connsiteX1" fmla="*/ 214238 w 474348"/>
                  <a:gd name="connsiteY1" fmla="*/ 0 h 663840"/>
                  <a:gd name="connsiteX2" fmla="*/ 314250 w 474348"/>
                  <a:gd name="connsiteY2" fmla="*/ 18756 h 663840"/>
                  <a:gd name="connsiteX3" fmla="*/ 474348 w 474348"/>
                  <a:gd name="connsiteY3" fmla="*/ 211225 h 663840"/>
                  <a:gd name="connsiteX4" fmla="*/ 474348 w 474348"/>
                  <a:gd name="connsiteY4" fmla="*/ 663840 h 663840"/>
                  <a:gd name="connsiteX5" fmla="*/ 474348 w 474348"/>
                  <a:gd name="connsiteY5" fmla="*/ 663840 h 663840"/>
                  <a:gd name="connsiteX6" fmla="*/ 248129 w 474348"/>
                  <a:gd name="connsiteY6" fmla="*/ 663840 h 663840"/>
                  <a:gd name="connsiteX7" fmla="*/ 0 w 474348"/>
                  <a:gd name="connsiteY7" fmla="*/ 663840 h 663840"/>
                  <a:gd name="connsiteX8" fmla="*/ 0 w 474348"/>
                  <a:gd name="connsiteY8" fmla="*/ 663840 h 663840"/>
                  <a:gd name="connsiteX9" fmla="*/ 0 w 474348"/>
                  <a:gd name="connsiteY9" fmla="*/ 211225 h 663840"/>
                  <a:gd name="connsiteX10" fmla="*/ 144178 w 474348"/>
                  <a:gd name="connsiteY10" fmla="*/ 22667 h 663840"/>
                  <a:gd name="connsiteX0" fmla="*/ 144178 w 474348"/>
                  <a:gd name="connsiteY0" fmla="*/ 22667 h 663840"/>
                  <a:gd name="connsiteX1" fmla="*/ 214238 w 474348"/>
                  <a:gd name="connsiteY1" fmla="*/ 0 h 663840"/>
                  <a:gd name="connsiteX2" fmla="*/ 314250 w 474348"/>
                  <a:gd name="connsiteY2" fmla="*/ 18756 h 663840"/>
                  <a:gd name="connsiteX3" fmla="*/ 474348 w 474348"/>
                  <a:gd name="connsiteY3" fmla="*/ 211225 h 663840"/>
                  <a:gd name="connsiteX4" fmla="*/ 474348 w 474348"/>
                  <a:gd name="connsiteY4" fmla="*/ 663840 h 663840"/>
                  <a:gd name="connsiteX5" fmla="*/ 474348 w 474348"/>
                  <a:gd name="connsiteY5" fmla="*/ 663840 h 663840"/>
                  <a:gd name="connsiteX6" fmla="*/ 248129 w 474348"/>
                  <a:gd name="connsiteY6" fmla="*/ 663840 h 663840"/>
                  <a:gd name="connsiteX7" fmla="*/ 0 w 474348"/>
                  <a:gd name="connsiteY7" fmla="*/ 663840 h 663840"/>
                  <a:gd name="connsiteX8" fmla="*/ 0 w 474348"/>
                  <a:gd name="connsiteY8" fmla="*/ 663840 h 663840"/>
                  <a:gd name="connsiteX9" fmla="*/ 0 w 474348"/>
                  <a:gd name="connsiteY9" fmla="*/ 211225 h 663840"/>
                  <a:gd name="connsiteX10" fmla="*/ 144178 w 474348"/>
                  <a:gd name="connsiteY10" fmla="*/ 22667 h 663840"/>
                  <a:gd name="connsiteX0" fmla="*/ 144178 w 474348"/>
                  <a:gd name="connsiteY0" fmla="*/ 22667 h 663840"/>
                  <a:gd name="connsiteX1" fmla="*/ 214238 w 474348"/>
                  <a:gd name="connsiteY1" fmla="*/ 0 h 663840"/>
                  <a:gd name="connsiteX2" fmla="*/ 314250 w 474348"/>
                  <a:gd name="connsiteY2" fmla="*/ 18756 h 663840"/>
                  <a:gd name="connsiteX3" fmla="*/ 474348 w 474348"/>
                  <a:gd name="connsiteY3" fmla="*/ 211225 h 663840"/>
                  <a:gd name="connsiteX4" fmla="*/ 474348 w 474348"/>
                  <a:gd name="connsiteY4" fmla="*/ 663840 h 663840"/>
                  <a:gd name="connsiteX5" fmla="*/ 474348 w 474348"/>
                  <a:gd name="connsiteY5" fmla="*/ 663840 h 663840"/>
                  <a:gd name="connsiteX6" fmla="*/ 248129 w 474348"/>
                  <a:gd name="connsiteY6" fmla="*/ 663840 h 663840"/>
                  <a:gd name="connsiteX7" fmla="*/ 0 w 474348"/>
                  <a:gd name="connsiteY7" fmla="*/ 663840 h 663840"/>
                  <a:gd name="connsiteX8" fmla="*/ 0 w 474348"/>
                  <a:gd name="connsiteY8" fmla="*/ 663840 h 663840"/>
                  <a:gd name="connsiteX9" fmla="*/ 0 w 474348"/>
                  <a:gd name="connsiteY9" fmla="*/ 211225 h 663840"/>
                  <a:gd name="connsiteX10" fmla="*/ 144178 w 474348"/>
                  <a:gd name="connsiteY10" fmla="*/ 22667 h 663840"/>
                  <a:gd name="connsiteX0" fmla="*/ 144178 w 474348"/>
                  <a:gd name="connsiteY0" fmla="*/ 22667 h 663840"/>
                  <a:gd name="connsiteX1" fmla="*/ 214238 w 474348"/>
                  <a:gd name="connsiteY1" fmla="*/ 0 h 663840"/>
                  <a:gd name="connsiteX2" fmla="*/ 314250 w 474348"/>
                  <a:gd name="connsiteY2" fmla="*/ 18756 h 663840"/>
                  <a:gd name="connsiteX3" fmla="*/ 474348 w 474348"/>
                  <a:gd name="connsiteY3" fmla="*/ 211225 h 663840"/>
                  <a:gd name="connsiteX4" fmla="*/ 474348 w 474348"/>
                  <a:gd name="connsiteY4" fmla="*/ 663840 h 663840"/>
                  <a:gd name="connsiteX5" fmla="*/ 474348 w 474348"/>
                  <a:gd name="connsiteY5" fmla="*/ 663840 h 663840"/>
                  <a:gd name="connsiteX6" fmla="*/ 248129 w 474348"/>
                  <a:gd name="connsiteY6" fmla="*/ 663840 h 663840"/>
                  <a:gd name="connsiteX7" fmla="*/ 0 w 474348"/>
                  <a:gd name="connsiteY7" fmla="*/ 663840 h 663840"/>
                  <a:gd name="connsiteX8" fmla="*/ 0 w 474348"/>
                  <a:gd name="connsiteY8" fmla="*/ 663840 h 663840"/>
                  <a:gd name="connsiteX9" fmla="*/ 0 w 474348"/>
                  <a:gd name="connsiteY9" fmla="*/ 211225 h 663840"/>
                  <a:gd name="connsiteX10" fmla="*/ 144178 w 474348"/>
                  <a:gd name="connsiteY10" fmla="*/ 22667 h 6638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74348" h="663840">
                    <a:moveTo>
                      <a:pt x="144178" y="22667"/>
                    </a:moveTo>
                    <a:cubicBezTo>
                      <a:pt x="211732" y="-970"/>
                      <a:pt x="181869" y="7990"/>
                      <a:pt x="214238" y="0"/>
                    </a:cubicBezTo>
                    <a:cubicBezTo>
                      <a:pt x="259321" y="7224"/>
                      <a:pt x="221757" y="369"/>
                      <a:pt x="314250" y="18756"/>
                    </a:cubicBezTo>
                    <a:cubicBezTo>
                      <a:pt x="399877" y="51074"/>
                      <a:pt x="474348" y="104798"/>
                      <a:pt x="474348" y="211225"/>
                    </a:cubicBezTo>
                    <a:lnTo>
                      <a:pt x="474348" y="663840"/>
                    </a:lnTo>
                    <a:lnTo>
                      <a:pt x="474348" y="663840"/>
                    </a:lnTo>
                    <a:lnTo>
                      <a:pt x="248129" y="663840"/>
                    </a:lnTo>
                    <a:lnTo>
                      <a:pt x="0" y="663840"/>
                    </a:lnTo>
                    <a:lnTo>
                      <a:pt x="0" y="663840"/>
                    </a:lnTo>
                    <a:lnTo>
                      <a:pt x="0" y="211225"/>
                    </a:lnTo>
                    <a:cubicBezTo>
                      <a:pt x="0" y="104798"/>
                      <a:pt x="80700" y="56026"/>
                      <a:pt x="144178" y="22667"/>
                    </a:cubicBezTo>
                    <a:close/>
                  </a:path>
                </a:pathLst>
              </a:cu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grpSp>
      </p:grpSp>
      <p:sp>
        <p:nvSpPr>
          <p:cNvPr id="171" name="Oval 170"/>
          <p:cNvSpPr/>
          <p:nvPr/>
        </p:nvSpPr>
        <p:spPr>
          <a:xfrm flipH="1">
            <a:off x="260635" y="2981920"/>
            <a:ext cx="69601" cy="69600"/>
          </a:xfrm>
          <a:prstGeom prst="ellipse">
            <a:avLst/>
          </a:prstGeom>
          <a:solidFill>
            <a:schemeClr val="bg1"/>
          </a:solidFill>
          <a:ln w="50800">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8" name="Isosceles Triangle 147"/>
          <p:cNvSpPr/>
          <p:nvPr/>
        </p:nvSpPr>
        <p:spPr>
          <a:xfrm flipH="1">
            <a:off x="997498" y="2891937"/>
            <a:ext cx="85750" cy="878470"/>
          </a:xfrm>
          <a:prstGeom prst="triangle">
            <a:avLst>
              <a:gd name="adj" fmla="val 53309"/>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49" name="Group 148"/>
          <p:cNvGrpSpPr/>
          <p:nvPr/>
        </p:nvGrpSpPr>
        <p:grpSpPr>
          <a:xfrm>
            <a:off x="512857" y="2395457"/>
            <a:ext cx="1046086" cy="1046086"/>
            <a:chOff x="6430508" y="1810678"/>
            <a:chExt cx="2108839" cy="2108839"/>
          </a:xfrm>
        </p:grpSpPr>
        <p:grpSp>
          <p:nvGrpSpPr>
            <p:cNvPr id="150" name="Group 149"/>
            <p:cNvGrpSpPr/>
            <p:nvPr/>
          </p:nvGrpSpPr>
          <p:grpSpPr>
            <a:xfrm rot="900000">
              <a:off x="6430508" y="2814389"/>
              <a:ext cx="2108839" cy="101418"/>
              <a:chOff x="6437694" y="2814389"/>
              <a:chExt cx="2108839" cy="101418"/>
            </a:xfrm>
          </p:grpSpPr>
          <p:sp>
            <p:nvSpPr>
              <p:cNvPr id="157" name="Round Same Side Corner Rectangle 11"/>
              <p:cNvSpPr/>
              <p:nvPr/>
            </p:nvSpPr>
            <p:spPr>
              <a:xfrm rot="5400000" flipH="1">
                <a:off x="7969911" y="2339184"/>
                <a:ext cx="101418" cy="1051827"/>
              </a:xfrm>
              <a:custGeom>
                <a:avLst/>
                <a:gdLst>
                  <a:gd name="connsiteX0" fmla="*/ 192704 w 474348"/>
                  <a:gd name="connsiteY0" fmla="*/ 0 h 645319"/>
                  <a:gd name="connsiteX1" fmla="*/ 281644 w 474348"/>
                  <a:gd name="connsiteY1" fmla="*/ 0 h 645319"/>
                  <a:gd name="connsiteX2" fmla="*/ 474348 w 474348"/>
                  <a:gd name="connsiteY2" fmla="*/ 192704 h 645319"/>
                  <a:gd name="connsiteX3" fmla="*/ 474348 w 474348"/>
                  <a:gd name="connsiteY3" fmla="*/ 645319 h 645319"/>
                  <a:gd name="connsiteX4" fmla="*/ 474348 w 474348"/>
                  <a:gd name="connsiteY4" fmla="*/ 645319 h 645319"/>
                  <a:gd name="connsiteX5" fmla="*/ 0 w 474348"/>
                  <a:gd name="connsiteY5" fmla="*/ 645319 h 645319"/>
                  <a:gd name="connsiteX6" fmla="*/ 0 w 474348"/>
                  <a:gd name="connsiteY6" fmla="*/ 645319 h 645319"/>
                  <a:gd name="connsiteX7" fmla="*/ 0 w 474348"/>
                  <a:gd name="connsiteY7" fmla="*/ 192704 h 645319"/>
                  <a:gd name="connsiteX8" fmla="*/ 192704 w 474348"/>
                  <a:gd name="connsiteY8" fmla="*/ 0 h 645319"/>
                  <a:gd name="connsiteX0" fmla="*/ 192704 w 474348"/>
                  <a:gd name="connsiteY0" fmla="*/ 0 h 645319"/>
                  <a:gd name="connsiteX1" fmla="*/ 281644 w 474348"/>
                  <a:gd name="connsiteY1" fmla="*/ 0 h 645319"/>
                  <a:gd name="connsiteX2" fmla="*/ 474348 w 474348"/>
                  <a:gd name="connsiteY2" fmla="*/ 192704 h 645319"/>
                  <a:gd name="connsiteX3" fmla="*/ 474348 w 474348"/>
                  <a:gd name="connsiteY3" fmla="*/ 645319 h 645319"/>
                  <a:gd name="connsiteX4" fmla="*/ 474348 w 474348"/>
                  <a:gd name="connsiteY4" fmla="*/ 645319 h 645319"/>
                  <a:gd name="connsiteX5" fmla="*/ 248129 w 474348"/>
                  <a:gd name="connsiteY5" fmla="*/ 645319 h 645319"/>
                  <a:gd name="connsiteX6" fmla="*/ 0 w 474348"/>
                  <a:gd name="connsiteY6" fmla="*/ 645319 h 645319"/>
                  <a:gd name="connsiteX7" fmla="*/ 0 w 474348"/>
                  <a:gd name="connsiteY7" fmla="*/ 645319 h 645319"/>
                  <a:gd name="connsiteX8" fmla="*/ 0 w 474348"/>
                  <a:gd name="connsiteY8" fmla="*/ 192704 h 645319"/>
                  <a:gd name="connsiteX9" fmla="*/ 192704 w 474348"/>
                  <a:gd name="connsiteY9" fmla="*/ 0 h 645319"/>
                  <a:gd name="connsiteX0" fmla="*/ 192704 w 474348"/>
                  <a:gd name="connsiteY0" fmla="*/ 2381 h 647700"/>
                  <a:gd name="connsiteX1" fmla="*/ 240986 w 474348"/>
                  <a:gd name="connsiteY1" fmla="*/ 0 h 647700"/>
                  <a:gd name="connsiteX2" fmla="*/ 281644 w 474348"/>
                  <a:gd name="connsiteY2" fmla="*/ 2381 h 647700"/>
                  <a:gd name="connsiteX3" fmla="*/ 474348 w 474348"/>
                  <a:gd name="connsiteY3" fmla="*/ 195085 h 647700"/>
                  <a:gd name="connsiteX4" fmla="*/ 474348 w 474348"/>
                  <a:gd name="connsiteY4" fmla="*/ 647700 h 647700"/>
                  <a:gd name="connsiteX5" fmla="*/ 474348 w 474348"/>
                  <a:gd name="connsiteY5" fmla="*/ 647700 h 647700"/>
                  <a:gd name="connsiteX6" fmla="*/ 248129 w 474348"/>
                  <a:gd name="connsiteY6" fmla="*/ 647700 h 647700"/>
                  <a:gd name="connsiteX7" fmla="*/ 0 w 474348"/>
                  <a:gd name="connsiteY7" fmla="*/ 647700 h 647700"/>
                  <a:gd name="connsiteX8" fmla="*/ 0 w 474348"/>
                  <a:gd name="connsiteY8" fmla="*/ 647700 h 647700"/>
                  <a:gd name="connsiteX9" fmla="*/ 0 w 474348"/>
                  <a:gd name="connsiteY9" fmla="*/ 195085 h 647700"/>
                  <a:gd name="connsiteX10" fmla="*/ 192704 w 474348"/>
                  <a:gd name="connsiteY10" fmla="*/ 2381 h 647700"/>
                  <a:gd name="connsiteX0" fmla="*/ 192704 w 474348"/>
                  <a:gd name="connsiteY0" fmla="*/ 42862 h 688181"/>
                  <a:gd name="connsiteX1" fmla="*/ 240986 w 474348"/>
                  <a:gd name="connsiteY1" fmla="*/ 0 h 688181"/>
                  <a:gd name="connsiteX2" fmla="*/ 281644 w 474348"/>
                  <a:gd name="connsiteY2" fmla="*/ 42862 h 688181"/>
                  <a:gd name="connsiteX3" fmla="*/ 474348 w 474348"/>
                  <a:gd name="connsiteY3" fmla="*/ 235566 h 688181"/>
                  <a:gd name="connsiteX4" fmla="*/ 474348 w 474348"/>
                  <a:gd name="connsiteY4" fmla="*/ 688181 h 688181"/>
                  <a:gd name="connsiteX5" fmla="*/ 474348 w 474348"/>
                  <a:gd name="connsiteY5" fmla="*/ 688181 h 688181"/>
                  <a:gd name="connsiteX6" fmla="*/ 248129 w 474348"/>
                  <a:gd name="connsiteY6" fmla="*/ 688181 h 688181"/>
                  <a:gd name="connsiteX7" fmla="*/ 0 w 474348"/>
                  <a:gd name="connsiteY7" fmla="*/ 688181 h 688181"/>
                  <a:gd name="connsiteX8" fmla="*/ 0 w 474348"/>
                  <a:gd name="connsiteY8" fmla="*/ 688181 h 688181"/>
                  <a:gd name="connsiteX9" fmla="*/ 0 w 474348"/>
                  <a:gd name="connsiteY9" fmla="*/ 235566 h 688181"/>
                  <a:gd name="connsiteX10" fmla="*/ 192704 w 474348"/>
                  <a:gd name="connsiteY10" fmla="*/ 42862 h 688181"/>
                  <a:gd name="connsiteX0" fmla="*/ 192704 w 474348"/>
                  <a:gd name="connsiteY0" fmla="*/ 23812 h 669131"/>
                  <a:gd name="connsiteX1" fmla="*/ 265690 w 474348"/>
                  <a:gd name="connsiteY1" fmla="*/ 0 h 669131"/>
                  <a:gd name="connsiteX2" fmla="*/ 281644 w 474348"/>
                  <a:gd name="connsiteY2" fmla="*/ 23812 h 669131"/>
                  <a:gd name="connsiteX3" fmla="*/ 474348 w 474348"/>
                  <a:gd name="connsiteY3" fmla="*/ 216516 h 669131"/>
                  <a:gd name="connsiteX4" fmla="*/ 474348 w 474348"/>
                  <a:gd name="connsiteY4" fmla="*/ 669131 h 669131"/>
                  <a:gd name="connsiteX5" fmla="*/ 474348 w 474348"/>
                  <a:gd name="connsiteY5" fmla="*/ 669131 h 669131"/>
                  <a:gd name="connsiteX6" fmla="*/ 248129 w 474348"/>
                  <a:gd name="connsiteY6" fmla="*/ 669131 h 669131"/>
                  <a:gd name="connsiteX7" fmla="*/ 0 w 474348"/>
                  <a:gd name="connsiteY7" fmla="*/ 669131 h 669131"/>
                  <a:gd name="connsiteX8" fmla="*/ 0 w 474348"/>
                  <a:gd name="connsiteY8" fmla="*/ 669131 h 669131"/>
                  <a:gd name="connsiteX9" fmla="*/ 0 w 474348"/>
                  <a:gd name="connsiteY9" fmla="*/ 216516 h 669131"/>
                  <a:gd name="connsiteX10" fmla="*/ 192704 w 474348"/>
                  <a:gd name="connsiteY10" fmla="*/ 23812 h 669131"/>
                  <a:gd name="connsiteX0" fmla="*/ 192704 w 474348"/>
                  <a:gd name="connsiteY0" fmla="*/ 23812 h 669131"/>
                  <a:gd name="connsiteX1" fmla="*/ 265690 w 474348"/>
                  <a:gd name="connsiteY1" fmla="*/ 0 h 669131"/>
                  <a:gd name="connsiteX2" fmla="*/ 281644 w 474348"/>
                  <a:gd name="connsiteY2" fmla="*/ 23812 h 669131"/>
                  <a:gd name="connsiteX3" fmla="*/ 474348 w 474348"/>
                  <a:gd name="connsiteY3" fmla="*/ 216516 h 669131"/>
                  <a:gd name="connsiteX4" fmla="*/ 474348 w 474348"/>
                  <a:gd name="connsiteY4" fmla="*/ 669131 h 669131"/>
                  <a:gd name="connsiteX5" fmla="*/ 474348 w 474348"/>
                  <a:gd name="connsiteY5" fmla="*/ 669131 h 669131"/>
                  <a:gd name="connsiteX6" fmla="*/ 248129 w 474348"/>
                  <a:gd name="connsiteY6" fmla="*/ 669131 h 669131"/>
                  <a:gd name="connsiteX7" fmla="*/ 0 w 474348"/>
                  <a:gd name="connsiteY7" fmla="*/ 669131 h 669131"/>
                  <a:gd name="connsiteX8" fmla="*/ 0 w 474348"/>
                  <a:gd name="connsiteY8" fmla="*/ 669131 h 669131"/>
                  <a:gd name="connsiteX9" fmla="*/ 0 w 474348"/>
                  <a:gd name="connsiteY9" fmla="*/ 216516 h 669131"/>
                  <a:gd name="connsiteX10" fmla="*/ 192704 w 474348"/>
                  <a:gd name="connsiteY10" fmla="*/ 23812 h 669131"/>
                  <a:gd name="connsiteX0" fmla="*/ 192704 w 474348"/>
                  <a:gd name="connsiteY0" fmla="*/ 23812 h 669131"/>
                  <a:gd name="connsiteX1" fmla="*/ 265690 w 474348"/>
                  <a:gd name="connsiteY1" fmla="*/ 0 h 669131"/>
                  <a:gd name="connsiteX2" fmla="*/ 281644 w 474348"/>
                  <a:gd name="connsiteY2" fmla="*/ 23812 h 669131"/>
                  <a:gd name="connsiteX3" fmla="*/ 474348 w 474348"/>
                  <a:gd name="connsiteY3" fmla="*/ 216516 h 669131"/>
                  <a:gd name="connsiteX4" fmla="*/ 474348 w 474348"/>
                  <a:gd name="connsiteY4" fmla="*/ 669131 h 669131"/>
                  <a:gd name="connsiteX5" fmla="*/ 474348 w 474348"/>
                  <a:gd name="connsiteY5" fmla="*/ 669131 h 669131"/>
                  <a:gd name="connsiteX6" fmla="*/ 248129 w 474348"/>
                  <a:gd name="connsiteY6" fmla="*/ 669131 h 669131"/>
                  <a:gd name="connsiteX7" fmla="*/ 0 w 474348"/>
                  <a:gd name="connsiteY7" fmla="*/ 669131 h 669131"/>
                  <a:gd name="connsiteX8" fmla="*/ 0 w 474348"/>
                  <a:gd name="connsiteY8" fmla="*/ 669131 h 669131"/>
                  <a:gd name="connsiteX9" fmla="*/ 0 w 474348"/>
                  <a:gd name="connsiteY9" fmla="*/ 216516 h 669131"/>
                  <a:gd name="connsiteX10" fmla="*/ 192704 w 474348"/>
                  <a:gd name="connsiteY10" fmla="*/ 23812 h 669131"/>
                  <a:gd name="connsiteX0" fmla="*/ 192704 w 474348"/>
                  <a:gd name="connsiteY0" fmla="*/ 23812 h 669131"/>
                  <a:gd name="connsiteX1" fmla="*/ 265690 w 474348"/>
                  <a:gd name="connsiteY1" fmla="*/ 0 h 669131"/>
                  <a:gd name="connsiteX2" fmla="*/ 314250 w 474348"/>
                  <a:gd name="connsiteY2" fmla="*/ 24047 h 669131"/>
                  <a:gd name="connsiteX3" fmla="*/ 474348 w 474348"/>
                  <a:gd name="connsiteY3" fmla="*/ 216516 h 669131"/>
                  <a:gd name="connsiteX4" fmla="*/ 474348 w 474348"/>
                  <a:gd name="connsiteY4" fmla="*/ 669131 h 669131"/>
                  <a:gd name="connsiteX5" fmla="*/ 474348 w 474348"/>
                  <a:gd name="connsiteY5" fmla="*/ 669131 h 669131"/>
                  <a:gd name="connsiteX6" fmla="*/ 248129 w 474348"/>
                  <a:gd name="connsiteY6" fmla="*/ 669131 h 669131"/>
                  <a:gd name="connsiteX7" fmla="*/ 0 w 474348"/>
                  <a:gd name="connsiteY7" fmla="*/ 669131 h 669131"/>
                  <a:gd name="connsiteX8" fmla="*/ 0 w 474348"/>
                  <a:gd name="connsiteY8" fmla="*/ 669131 h 669131"/>
                  <a:gd name="connsiteX9" fmla="*/ 0 w 474348"/>
                  <a:gd name="connsiteY9" fmla="*/ 216516 h 669131"/>
                  <a:gd name="connsiteX10" fmla="*/ 192704 w 474348"/>
                  <a:gd name="connsiteY10" fmla="*/ 23812 h 669131"/>
                  <a:gd name="connsiteX0" fmla="*/ 192704 w 474348"/>
                  <a:gd name="connsiteY0" fmla="*/ 23812 h 669131"/>
                  <a:gd name="connsiteX1" fmla="*/ 265690 w 474348"/>
                  <a:gd name="connsiteY1" fmla="*/ 0 h 669131"/>
                  <a:gd name="connsiteX2" fmla="*/ 314250 w 474348"/>
                  <a:gd name="connsiteY2" fmla="*/ 24047 h 669131"/>
                  <a:gd name="connsiteX3" fmla="*/ 474348 w 474348"/>
                  <a:gd name="connsiteY3" fmla="*/ 216516 h 669131"/>
                  <a:gd name="connsiteX4" fmla="*/ 474348 w 474348"/>
                  <a:gd name="connsiteY4" fmla="*/ 669131 h 669131"/>
                  <a:gd name="connsiteX5" fmla="*/ 474348 w 474348"/>
                  <a:gd name="connsiteY5" fmla="*/ 669131 h 669131"/>
                  <a:gd name="connsiteX6" fmla="*/ 248129 w 474348"/>
                  <a:gd name="connsiteY6" fmla="*/ 669131 h 669131"/>
                  <a:gd name="connsiteX7" fmla="*/ 0 w 474348"/>
                  <a:gd name="connsiteY7" fmla="*/ 669131 h 669131"/>
                  <a:gd name="connsiteX8" fmla="*/ 0 w 474348"/>
                  <a:gd name="connsiteY8" fmla="*/ 669131 h 669131"/>
                  <a:gd name="connsiteX9" fmla="*/ 0 w 474348"/>
                  <a:gd name="connsiteY9" fmla="*/ 216516 h 669131"/>
                  <a:gd name="connsiteX10" fmla="*/ 192704 w 474348"/>
                  <a:gd name="connsiteY10" fmla="*/ 23812 h 669131"/>
                  <a:gd name="connsiteX0" fmla="*/ 192704 w 474348"/>
                  <a:gd name="connsiteY0" fmla="*/ 23812 h 669131"/>
                  <a:gd name="connsiteX1" fmla="*/ 265690 w 474348"/>
                  <a:gd name="connsiteY1" fmla="*/ 0 h 669131"/>
                  <a:gd name="connsiteX2" fmla="*/ 314250 w 474348"/>
                  <a:gd name="connsiteY2" fmla="*/ 24047 h 669131"/>
                  <a:gd name="connsiteX3" fmla="*/ 474348 w 474348"/>
                  <a:gd name="connsiteY3" fmla="*/ 216516 h 669131"/>
                  <a:gd name="connsiteX4" fmla="*/ 474348 w 474348"/>
                  <a:gd name="connsiteY4" fmla="*/ 669131 h 669131"/>
                  <a:gd name="connsiteX5" fmla="*/ 474348 w 474348"/>
                  <a:gd name="connsiteY5" fmla="*/ 669131 h 669131"/>
                  <a:gd name="connsiteX6" fmla="*/ 248129 w 474348"/>
                  <a:gd name="connsiteY6" fmla="*/ 669131 h 669131"/>
                  <a:gd name="connsiteX7" fmla="*/ 0 w 474348"/>
                  <a:gd name="connsiteY7" fmla="*/ 669131 h 669131"/>
                  <a:gd name="connsiteX8" fmla="*/ 0 w 474348"/>
                  <a:gd name="connsiteY8" fmla="*/ 669131 h 669131"/>
                  <a:gd name="connsiteX9" fmla="*/ 0 w 474348"/>
                  <a:gd name="connsiteY9" fmla="*/ 216516 h 669131"/>
                  <a:gd name="connsiteX10" fmla="*/ 192704 w 474348"/>
                  <a:gd name="connsiteY10" fmla="*/ 23812 h 669131"/>
                  <a:gd name="connsiteX0" fmla="*/ 174282 w 474348"/>
                  <a:gd name="connsiteY0" fmla="*/ 23596 h 669131"/>
                  <a:gd name="connsiteX1" fmla="*/ 265690 w 474348"/>
                  <a:gd name="connsiteY1" fmla="*/ 0 h 669131"/>
                  <a:gd name="connsiteX2" fmla="*/ 314250 w 474348"/>
                  <a:gd name="connsiteY2" fmla="*/ 24047 h 669131"/>
                  <a:gd name="connsiteX3" fmla="*/ 474348 w 474348"/>
                  <a:gd name="connsiteY3" fmla="*/ 216516 h 669131"/>
                  <a:gd name="connsiteX4" fmla="*/ 474348 w 474348"/>
                  <a:gd name="connsiteY4" fmla="*/ 669131 h 669131"/>
                  <a:gd name="connsiteX5" fmla="*/ 474348 w 474348"/>
                  <a:gd name="connsiteY5" fmla="*/ 669131 h 669131"/>
                  <a:gd name="connsiteX6" fmla="*/ 248129 w 474348"/>
                  <a:gd name="connsiteY6" fmla="*/ 669131 h 669131"/>
                  <a:gd name="connsiteX7" fmla="*/ 0 w 474348"/>
                  <a:gd name="connsiteY7" fmla="*/ 669131 h 669131"/>
                  <a:gd name="connsiteX8" fmla="*/ 0 w 474348"/>
                  <a:gd name="connsiteY8" fmla="*/ 669131 h 669131"/>
                  <a:gd name="connsiteX9" fmla="*/ 0 w 474348"/>
                  <a:gd name="connsiteY9" fmla="*/ 216516 h 669131"/>
                  <a:gd name="connsiteX10" fmla="*/ 174282 w 474348"/>
                  <a:gd name="connsiteY10" fmla="*/ 23596 h 669131"/>
                  <a:gd name="connsiteX0" fmla="*/ 174282 w 474348"/>
                  <a:gd name="connsiteY0" fmla="*/ 24619 h 670154"/>
                  <a:gd name="connsiteX1" fmla="*/ 216121 w 474348"/>
                  <a:gd name="connsiteY1" fmla="*/ 0 h 670154"/>
                  <a:gd name="connsiteX2" fmla="*/ 314250 w 474348"/>
                  <a:gd name="connsiteY2" fmla="*/ 25070 h 670154"/>
                  <a:gd name="connsiteX3" fmla="*/ 474348 w 474348"/>
                  <a:gd name="connsiteY3" fmla="*/ 217539 h 670154"/>
                  <a:gd name="connsiteX4" fmla="*/ 474348 w 474348"/>
                  <a:gd name="connsiteY4" fmla="*/ 670154 h 670154"/>
                  <a:gd name="connsiteX5" fmla="*/ 474348 w 474348"/>
                  <a:gd name="connsiteY5" fmla="*/ 670154 h 670154"/>
                  <a:gd name="connsiteX6" fmla="*/ 248129 w 474348"/>
                  <a:gd name="connsiteY6" fmla="*/ 670154 h 670154"/>
                  <a:gd name="connsiteX7" fmla="*/ 0 w 474348"/>
                  <a:gd name="connsiteY7" fmla="*/ 670154 h 670154"/>
                  <a:gd name="connsiteX8" fmla="*/ 0 w 474348"/>
                  <a:gd name="connsiteY8" fmla="*/ 670154 h 670154"/>
                  <a:gd name="connsiteX9" fmla="*/ 0 w 474348"/>
                  <a:gd name="connsiteY9" fmla="*/ 217539 h 670154"/>
                  <a:gd name="connsiteX10" fmla="*/ 174282 w 474348"/>
                  <a:gd name="connsiteY10" fmla="*/ 24619 h 670154"/>
                  <a:gd name="connsiteX0" fmla="*/ 174282 w 474348"/>
                  <a:gd name="connsiteY0" fmla="*/ 24619 h 670154"/>
                  <a:gd name="connsiteX1" fmla="*/ 216121 w 474348"/>
                  <a:gd name="connsiteY1" fmla="*/ 0 h 670154"/>
                  <a:gd name="connsiteX2" fmla="*/ 314250 w 474348"/>
                  <a:gd name="connsiteY2" fmla="*/ 25070 h 670154"/>
                  <a:gd name="connsiteX3" fmla="*/ 474348 w 474348"/>
                  <a:gd name="connsiteY3" fmla="*/ 217539 h 670154"/>
                  <a:gd name="connsiteX4" fmla="*/ 474348 w 474348"/>
                  <a:gd name="connsiteY4" fmla="*/ 670154 h 670154"/>
                  <a:gd name="connsiteX5" fmla="*/ 474348 w 474348"/>
                  <a:gd name="connsiteY5" fmla="*/ 670154 h 670154"/>
                  <a:gd name="connsiteX6" fmla="*/ 248129 w 474348"/>
                  <a:gd name="connsiteY6" fmla="*/ 670154 h 670154"/>
                  <a:gd name="connsiteX7" fmla="*/ 0 w 474348"/>
                  <a:gd name="connsiteY7" fmla="*/ 670154 h 670154"/>
                  <a:gd name="connsiteX8" fmla="*/ 0 w 474348"/>
                  <a:gd name="connsiteY8" fmla="*/ 670154 h 670154"/>
                  <a:gd name="connsiteX9" fmla="*/ 0 w 474348"/>
                  <a:gd name="connsiteY9" fmla="*/ 217539 h 670154"/>
                  <a:gd name="connsiteX10" fmla="*/ 174282 w 474348"/>
                  <a:gd name="connsiteY10" fmla="*/ 24619 h 670154"/>
                  <a:gd name="connsiteX0" fmla="*/ 174282 w 474348"/>
                  <a:gd name="connsiteY0" fmla="*/ 24619 h 670154"/>
                  <a:gd name="connsiteX1" fmla="*/ 216121 w 474348"/>
                  <a:gd name="connsiteY1" fmla="*/ 0 h 670154"/>
                  <a:gd name="connsiteX2" fmla="*/ 314250 w 474348"/>
                  <a:gd name="connsiteY2" fmla="*/ 25070 h 670154"/>
                  <a:gd name="connsiteX3" fmla="*/ 474348 w 474348"/>
                  <a:gd name="connsiteY3" fmla="*/ 217539 h 670154"/>
                  <a:gd name="connsiteX4" fmla="*/ 474348 w 474348"/>
                  <a:gd name="connsiteY4" fmla="*/ 670154 h 670154"/>
                  <a:gd name="connsiteX5" fmla="*/ 474348 w 474348"/>
                  <a:gd name="connsiteY5" fmla="*/ 670154 h 670154"/>
                  <a:gd name="connsiteX6" fmla="*/ 248129 w 474348"/>
                  <a:gd name="connsiteY6" fmla="*/ 670154 h 670154"/>
                  <a:gd name="connsiteX7" fmla="*/ 0 w 474348"/>
                  <a:gd name="connsiteY7" fmla="*/ 670154 h 670154"/>
                  <a:gd name="connsiteX8" fmla="*/ 0 w 474348"/>
                  <a:gd name="connsiteY8" fmla="*/ 670154 h 670154"/>
                  <a:gd name="connsiteX9" fmla="*/ 0 w 474348"/>
                  <a:gd name="connsiteY9" fmla="*/ 217539 h 670154"/>
                  <a:gd name="connsiteX10" fmla="*/ 174282 w 474348"/>
                  <a:gd name="connsiteY10" fmla="*/ 24619 h 670154"/>
                  <a:gd name="connsiteX0" fmla="*/ 174282 w 474348"/>
                  <a:gd name="connsiteY0" fmla="*/ 24619 h 670154"/>
                  <a:gd name="connsiteX1" fmla="*/ 216121 w 474348"/>
                  <a:gd name="connsiteY1" fmla="*/ 0 h 670154"/>
                  <a:gd name="connsiteX2" fmla="*/ 314250 w 474348"/>
                  <a:gd name="connsiteY2" fmla="*/ 25070 h 670154"/>
                  <a:gd name="connsiteX3" fmla="*/ 474348 w 474348"/>
                  <a:gd name="connsiteY3" fmla="*/ 217539 h 670154"/>
                  <a:gd name="connsiteX4" fmla="*/ 474348 w 474348"/>
                  <a:gd name="connsiteY4" fmla="*/ 670154 h 670154"/>
                  <a:gd name="connsiteX5" fmla="*/ 474348 w 474348"/>
                  <a:gd name="connsiteY5" fmla="*/ 670154 h 670154"/>
                  <a:gd name="connsiteX6" fmla="*/ 248129 w 474348"/>
                  <a:gd name="connsiteY6" fmla="*/ 670154 h 670154"/>
                  <a:gd name="connsiteX7" fmla="*/ 0 w 474348"/>
                  <a:gd name="connsiteY7" fmla="*/ 670154 h 670154"/>
                  <a:gd name="connsiteX8" fmla="*/ 0 w 474348"/>
                  <a:gd name="connsiteY8" fmla="*/ 670154 h 670154"/>
                  <a:gd name="connsiteX9" fmla="*/ 0 w 474348"/>
                  <a:gd name="connsiteY9" fmla="*/ 217539 h 670154"/>
                  <a:gd name="connsiteX10" fmla="*/ 174282 w 474348"/>
                  <a:gd name="connsiteY10" fmla="*/ 24619 h 670154"/>
                  <a:gd name="connsiteX0" fmla="*/ 148557 w 474348"/>
                  <a:gd name="connsiteY0" fmla="*/ 27264 h 670154"/>
                  <a:gd name="connsiteX1" fmla="*/ 216121 w 474348"/>
                  <a:gd name="connsiteY1" fmla="*/ 0 h 670154"/>
                  <a:gd name="connsiteX2" fmla="*/ 314250 w 474348"/>
                  <a:gd name="connsiteY2" fmla="*/ 25070 h 670154"/>
                  <a:gd name="connsiteX3" fmla="*/ 474348 w 474348"/>
                  <a:gd name="connsiteY3" fmla="*/ 217539 h 670154"/>
                  <a:gd name="connsiteX4" fmla="*/ 474348 w 474348"/>
                  <a:gd name="connsiteY4" fmla="*/ 670154 h 670154"/>
                  <a:gd name="connsiteX5" fmla="*/ 474348 w 474348"/>
                  <a:gd name="connsiteY5" fmla="*/ 670154 h 670154"/>
                  <a:gd name="connsiteX6" fmla="*/ 248129 w 474348"/>
                  <a:gd name="connsiteY6" fmla="*/ 670154 h 670154"/>
                  <a:gd name="connsiteX7" fmla="*/ 0 w 474348"/>
                  <a:gd name="connsiteY7" fmla="*/ 670154 h 670154"/>
                  <a:gd name="connsiteX8" fmla="*/ 0 w 474348"/>
                  <a:gd name="connsiteY8" fmla="*/ 670154 h 670154"/>
                  <a:gd name="connsiteX9" fmla="*/ 0 w 474348"/>
                  <a:gd name="connsiteY9" fmla="*/ 217539 h 670154"/>
                  <a:gd name="connsiteX10" fmla="*/ 148557 w 474348"/>
                  <a:gd name="connsiteY10" fmla="*/ 27264 h 670154"/>
                  <a:gd name="connsiteX0" fmla="*/ 148557 w 474348"/>
                  <a:gd name="connsiteY0" fmla="*/ 20950 h 663840"/>
                  <a:gd name="connsiteX1" fmla="*/ 214238 w 474348"/>
                  <a:gd name="connsiteY1" fmla="*/ 0 h 663840"/>
                  <a:gd name="connsiteX2" fmla="*/ 314250 w 474348"/>
                  <a:gd name="connsiteY2" fmla="*/ 18756 h 663840"/>
                  <a:gd name="connsiteX3" fmla="*/ 474348 w 474348"/>
                  <a:gd name="connsiteY3" fmla="*/ 211225 h 663840"/>
                  <a:gd name="connsiteX4" fmla="*/ 474348 w 474348"/>
                  <a:gd name="connsiteY4" fmla="*/ 663840 h 663840"/>
                  <a:gd name="connsiteX5" fmla="*/ 474348 w 474348"/>
                  <a:gd name="connsiteY5" fmla="*/ 663840 h 663840"/>
                  <a:gd name="connsiteX6" fmla="*/ 248129 w 474348"/>
                  <a:gd name="connsiteY6" fmla="*/ 663840 h 663840"/>
                  <a:gd name="connsiteX7" fmla="*/ 0 w 474348"/>
                  <a:gd name="connsiteY7" fmla="*/ 663840 h 663840"/>
                  <a:gd name="connsiteX8" fmla="*/ 0 w 474348"/>
                  <a:gd name="connsiteY8" fmla="*/ 663840 h 663840"/>
                  <a:gd name="connsiteX9" fmla="*/ 0 w 474348"/>
                  <a:gd name="connsiteY9" fmla="*/ 211225 h 663840"/>
                  <a:gd name="connsiteX10" fmla="*/ 148557 w 474348"/>
                  <a:gd name="connsiteY10" fmla="*/ 20950 h 663840"/>
                  <a:gd name="connsiteX0" fmla="*/ 148557 w 474348"/>
                  <a:gd name="connsiteY0" fmla="*/ 20950 h 663840"/>
                  <a:gd name="connsiteX1" fmla="*/ 214238 w 474348"/>
                  <a:gd name="connsiteY1" fmla="*/ 0 h 663840"/>
                  <a:gd name="connsiteX2" fmla="*/ 314250 w 474348"/>
                  <a:gd name="connsiteY2" fmla="*/ 18756 h 663840"/>
                  <a:gd name="connsiteX3" fmla="*/ 474348 w 474348"/>
                  <a:gd name="connsiteY3" fmla="*/ 211225 h 663840"/>
                  <a:gd name="connsiteX4" fmla="*/ 474348 w 474348"/>
                  <a:gd name="connsiteY4" fmla="*/ 663840 h 663840"/>
                  <a:gd name="connsiteX5" fmla="*/ 474348 w 474348"/>
                  <a:gd name="connsiteY5" fmla="*/ 663840 h 663840"/>
                  <a:gd name="connsiteX6" fmla="*/ 248129 w 474348"/>
                  <a:gd name="connsiteY6" fmla="*/ 663840 h 663840"/>
                  <a:gd name="connsiteX7" fmla="*/ 0 w 474348"/>
                  <a:gd name="connsiteY7" fmla="*/ 663840 h 663840"/>
                  <a:gd name="connsiteX8" fmla="*/ 0 w 474348"/>
                  <a:gd name="connsiteY8" fmla="*/ 663840 h 663840"/>
                  <a:gd name="connsiteX9" fmla="*/ 0 w 474348"/>
                  <a:gd name="connsiteY9" fmla="*/ 211225 h 663840"/>
                  <a:gd name="connsiteX10" fmla="*/ 148557 w 474348"/>
                  <a:gd name="connsiteY10" fmla="*/ 20950 h 663840"/>
                  <a:gd name="connsiteX0" fmla="*/ 148557 w 474348"/>
                  <a:gd name="connsiteY0" fmla="*/ 20950 h 663840"/>
                  <a:gd name="connsiteX1" fmla="*/ 214238 w 474348"/>
                  <a:gd name="connsiteY1" fmla="*/ 0 h 663840"/>
                  <a:gd name="connsiteX2" fmla="*/ 314250 w 474348"/>
                  <a:gd name="connsiteY2" fmla="*/ 18756 h 663840"/>
                  <a:gd name="connsiteX3" fmla="*/ 474348 w 474348"/>
                  <a:gd name="connsiteY3" fmla="*/ 211225 h 663840"/>
                  <a:gd name="connsiteX4" fmla="*/ 474348 w 474348"/>
                  <a:gd name="connsiteY4" fmla="*/ 663840 h 663840"/>
                  <a:gd name="connsiteX5" fmla="*/ 474348 w 474348"/>
                  <a:gd name="connsiteY5" fmla="*/ 663840 h 663840"/>
                  <a:gd name="connsiteX6" fmla="*/ 248129 w 474348"/>
                  <a:gd name="connsiteY6" fmla="*/ 663840 h 663840"/>
                  <a:gd name="connsiteX7" fmla="*/ 0 w 474348"/>
                  <a:gd name="connsiteY7" fmla="*/ 663840 h 663840"/>
                  <a:gd name="connsiteX8" fmla="*/ 0 w 474348"/>
                  <a:gd name="connsiteY8" fmla="*/ 663840 h 663840"/>
                  <a:gd name="connsiteX9" fmla="*/ 0 w 474348"/>
                  <a:gd name="connsiteY9" fmla="*/ 211225 h 663840"/>
                  <a:gd name="connsiteX10" fmla="*/ 148557 w 474348"/>
                  <a:gd name="connsiteY10" fmla="*/ 20950 h 663840"/>
                  <a:gd name="connsiteX0" fmla="*/ 144178 w 474348"/>
                  <a:gd name="connsiteY0" fmla="*/ 22667 h 663840"/>
                  <a:gd name="connsiteX1" fmla="*/ 214238 w 474348"/>
                  <a:gd name="connsiteY1" fmla="*/ 0 h 663840"/>
                  <a:gd name="connsiteX2" fmla="*/ 314250 w 474348"/>
                  <a:gd name="connsiteY2" fmla="*/ 18756 h 663840"/>
                  <a:gd name="connsiteX3" fmla="*/ 474348 w 474348"/>
                  <a:gd name="connsiteY3" fmla="*/ 211225 h 663840"/>
                  <a:gd name="connsiteX4" fmla="*/ 474348 w 474348"/>
                  <a:gd name="connsiteY4" fmla="*/ 663840 h 663840"/>
                  <a:gd name="connsiteX5" fmla="*/ 474348 w 474348"/>
                  <a:gd name="connsiteY5" fmla="*/ 663840 h 663840"/>
                  <a:gd name="connsiteX6" fmla="*/ 248129 w 474348"/>
                  <a:gd name="connsiteY6" fmla="*/ 663840 h 663840"/>
                  <a:gd name="connsiteX7" fmla="*/ 0 w 474348"/>
                  <a:gd name="connsiteY7" fmla="*/ 663840 h 663840"/>
                  <a:gd name="connsiteX8" fmla="*/ 0 w 474348"/>
                  <a:gd name="connsiteY8" fmla="*/ 663840 h 663840"/>
                  <a:gd name="connsiteX9" fmla="*/ 0 w 474348"/>
                  <a:gd name="connsiteY9" fmla="*/ 211225 h 663840"/>
                  <a:gd name="connsiteX10" fmla="*/ 144178 w 474348"/>
                  <a:gd name="connsiteY10" fmla="*/ 22667 h 663840"/>
                  <a:gd name="connsiteX0" fmla="*/ 144178 w 474348"/>
                  <a:gd name="connsiteY0" fmla="*/ 22667 h 663840"/>
                  <a:gd name="connsiteX1" fmla="*/ 214238 w 474348"/>
                  <a:gd name="connsiteY1" fmla="*/ 0 h 663840"/>
                  <a:gd name="connsiteX2" fmla="*/ 314250 w 474348"/>
                  <a:gd name="connsiteY2" fmla="*/ 18756 h 663840"/>
                  <a:gd name="connsiteX3" fmla="*/ 474348 w 474348"/>
                  <a:gd name="connsiteY3" fmla="*/ 211225 h 663840"/>
                  <a:gd name="connsiteX4" fmla="*/ 474348 w 474348"/>
                  <a:gd name="connsiteY4" fmla="*/ 663840 h 663840"/>
                  <a:gd name="connsiteX5" fmla="*/ 474348 w 474348"/>
                  <a:gd name="connsiteY5" fmla="*/ 663840 h 663840"/>
                  <a:gd name="connsiteX6" fmla="*/ 248129 w 474348"/>
                  <a:gd name="connsiteY6" fmla="*/ 663840 h 663840"/>
                  <a:gd name="connsiteX7" fmla="*/ 0 w 474348"/>
                  <a:gd name="connsiteY7" fmla="*/ 663840 h 663840"/>
                  <a:gd name="connsiteX8" fmla="*/ 0 w 474348"/>
                  <a:gd name="connsiteY8" fmla="*/ 663840 h 663840"/>
                  <a:gd name="connsiteX9" fmla="*/ 0 w 474348"/>
                  <a:gd name="connsiteY9" fmla="*/ 211225 h 663840"/>
                  <a:gd name="connsiteX10" fmla="*/ 144178 w 474348"/>
                  <a:gd name="connsiteY10" fmla="*/ 22667 h 663840"/>
                  <a:gd name="connsiteX0" fmla="*/ 144178 w 474348"/>
                  <a:gd name="connsiteY0" fmla="*/ 22667 h 663840"/>
                  <a:gd name="connsiteX1" fmla="*/ 214238 w 474348"/>
                  <a:gd name="connsiteY1" fmla="*/ 0 h 663840"/>
                  <a:gd name="connsiteX2" fmla="*/ 314250 w 474348"/>
                  <a:gd name="connsiteY2" fmla="*/ 18756 h 663840"/>
                  <a:gd name="connsiteX3" fmla="*/ 474348 w 474348"/>
                  <a:gd name="connsiteY3" fmla="*/ 211225 h 663840"/>
                  <a:gd name="connsiteX4" fmla="*/ 474348 w 474348"/>
                  <a:gd name="connsiteY4" fmla="*/ 663840 h 663840"/>
                  <a:gd name="connsiteX5" fmla="*/ 474348 w 474348"/>
                  <a:gd name="connsiteY5" fmla="*/ 663840 h 663840"/>
                  <a:gd name="connsiteX6" fmla="*/ 248129 w 474348"/>
                  <a:gd name="connsiteY6" fmla="*/ 663840 h 663840"/>
                  <a:gd name="connsiteX7" fmla="*/ 0 w 474348"/>
                  <a:gd name="connsiteY7" fmla="*/ 663840 h 663840"/>
                  <a:gd name="connsiteX8" fmla="*/ 0 w 474348"/>
                  <a:gd name="connsiteY8" fmla="*/ 663840 h 663840"/>
                  <a:gd name="connsiteX9" fmla="*/ 0 w 474348"/>
                  <a:gd name="connsiteY9" fmla="*/ 211225 h 663840"/>
                  <a:gd name="connsiteX10" fmla="*/ 144178 w 474348"/>
                  <a:gd name="connsiteY10" fmla="*/ 22667 h 663840"/>
                  <a:gd name="connsiteX0" fmla="*/ 144178 w 474348"/>
                  <a:gd name="connsiteY0" fmla="*/ 22667 h 663840"/>
                  <a:gd name="connsiteX1" fmla="*/ 214238 w 474348"/>
                  <a:gd name="connsiteY1" fmla="*/ 0 h 663840"/>
                  <a:gd name="connsiteX2" fmla="*/ 314250 w 474348"/>
                  <a:gd name="connsiteY2" fmla="*/ 18756 h 663840"/>
                  <a:gd name="connsiteX3" fmla="*/ 474348 w 474348"/>
                  <a:gd name="connsiteY3" fmla="*/ 211225 h 663840"/>
                  <a:gd name="connsiteX4" fmla="*/ 474348 w 474348"/>
                  <a:gd name="connsiteY4" fmla="*/ 663840 h 663840"/>
                  <a:gd name="connsiteX5" fmla="*/ 474348 w 474348"/>
                  <a:gd name="connsiteY5" fmla="*/ 663840 h 663840"/>
                  <a:gd name="connsiteX6" fmla="*/ 248129 w 474348"/>
                  <a:gd name="connsiteY6" fmla="*/ 663840 h 663840"/>
                  <a:gd name="connsiteX7" fmla="*/ 0 w 474348"/>
                  <a:gd name="connsiteY7" fmla="*/ 663840 h 663840"/>
                  <a:gd name="connsiteX8" fmla="*/ 0 w 474348"/>
                  <a:gd name="connsiteY8" fmla="*/ 663840 h 663840"/>
                  <a:gd name="connsiteX9" fmla="*/ 0 w 474348"/>
                  <a:gd name="connsiteY9" fmla="*/ 211225 h 663840"/>
                  <a:gd name="connsiteX10" fmla="*/ 144178 w 474348"/>
                  <a:gd name="connsiteY10" fmla="*/ 22667 h 6638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74348" h="663840">
                    <a:moveTo>
                      <a:pt x="144178" y="22667"/>
                    </a:moveTo>
                    <a:cubicBezTo>
                      <a:pt x="211732" y="-970"/>
                      <a:pt x="181869" y="7990"/>
                      <a:pt x="214238" y="0"/>
                    </a:cubicBezTo>
                    <a:cubicBezTo>
                      <a:pt x="259321" y="7224"/>
                      <a:pt x="221757" y="369"/>
                      <a:pt x="314250" y="18756"/>
                    </a:cubicBezTo>
                    <a:cubicBezTo>
                      <a:pt x="399877" y="51074"/>
                      <a:pt x="474348" y="104798"/>
                      <a:pt x="474348" y="211225"/>
                    </a:cubicBezTo>
                    <a:lnTo>
                      <a:pt x="474348" y="663840"/>
                    </a:lnTo>
                    <a:lnTo>
                      <a:pt x="474348" y="663840"/>
                    </a:lnTo>
                    <a:lnTo>
                      <a:pt x="248129" y="663840"/>
                    </a:lnTo>
                    <a:lnTo>
                      <a:pt x="0" y="663840"/>
                    </a:lnTo>
                    <a:lnTo>
                      <a:pt x="0" y="663840"/>
                    </a:lnTo>
                    <a:lnTo>
                      <a:pt x="0" y="211225"/>
                    </a:lnTo>
                    <a:cubicBezTo>
                      <a:pt x="0" y="104798"/>
                      <a:pt x="80700" y="56026"/>
                      <a:pt x="144178" y="22667"/>
                    </a:cubicBezTo>
                    <a:close/>
                  </a:path>
                </a:pathLst>
              </a:cu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58" name="Round Same Side Corner Rectangle 11"/>
              <p:cNvSpPr/>
              <p:nvPr/>
            </p:nvSpPr>
            <p:spPr>
              <a:xfrm rot="16200000">
                <a:off x="6912899" y="2339184"/>
                <a:ext cx="101418" cy="1051827"/>
              </a:xfrm>
              <a:custGeom>
                <a:avLst/>
                <a:gdLst>
                  <a:gd name="connsiteX0" fmla="*/ 192704 w 474348"/>
                  <a:gd name="connsiteY0" fmla="*/ 0 h 645319"/>
                  <a:gd name="connsiteX1" fmla="*/ 281644 w 474348"/>
                  <a:gd name="connsiteY1" fmla="*/ 0 h 645319"/>
                  <a:gd name="connsiteX2" fmla="*/ 474348 w 474348"/>
                  <a:gd name="connsiteY2" fmla="*/ 192704 h 645319"/>
                  <a:gd name="connsiteX3" fmla="*/ 474348 w 474348"/>
                  <a:gd name="connsiteY3" fmla="*/ 645319 h 645319"/>
                  <a:gd name="connsiteX4" fmla="*/ 474348 w 474348"/>
                  <a:gd name="connsiteY4" fmla="*/ 645319 h 645319"/>
                  <a:gd name="connsiteX5" fmla="*/ 0 w 474348"/>
                  <a:gd name="connsiteY5" fmla="*/ 645319 h 645319"/>
                  <a:gd name="connsiteX6" fmla="*/ 0 w 474348"/>
                  <a:gd name="connsiteY6" fmla="*/ 645319 h 645319"/>
                  <a:gd name="connsiteX7" fmla="*/ 0 w 474348"/>
                  <a:gd name="connsiteY7" fmla="*/ 192704 h 645319"/>
                  <a:gd name="connsiteX8" fmla="*/ 192704 w 474348"/>
                  <a:gd name="connsiteY8" fmla="*/ 0 h 645319"/>
                  <a:gd name="connsiteX0" fmla="*/ 192704 w 474348"/>
                  <a:gd name="connsiteY0" fmla="*/ 0 h 645319"/>
                  <a:gd name="connsiteX1" fmla="*/ 281644 w 474348"/>
                  <a:gd name="connsiteY1" fmla="*/ 0 h 645319"/>
                  <a:gd name="connsiteX2" fmla="*/ 474348 w 474348"/>
                  <a:gd name="connsiteY2" fmla="*/ 192704 h 645319"/>
                  <a:gd name="connsiteX3" fmla="*/ 474348 w 474348"/>
                  <a:gd name="connsiteY3" fmla="*/ 645319 h 645319"/>
                  <a:gd name="connsiteX4" fmla="*/ 474348 w 474348"/>
                  <a:gd name="connsiteY4" fmla="*/ 645319 h 645319"/>
                  <a:gd name="connsiteX5" fmla="*/ 248129 w 474348"/>
                  <a:gd name="connsiteY5" fmla="*/ 645319 h 645319"/>
                  <a:gd name="connsiteX6" fmla="*/ 0 w 474348"/>
                  <a:gd name="connsiteY6" fmla="*/ 645319 h 645319"/>
                  <a:gd name="connsiteX7" fmla="*/ 0 w 474348"/>
                  <a:gd name="connsiteY7" fmla="*/ 645319 h 645319"/>
                  <a:gd name="connsiteX8" fmla="*/ 0 w 474348"/>
                  <a:gd name="connsiteY8" fmla="*/ 192704 h 645319"/>
                  <a:gd name="connsiteX9" fmla="*/ 192704 w 474348"/>
                  <a:gd name="connsiteY9" fmla="*/ 0 h 645319"/>
                  <a:gd name="connsiteX0" fmla="*/ 192704 w 474348"/>
                  <a:gd name="connsiteY0" fmla="*/ 2381 h 647700"/>
                  <a:gd name="connsiteX1" fmla="*/ 240986 w 474348"/>
                  <a:gd name="connsiteY1" fmla="*/ 0 h 647700"/>
                  <a:gd name="connsiteX2" fmla="*/ 281644 w 474348"/>
                  <a:gd name="connsiteY2" fmla="*/ 2381 h 647700"/>
                  <a:gd name="connsiteX3" fmla="*/ 474348 w 474348"/>
                  <a:gd name="connsiteY3" fmla="*/ 195085 h 647700"/>
                  <a:gd name="connsiteX4" fmla="*/ 474348 w 474348"/>
                  <a:gd name="connsiteY4" fmla="*/ 647700 h 647700"/>
                  <a:gd name="connsiteX5" fmla="*/ 474348 w 474348"/>
                  <a:gd name="connsiteY5" fmla="*/ 647700 h 647700"/>
                  <a:gd name="connsiteX6" fmla="*/ 248129 w 474348"/>
                  <a:gd name="connsiteY6" fmla="*/ 647700 h 647700"/>
                  <a:gd name="connsiteX7" fmla="*/ 0 w 474348"/>
                  <a:gd name="connsiteY7" fmla="*/ 647700 h 647700"/>
                  <a:gd name="connsiteX8" fmla="*/ 0 w 474348"/>
                  <a:gd name="connsiteY8" fmla="*/ 647700 h 647700"/>
                  <a:gd name="connsiteX9" fmla="*/ 0 w 474348"/>
                  <a:gd name="connsiteY9" fmla="*/ 195085 h 647700"/>
                  <a:gd name="connsiteX10" fmla="*/ 192704 w 474348"/>
                  <a:gd name="connsiteY10" fmla="*/ 2381 h 647700"/>
                  <a:gd name="connsiteX0" fmla="*/ 192704 w 474348"/>
                  <a:gd name="connsiteY0" fmla="*/ 42862 h 688181"/>
                  <a:gd name="connsiteX1" fmla="*/ 240986 w 474348"/>
                  <a:gd name="connsiteY1" fmla="*/ 0 h 688181"/>
                  <a:gd name="connsiteX2" fmla="*/ 281644 w 474348"/>
                  <a:gd name="connsiteY2" fmla="*/ 42862 h 688181"/>
                  <a:gd name="connsiteX3" fmla="*/ 474348 w 474348"/>
                  <a:gd name="connsiteY3" fmla="*/ 235566 h 688181"/>
                  <a:gd name="connsiteX4" fmla="*/ 474348 w 474348"/>
                  <a:gd name="connsiteY4" fmla="*/ 688181 h 688181"/>
                  <a:gd name="connsiteX5" fmla="*/ 474348 w 474348"/>
                  <a:gd name="connsiteY5" fmla="*/ 688181 h 688181"/>
                  <a:gd name="connsiteX6" fmla="*/ 248129 w 474348"/>
                  <a:gd name="connsiteY6" fmla="*/ 688181 h 688181"/>
                  <a:gd name="connsiteX7" fmla="*/ 0 w 474348"/>
                  <a:gd name="connsiteY7" fmla="*/ 688181 h 688181"/>
                  <a:gd name="connsiteX8" fmla="*/ 0 w 474348"/>
                  <a:gd name="connsiteY8" fmla="*/ 688181 h 688181"/>
                  <a:gd name="connsiteX9" fmla="*/ 0 w 474348"/>
                  <a:gd name="connsiteY9" fmla="*/ 235566 h 688181"/>
                  <a:gd name="connsiteX10" fmla="*/ 192704 w 474348"/>
                  <a:gd name="connsiteY10" fmla="*/ 42862 h 688181"/>
                  <a:gd name="connsiteX0" fmla="*/ 192704 w 474348"/>
                  <a:gd name="connsiteY0" fmla="*/ 23812 h 669131"/>
                  <a:gd name="connsiteX1" fmla="*/ 265690 w 474348"/>
                  <a:gd name="connsiteY1" fmla="*/ 0 h 669131"/>
                  <a:gd name="connsiteX2" fmla="*/ 281644 w 474348"/>
                  <a:gd name="connsiteY2" fmla="*/ 23812 h 669131"/>
                  <a:gd name="connsiteX3" fmla="*/ 474348 w 474348"/>
                  <a:gd name="connsiteY3" fmla="*/ 216516 h 669131"/>
                  <a:gd name="connsiteX4" fmla="*/ 474348 w 474348"/>
                  <a:gd name="connsiteY4" fmla="*/ 669131 h 669131"/>
                  <a:gd name="connsiteX5" fmla="*/ 474348 w 474348"/>
                  <a:gd name="connsiteY5" fmla="*/ 669131 h 669131"/>
                  <a:gd name="connsiteX6" fmla="*/ 248129 w 474348"/>
                  <a:gd name="connsiteY6" fmla="*/ 669131 h 669131"/>
                  <a:gd name="connsiteX7" fmla="*/ 0 w 474348"/>
                  <a:gd name="connsiteY7" fmla="*/ 669131 h 669131"/>
                  <a:gd name="connsiteX8" fmla="*/ 0 w 474348"/>
                  <a:gd name="connsiteY8" fmla="*/ 669131 h 669131"/>
                  <a:gd name="connsiteX9" fmla="*/ 0 w 474348"/>
                  <a:gd name="connsiteY9" fmla="*/ 216516 h 669131"/>
                  <a:gd name="connsiteX10" fmla="*/ 192704 w 474348"/>
                  <a:gd name="connsiteY10" fmla="*/ 23812 h 669131"/>
                  <a:gd name="connsiteX0" fmla="*/ 192704 w 474348"/>
                  <a:gd name="connsiteY0" fmla="*/ 23812 h 669131"/>
                  <a:gd name="connsiteX1" fmla="*/ 265690 w 474348"/>
                  <a:gd name="connsiteY1" fmla="*/ 0 h 669131"/>
                  <a:gd name="connsiteX2" fmla="*/ 281644 w 474348"/>
                  <a:gd name="connsiteY2" fmla="*/ 23812 h 669131"/>
                  <a:gd name="connsiteX3" fmla="*/ 474348 w 474348"/>
                  <a:gd name="connsiteY3" fmla="*/ 216516 h 669131"/>
                  <a:gd name="connsiteX4" fmla="*/ 474348 w 474348"/>
                  <a:gd name="connsiteY4" fmla="*/ 669131 h 669131"/>
                  <a:gd name="connsiteX5" fmla="*/ 474348 w 474348"/>
                  <a:gd name="connsiteY5" fmla="*/ 669131 h 669131"/>
                  <a:gd name="connsiteX6" fmla="*/ 248129 w 474348"/>
                  <a:gd name="connsiteY6" fmla="*/ 669131 h 669131"/>
                  <a:gd name="connsiteX7" fmla="*/ 0 w 474348"/>
                  <a:gd name="connsiteY7" fmla="*/ 669131 h 669131"/>
                  <a:gd name="connsiteX8" fmla="*/ 0 w 474348"/>
                  <a:gd name="connsiteY8" fmla="*/ 669131 h 669131"/>
                  <a:gd name="connsiteX9" fmla="*/ 0 w 474348"/>
                  <a:gd name="connsiteY9" fmla="*/ 216516 h 669131"/>
                  <a:gd name="connsiteX10" fmla="*/ 192704 w 474348"/>
                  <a:gd name="connsiteY10" fmla="*/ 23812 h 669131"/>
                  <a:gd name="connsiteX0" fmla="*/ 192704 w 474348"/>
                  <a:gd name="connsiteY0" fmla="*/ 23812 h 669131"/>
                  <a:gd name="connsiteX1" fmla="*/ 265690 w 474348"/>
                  <a:gd name="connsiteY1" fmla="*/ 0 h 669131"/>
                  <a:gd name="connsiteX2" fmla="*/ 281644 w 474348"/>
                  <a:gd name="connsiteY2" fmla="*/ 23812 h 669131"/>
                  <a:gd name="connsiteX3" fmla="*/ 474348 w 474348"/>
                  <a:gd name="connsiteY3" fmla="*/ 216516 h 669131"/>
                  <a:gd name="connsiteX4" fmla="*/ 474348 w 474348"/>
                  <a:gd name="connsiteY4" fmla="*/ 669131 h 669131"/>
                  <a:gd name="connsiteX5" fmla="*/ 474348 w 474348"/>
                  <a:gd name="connsiteY5" fmla="*/ 669131 h 669131"/>
                  <a:gd name="connsiteX6" fmla="*/ 248129 w 474348"/>
                  <a:gd name="connsiteY6" fmla="*/ 669131 h 669131"/>
                  <a:gd name="connsiteX7" fmla="*/ 0 w 474348"/>
                  <a:gd name="connsiteY7" fmla="*/ 669131 h 669131"/>
                  <a:gd name="connsiteX8" fmla="*/ 0 w 474348"/>
                  <a:gd name="connsiteY8" fmla="*/ 669131 h 669131"/>
                  <a:gd name="connsiteX9" fmla="*/ 0 w 474348"/>
                  <a:gd name="connsiteY9" fmla="*/ 216516 h 669131"/>
                  <a:gd name="connsiteX10" fmla="*/ 192704 w 474348"/>
                  <a:gd name="connsiteY10" fmla="*/ 23812 h 669131"/>
                  <a:gd name="connsiteX0" fmla="*/ 192704 w 474348"/>
                  <a:gd name="connsiteY0" fmla="*/ 23812 h 669131"/>
                  <a:gd name="connsiteX1" fmla="*/ 265690 w 474348"/>
                  <a:gd name="connsiteY1" fmla="*/ 0 h 669131"/>
                  <a:gd name="connsiteX2" fmla="*/ 314250 w 474348"/>
                  <a:gd name="connsiteY2" fmla="*/ 24047 h 669131"/>
                  <a:gd name="connsiteX3" fmla="*/ 474348 w 474348"/>
                  <a:gd name="connsiteY3" fmla="*/ 216516 h 669131"/>
                  <a:gd name="connsiteX4" fmla="*/ 474348 w 474348"/>
                  <a:gd name="connsiteY4" fmla="*/ 669131 h 669131"/>
                  <a:gd name="connsiteX5" fmla="*/ 474348 w 474348"/>
                  <a:gd name="connsiteY5" fmla="*/ 669131 h 669131"/>
                  <a:gd name="connsiteX6" fmla="*/ 248129 w 474348"/>
                  <a:gd name="connsiteY6" fmla="*/ 669131 h 669131"/>
                  <a:gd name="connsiteX7" fmla="*/ 0 w 474348"/>
                  <a:gd name="connsiteY7" fmla="*/ 669131 h 669131"/>
                  <a:gd name="connsiteX8" fmla="*/ 0 w 474348"/>
                  <a:gd name="connsiteY8" fmla="*/ 669131 h 669131"/>
                  <a:gd name="connsiteX9" fmla="*/ 0 w 474348"/>
                  <a:gd name="connsiteY9" fmla="*/ 216516 h 669131"/>
                  <a:gd name="connsiteX10" fmla="*/ 192704 w 474348"/>
                  <a:gd name="connsiteY10" fmla="*/ 23812 h 669131"/>
                  <a:gd name="connsiteX0" fmla="*/ 192704 w 474348"/>
                  <a:gd name="connsiteY0" fmla="*/ 23812 h 669131"/>
                  <a:gd name="connsiteX1" fmla="*/ 265690 w 474348"/>
                  <a:gd name="connsiteY1" fmla="*/ 0 h 669131"/>
                  <a:gd name="connsiteX2" fmla="*/ 314250 w 474348"/>
                  <a:gd name="connsiteY2" fmla="*/ 24047 h 669131"/>
                  <a:gd name="connsiteX3" fmla="*/ 474348 w 474348"/>
                  <a:gd name="connsiteY3" fmla="*/ 216516 h 669131"/>
                  <a:gd name="connsiteX4" fmla="*/ 474348 w 474348"/>
                  <a:gd name="connsiteY4" fmla="*/ 669131 h 669131"/>
                  <a:gd name="connsiteX5" fmla="*/ 474348 w 474348"/>
                  <a:gd name="connsiteY5" fmla="*/ 669131 h 669131"/>
                  <a:gd name="connsiteX6" fmla="*/ 248129 w 474348"/>
                  <a:gd name="connsiteY6" fmla="*/ 669131 h 669131"/>
                  <a:gd name="connsiteX7" fmla="*/ 0 w 474348"/>
                  <a:gd name="connsiteY7" fmla="*/ 669131 h 669131"/>
                  <a:gd name="connsiteX8" fmla="*/ 0 w 474348"/>
                  <a:gd name="connsiteY8" fmla="*/ 669131 h 669131"/>
                  <a:gd name="connsiteX9" fmla="*/ 0 w 474348"/>
                  <a:gd name="connsiteY9" fmla="*/ 216516 h 669131"/>
                  <a:gd name="connsiteX10" fmla="*/ 192704 w 474348"/>
                  <a:gd name="connsiteY10" fmla="*/ 23812 h 669131"/>
                  <a:gd name="connsiteX0" fmla="*/ 192704 w 474348"/>
                  <a:gd name="connsiteY0" fmla="*/ 23812 h 669131"/>
                  <a:gd name="connsiteX1" fmla="*/ 265690 w 474348"/>
                  <a:gd name="connsiteY1" fmla="*/ 0 h 669131"/>
                  <a:gd name="connsiteX2" fmla="*/ 314250 w 474348"/>
                  <a:gd name="connsiteY2" fmla="*/ 24047 h 669131"/>
                  <a:gd name="connsiteX3" fmla="*/ 474348 w 474348"/>
                  <a:gd name="connsiteY3" fmla="*/ 216516 h 669131"/>
                  <a:gd name="connsiteX4" fmla="*/ 474348 w 474348"/>
                  <a:gd name="connsiteY4" fmla="*/ 669131 h 669131"/>
                  <a:gd name="connsiteX5" fmla="*/ 474348 w 474348"/>
                  <a:gd name="connsiteY5" fmla="*/ 669131 h 669131"/>
                  <a:gd name="connsiteX6" fmla="*/ 248129 w 474348"/>
                  <a:gd name="connsiteY6" fmla="*/ 669131 h 669131"/>
                  <a:gd name="connsiteX7" fmla="*/ 0 w 474348"/>
                  <a:gd name="connsiteY7" fmla="*/ 669131 h 669131"/>
                  <a:gd name="connsiteX8" fmla="*/ 0 w 474348"/>
                  <a:gd name="connsiteY8" fmla="*/ 669131 h 669131"/>
                  <a:gd name="connsiteX9" fmla="*/ 0 w 474348"/>
                  <a:gd name="connsiteY9" fmla="*/ 216516 h 669131"/>
                  <a:gd name="connsiteX10" fmla="*/ 192704 w 474348"/>
                  <a:gd name="connsiteY10" fmla="*/ 23812 h 669131"/>
                  <a:gd name="connsiteX0" fmla="*/ 174282 w 474348"/>
                  <a:gd name="connsiteY0" fmla="*/ 23596 h 669131"/>
                  <a:gd name="connsiteX1" fmla="*/ 265690 w 474348"/>
                  <a:gd name="connsiteY1" fmla="*/ 0 h 669131"/>
                  <a:gd name="connsiteX2" fmla="*/ 314250 w 474348"/>
                  <a:gd name="connsiteY2" fmla="*/ 24047 h 669131"/>
                  <a:gd name="connsiteX3" fmla="*/ 474348 w 474348"/>
                  <a:gd name="connsiteY3" fmla="*/ 216516 h 669131"/>
                  <a:gd name="connsiteX4" fmla="*/ 474348 w 474348"/>
                  <a:gd name="connsiteY4" fmla="*/ 669131 h 669131"/>
                  <a:gd name="connsiteX5" fmla="*/ 474348 w 474348"/>
                  <a:gd name="connsiteY5" fmla="*/ 669131 h 669131"/>
                  <a:gd name="connsiteX6" fmla="*/ 248129 w 474348"/>
                  <a:gd name="connsiteY6" fmla="*/ 669131 h 669131"/>
                  <a:gd name="connsiteX7" fmla="*/ 0 w 474348"/>
                  <a:gd name="connsiteY7" fmla="*/ 669131 h 669131"/>
                  <a:gd name="connsiteX8" fmla="*/ 0 w 474348"/>
                  <a:gd name="connsiteY8" fmla="*/ 669131 h 669131"/>
                  <a:gd name="connsiteX9" fmla="*/ 0 w 474348"/>
                  <a:gd name="connsiteY9" fmla="*/ 216516 h 669131"/>
                  <a:gd name="connsiteX10" fmla="*/ 174282 w 474348"/>
                  <a:gd name="connsiteY10" fmla="*/ 23596 h 669131"/>
                  <a:gd name="connsiteX0" fmla="*/ 174282 w 474348"/>
                  <a:gd name="connsiteY0" fmla="*/ 24619 h 670154"/>
                  <a:gd name="connsiteX1" fmla="*/ 216121 w 474348"/>
                  <a:gd name="connsiteY1" fmla="*/ 0 h 670154"/>
                  <a:gd name="connsiteX2" fmla="*/ 314250 w 474348"/>
                  <a:gd name="connsiteY2" fmla="*/ 25070 h 670154"/>
                  <a:gd name="connsiteX3" fmla="*/ 474348 w 474348"/>
                  <a:gd name="connsiteY3" fmla="*/ 217539 h 670154"/>
                  <a:gd name="connsiteX4" fmla="*/ 474348 w 474348"/>
                  <a:gd name="connsiteY4" fmla="*/ 670154 h 670154"/>
                  <a:gd name="connsiteX5" fmla="*/ 474348 w 474348"/>
                  <a:gd name="connsiteY5" fmla="*/ 670154 h 670154"/>
                  <a:gd name="connsiteX6" fmla="*/ 248129 w 474348"/>
                  <a:gd name="connsiteY6" fmla="*/ 670154 h 670154"/>
                  <a:gd name="connsiteX7" fmla="*/ 0 w 474348"/>
                  <a:gd name="connsiteY7" fmla="*/ 670154 h 670154"/>
                  <a:gd name="connsiteX8" fmla="*/ 0 w 474348"/>
                  <a:gd name="connsiteY8" fmla="*/ 670154 h 670154"/>
                  <a:gd name="connsiteX9" fmla="*/ 0 w 474348"/>
                  <a:gd name="connsiteY9" fmla="*/ 217539 h 670154"/>
                  <a:gd name="connsiteX10" fmla="*/ 174282 w 474348"/>
                  <a:gd name="connsiteY10" fmla="*/ 24619 h 670154"/>
                  <a:gd name="connsiteX0" fmla="*/ 174282 w 474348"/>
                  <a:gd name="connsiteY0" fmla="*/ 24619 h 670154"/>
                  <a:gd name="connsiteX1" fmla="*/ 216121 w 474348"/>
                  <a:gd name="connsiteY1" fmla="*/ 0 h 670154"/>
                  <a:gd name="connsiteX2" fmla="*/ 314250 w 474348"/>
                  <a:gd name="connsiteY2" fmla="*/ 25070 h 670154"/>
                  <a:gd name="connsiteX3" fmla="*/ 474348 w 474348"/>
                  <a:gd name="connsiteY3" fmla="*/ 217539 h 670154"/>
                  <a:gd name="connsiteX4" fmla="*/ 474348 w 474348"/>
                  <a:gd name="connsiteY4" fmla="*/ 670154 h 670154"/>
                  <a:gd name="connsiteX5" fmla="*/ 474348 w 474348"/>
                  <a:gd name="connsiteY5" fmla="*/ 670154 h 670154"/>
                  <a:gd name="connsiteX6" fmla="*/ 248129 w 474348"/>
                  <a:gd name="connsiteY6" fmla="*/ 670154 h 670154"/>
                  <a:gd name="connsiteX7" fmla="*/ 0 w 474348"/>
                  <a:gd name="connsiteY7" fmla="*/ 670154 h 670154"/>
                  <a:gd name="connsiteX8" fmla="*/ 0 w 474348"/>
                  <a:gd name="connsiteY8" fmla="*/ 670154 h 670154"/>
                  <a:gd name="connsiteX9" fmla="*/ 0 w 474348"/>
                  <a:gd name="connsiteY9" fmla="*/ 217539 h 670154"/>
                  <a:gd name="connsiteX10" fmla="*/ 174282 w 474348"/>
                  <a:gd name="connsiteY10" fmla="*/ 24619 h 670154"/>
                  <a:gd name="connsiteX0" fmla="*/ 174282 w 474348"/>
                  <a:gd name="connsiteY0" fmla="*/ 24619 h 670154"/>
                  <a:gd name="connsiteX1" fmla="*/ 216121 w 474348"/>
                  <a:gd name="connsiteY1" fmla="*/ 0 h 670154"/>
                  <a:gd name="connsiteX2" fmla="*/ 314250 w 474348"/>
                  <a:gd name="connsiteY2" fmla="*/ 25070 h 670154"/>
                  <a:gd name="connsiteX3" fmla="*/ 474348 w 474348"/>
                  <a:gd name="connsiteY3" fmla="*/ 217539 h 670154"/>
                  <a:gd name="connsiteX4" fmla="*/ 474348 w 474348"/>
                  <a:gd name="connsiteY4" fmla="*/ 670154 h 670154"/>
                  <a:gd name="connsiteX5" fmla="*/ 474348 w 474348"/>
                  <a:gd name="connsiteY5" fmla="*/ 670154 h 670154"/>
                  <a:gd name="connsiteX6" fmla="*/ 248129 w 474348"/>
                  <a:gd name="connsiteY6" fmla="*/ 670154 h 670154"/>
                  <a:gd name="connsiteX7" fmla="*/ 0 w 474348"/>
                  <a:gd name="connsiteY7" fmla="*/ 670154 h 670154"/>
                  <a:gd name="connsiteX8" fmla="*/ 0 w 474348"/>
                  <a:gd name="connsiteY8" fmla="*/ 670154 h 670154"/>
                  <a:gd name="connsiteX9" fmla="*/ 0 w 474348"/>
                  <a:gd name="connsiteY9" fmla="*/ 217539 h 670154"/>
                  <a:gd name="connsiteX10" fmla="*/ 174282 w 474348"/>
                  <a:gd name="connsiteY10" fmla="*/ 24619 h 670154"/>
                  <a:gd name="connsiteX0" fmla="*/ 174282 w 474348"/>
                  <a:gd name="connsiteY0" fmla="*/ 24619 h 670154"/>
                  <a:gd name="connsiteX1" fmla="*/ 216121 w 474348"/>
                  <a:gd name="connsiteY1" fmla="*/ 0 h 670154"/>
                  <a:gd name="connsiteX2" fmla="*/ 314250 w 474348"/>
                  <a:gd name="connsiteY2" fmla="*/ 25070 h 670154"/>
                  <a:gd name="connsiteX3" fmla="*/ 474348 w 474348"/>
                  <a:gd name="connsiteY3" fmla="*/ 217539 h 670154"/>
                  <a:gd name="connsiteX4" fmla="*/ 474348 w 474348"/>
                  <a:gd name="connsiteY4" fmla="*/ 670154 h 670154"/>
                  <a:gd name="connsiteX5" fmla="*/ 474348 w 474348"/>
                  <a:gd name="connsiteY5" fmla="*/ 670154 h 670154"/>
                  <a:gd name="connsiteX6" fmla="*/ 248129 w 474348"/>
                  <a:gd name="connsiteY6" fmla="*/ 670154 h 670154"/>
                  <a:gd name="connsiteX7" fmla="*/ 0 w 474348"/>
                  <a:gd name="connsiteY7" fmla="*/ 670154 h 670154"/>
                  <a:gd name="connsiteX8" fmla="*/ 0 w 474348"/>
                  <a:gd name="connsiteY8" fmla="*/ 670154 h 670154"/>
                  <a:gd name="connsiteX9" fmla="*/ 0 w 474348"/>
                  <a:gd name="connsiteY9" fmla="*/ 217539 h 670154"/>
                  <a:gd name="connsiteX10" fmla="*/ 174282 w 474348"/>
                  <a:gd name="connsiteY10" fmla="*/ 24619 h 670154"/>
                  <a:gd name="connsiteX0" fmla="*/ 148557 w 474348"/>
                  <a:gd name="connsiteY0" fmla="*/ 27264 h 670154"/>
                  <a:gd name="connsiteX1" fmla="*/ 216121 w 474348"/>
                  <a:gd name="connsiteY1" fmla="*/ 0 h 670154"/>
                  <a:gd name="connsiteX2" fmla="*/ 314250 w 474348"/>
                  <a:gd name="connsiteY2" fmla="*/ 25070 h 670154"/>
                  <a:gd name="connsiteX3" fmla="*/ 474348 w 474348"/>
                  <a:gd name="connsiteY3" fmla="*/ 217539 h 670154"/>
                  <a:gd name="connsiteX4" fmla="*/ 474348 w 474348"/>
                  <a:gd name="connsiteY4" fmla="*/ 670154 h 670154"/>
                  <a:gd name="connsiteX5" fmla="*/ 474348 w 474348"/>
                  <a:gd name="connsiteY5" fmla="*/ 670154 h 670154"/>
                  <a:gd name="connsiteX6" fmla="*/ 248129 w 474348"/>
                  <a:gd name="connsiteY6" fmla="*/ 670154 h 670154"/>
                  <a:gd name="connsiteX7" fmla="*/ 0 w 474348"/>
                  <a:gd name="connsiteY7" fmla="*/ 670154 h 670154"/>
                  <a:gd name="connsiteX8" fmla="*/ 0 w 474348"/>
                  <a:gd name="connsiteY8" fmla="*/ 670154 h 670154"/>
                  <a:gd name="connsiteX9" fmla="*/ 0 w 474348"/>
                  <a:gd name="connsiteY9" fmla="*/ 217539 h 670154"/>
                  <a:gd name="connsiteX10" fmla="*/ 148557 w 474348"/>
                  <a:gd name="connsiteY10" fmla="*/ 27264 h 670154"/>
                  <a:gd name="connsiteX0" fmla="*/ 148557 w 474348"/>
                  <a:gd name="connsiteY0" fmla="*/ 20950 h 663840"/>
                  <a:gd name="connsiteX1" fmla="*/ 214238 w 474348"/>
                  <a:gd name="connsiteY1" fmla="*/ 0 h 663840"/>
                  <a:gd name="connsiteX2" fmla="*/ 314250 w 474348"/>
                  <a:gd name="connsiteY2" fmla="*/ 18756 h 663840"/>
                  <a:gd name="connsiteX3" fmla="*/ 474348 w 474348"/>
                  <a:gd name="connsiteY3" fmla="*/ 211225 h 663840"/>
                  <a:gd name="connsiteX4" fmla="*/ 474348 w 474348"/>
                  <a:gd name="connsiteY4" fmla="*/ 663840 h 663840"/>
                  <a:gd name="connsiteX5" fmla="*/ 474348 w 474348"/>
                  <a:gd name="connsiteY5" fmla="*/ 663840 h 663840"/>
                  <a:gd name="connsiteX6" fmla="*/ 248129 w 474348"/>
                  <a:gd name="connsiteY6" fmla="*/ 663840 h 663840"/>
                  <a:gd name="connsiteX7" fmla="*/ 0 w 474348"/>
                  <a:gd name="connsiteY7" fmla="*/ 663840 h 663840"/>
                  <a:gd name="connsiteX8" fmla="*/ 0 w 474348"/>
                  <a:gd name="connsiteY8" fmla="*/ 663840 h 663840"/>
                  <a:gd name="connsiteX9" fmla="*/ 0 w 474348"/>
                  <a:gd name="connsiteY9" fmla="*/ 211225 h 663840"/>
                  <a:gd name="connsiteX10" fmla="*/ 148557 w 474348"/>
                  <a:gd name="connsiteY10" fmla="*/ 20950 h 663840"/>
                  <a:gd name="connsiteX0" fmla="*/ 148557 w 474348"/>
                  <a:gd name="connsiteY0" fmla="*/ 20950 h 663840"/>
                  <a:gd name="connsiteX1" fmla="*/ 214238 w 474348"/>
                  <a:gd name="connsiteY1" fmla="*/ 0 h 663840"/>
                  <a:gd name="connsiteX2" fmla="*/ 314250 w 474348"/>
                  <a:gd name="connsiteY2" fmla="*/ 18756 h 663840"/>
                  <a:gd name="connsiteX3" fmla="*/ 474348 w 474348"/>
                  <a:gd name="connsiteY3" fmla="*/ 211225 h 663840"/>
                  <a:gd name="connsiteX4" fmla="*/ 474348 w 474348"/>
                  <a:gd name="connsiteY4" fmla="*/ 663840 h 663840"/>
                  <a:gd name="connsiteX5" fmla="*/ 474348 w 474348"/>
                  <a:gd name="connsiteY5" fmla="*/ 663840 h 663840"/>
                  <a:gd name="connsiteX6" fmla="*/ 248129 w 474348"/>
                  <a:gd name="connsiteY6" fmla="*/ 663840 h 663840"/>
                  <a:gd name="connsiteX7" fmla="*/ 0 w 474348"/>
                  <a:gd name="connsiteY7" fmla="*/ 663840 h 663840"/>
                  <a:gd name="connsiteX8" fmla="*/ 0 w 474348"/>
                  <a:gd name="connsiteY8" fmla="*/ 663840 h 663840"/>
                  <a:gd name="connsiteX9" fmla="*/ 0 w 474348"/>
                  <a:gd name="connsiteY9" fmla="*/ 211225 h 663840"/>
                  <a:gd name="connsiteX10" fmla="*/ 148557 w 474348"/>
                  <a:gd name="connsiteY10" fmla="*/ 20950 h 663840"/>
                  <a:gd name="connsiteX0" fmla="*/ 148557 w 474348"/>
                  <a:gd name="connsiteY0" fmla="*/ 20950 h 663840"/>
                  <a:gd name="connsiteX1" fmla="*/ 214238 w 474348"/>
                  <a:gd name="connsiteY1" fmla="*/ 0 h 663840"/>
                  <a:gd name="connsiteX2" fmla="*/ 314250 w 474348"/>
                  <a:gd name="connsiteY2" fmla="*/ 18756 h 663840"/>
                  <a:gd name="connsiteX3" fmla="*/ 474348 w 474348"/>
                  <a:gd name="connsiteY3" fmla="*/ 211225 h 663840"/>
                  <a:gd name="connsiteX4" fmla="*/ 474348 w 474348"/>
                  <a:gd name="connsiteY4" fmla="*/ 663840 h 663840"/>
                  <a:gd name="connsiteX5" fmla="*/ 474348 w 474348"/>
                  <a:gd name="connsiteY5" fmla="*/ 663840 h 663840"/>
                  <a:gd name="connsiteX6" fmla="*/ 248129 w 474348"/>
                  <a:gd name="connsiteY6" fmla="*/ 663840 h 663840"/>
                  <a:gd name="connsiteX7" fmla="*/ 0 w 474348"/>
                  <a:gd name="connsiteY7" fmla="*/ 663840 h 663840"/>
                  <a:gd name="connsiteX8" fmla="*/ 0 w 474348"/>
                  <a:gd name="connsiteY8" fmla="*/ 663840 h 663840"/>
                  <a:gd name="connsiteX9" fmla="*/ 0 w 474348"/>
                  <a:gd name="connsiteY9" fmla="*/ 211225 h 663840"/>
                  <a:gd name="connsiteX10" fmla="*/ 148557 w 474348"/>
                  <a:gd name="connsiteY10" fmla="*/ 20950 h 663840"/>
                  <a:gd name="connsiteX0" fmla="*/ 144178 w 474348"/>
                  <a:gd name="connsiteY0" fmla="*/ 22667 h 663840"/>
                  <a:gd name="connsiteX1" fmla="*/ 214238 w 474348"/>
                  <a:gd name="connsiteY1" fmla="*/ 0 h 663840"/>
                  <a:gd name="connsiteX2" fmla="*/ 314250 w 474348"/>
                  <a:gd name="connsiteY2" fmla="*/ 18756 h 663840"/>
                  <a:gd name="connsiteX3" fmla="*/ 474348 w 474348"/>
                  <a:gd name="connsiteY3" fmla="*/ 211225 h 663840"/>
                  <a:gd name="connsiteX4" fmla="*/ 474348 w 474348"/>
                  <a:gd name="connsiteY4" fmla="*/ 663840 h 663840"/>
                  <a:gd name="connsiteX5" fmla="*/ 474348 w 474348"/>
                  <a:gd name="connsiteY5" fmla="*/ 663840 h 663840"/>
                  <a:gd name="connsiteX6" fmla="*/ 248129 w 474348"/>
                  <a:gd name="connsiteY6" fmla="*/ 663840 h 663840"/>
                  <a:gd name="connsiteX7" fmla="*/ 0 w 474348"/>
                  <a:gd name="connsiteY7" fmla="*/ 663840 h 663840"/>
                  <a:gd name="connsiteX8" fmla="*/ 0 w 474348"/>
                  <a:gd name="connsiteY8" fmla="*/ 663840 h 663840"/>
                  <a:gd name="connsiteX9" fmla="*/ 0 w 474348"/>
                  <a:gd name="connsiteY9" fmla="*/ 211225 h 663840"/>
                  <a:gd name="connsiteX10" fmla="*/ 144178 w 474348"/>
                  <a:gd name="connsiteY10" fmla="*/ 22667 h 663840"/>
                  <a:gd name="connsiteX0" fmla="*/ 144178 w 474348"/>
                  <a:gd name="connsiteY0" fmla="*/ 22667 h 663840"/>
                  <a:gd name="connsiteX1" fmla="*/ 214238 w 474348"/>
                  <a:gd name="connsiteY1" fmla="*/ 0 h 663840"/>
                  <a:gd name="connsiteX2" fmla="*/ 314250 w 474348"/>
                  <a:gd name="connsiteY2" fmla="*/ 18756 h 663840"/>
                  <a:gd name="connsiteX3" fmla="*/ 474348 w 474348"/>
                  <a:gd name="connsiteY3" fmla="*/ 211225 h 663840"/>
                  <a:gd name="connsiteX4" fmla="*/ 474348 w 474348"/>
                  <a:gd name="connsiteY4" fmla="*/ 663840 h 663840"/>
                  <a:gd name="connsiteX5" fmla="*/ 474348 w 474348"/>
                  <a:gd name="connsiteY5" fmla="*/ 663840 h 663840"/>
                  <a:gd name="connsiteX6" fmla="*/ 248129 w 474348"/>
                  <a:gd name="connsiteY6" fmla="*/ 663840 h 663840"/>
                  <a:gd name="connsiteX7" fmla="*/ 0 w 474348"/>
                  <a:gd name="connsiteY7" fmla="*/ 663840 h 663840"/>
                  <a:gd name="connsiteX8" fmla="*/ 0 w 474348"/>
                  <a:gd name="connsiteY8" fmla="*/ 663840 h 663840"/>
                  <a:gd name="connsiteX9" fmla="*/ 0 w 474348"/>
                  <a:gd name="connsiteY9" fmla="*/ 211225 h 663840"/>
                  <a:gd name="connsiteX10" fmla="*/ 144178 w 474348"/>
                  <a:gd name="connsiteY10" fmla="*/ 22667 h 663840"/>
                  <a:gd name="connsiteX0" fmla="*/ 144178 w 474348"/>
                  <a:gd name="connsiteY0" fmla="*/ 22667 h 663840"/>
                  <a:gd name="connsiteX1" fmla="*/ 214238 w 474348"/>
                  <a:gd name="connsiteY1" fmla="*/ 0 h 663840"/>
                  <a:gd name="connsiteX2" fmla="*/ 314250 w 474348"/>
                  <a:gd name="connsiteY2" fmla="*/ 18756 h 663840"/>
                  <a:gd name="connsiteX3" fmla="*/ 474348 w 474348"/>
                  <a:gd name="connsiteY3" fmla="*/ 211225 h 663840"/>
                  <a:gd name="connsiteX4" fmla="*/ 474348 w 474348"/>
                  <a:gd name="connsiteY4" fmla="*/ 663840 h 663840"/>
                  <a:gd name="connsiteX5" fmla="*/ 474348 w 474348"/>
                  <a:gd name="connsiteY5" fmla="*/ 663840 h 663840"/>
                  <a:gd name="connsiteX6" fmla="*/ 248129 w 474348"/>
                  <a:gd name="connsiteY6" fmla="*/ 663840 h 663840"/>
                  <a:gd name="connsiteX7" fmla="*/ 0 w 474348"/>
                  <a:gd name="connsiteY7" fmla="*/ 663840 h 663840"/>
                  <a:gd name="connsiteX8" fmla="*/ 0 w 474348"/>
                  <a:gd name="connsiteY8" fmla="*/ 663840 h 663840"/>
                  <a:gd name="connsiteX9" fmla="*/ 0 w 474348"/>
                  <a:gd name="connsiteY9" fmla="*/ 211225 h 663840"/>
                  <a:gd name="connsiteX10" fmla="*/ 144178 w 474348"/>
                  <a:gd name="connsiteY10" fmla="*/ 22667 h 663840"/>
                  <a:gd name="connsiteX0" fmla="*/ 144178 w 474348"/>
                  <a:gd name="connsiteY0" fmla="*/ 22667 h 663840"/>
                  <a:gd name="connsiteX1" fmla="*/ 214238 w 474348"/>
                  <a:gd name="connsiteY1" fmla="*/ 0 h 663840"/>
                  <a:gd name="connsiteX2" fmla="*/ 314250 w 474348"/>
                  <a:gd name="connsiteY2" fmla="*/ 18756 h 663840"/>
                  <a:gd name="connsiteX3" fmla="*/ 474348 w 474348"/>
                  <a:gd name="connsiteY3" fmla="*/ 211225 h 663840"/>
                  <a:gd name="connsiteX4" fmla="*/ 474348 w 474348"/>
                  <a:gd name="connsiteY4" fmla="*/ 663840 h 663840"/>
                  <a:gd name="connsiteX5" fmla="*/ 474348 w 474348"/>
                  <a:gd name="connsiteY5" fmla="*/ 663840 h 663840"/>
                  <a:gd name="connsiteX6" fmla="*/ 248129 w 474348"/>
                  <a:gd name="connsiteY6" fmla="*/ 663840 h 663840"/>
                  <a:gd name="connsiteX7" fmla="*/ 0 w 474348"/>
                  <a:gd name="connsiteY7" fmla="*/ 663840 h 663840"/>
                  <a:gd name="connsiteX8" fmla="*/ 0 w 474348"/>
                  <a:gd name="connsiteY8" fmla="*/ 663840 h 663840"/>
                  <a:gd name="connsiteX9" fmla="*/ 0 w 474348"/>
                  <a:gd name="connsiteY9" fmla="*/ 211225 h 663840"/>
                  <a:gd name="connsiteX10" fmla="*/ 144178 w 474348"/>
                  <a:gd name="connsiteY10" fmla="*/ 22667 h 6638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74348" h="663840">
                    <a:moveTo>
                      <a:pt x="144178" y="22667"/>
                    </a:moveTo>
                    <a:cubicBezTo>
                      <a:pt x="211732" y="-970"/>
                      <a:pt x="181869" y="7990"/>
                      <a:pt x="214238" y="0"/>
                    </a:cubicBezTo>
                    <a:cubicBezTo>
                      <a:pt x="259321" y="7224"/>
                      <a:pt x="221757" y="369"/>
                      <a:pt x="314250" y="18756"/>
                    </a:cubicBezTo>
                    <a:cubicBezTo>
                      <a:pt x="399877" y="51074"/>
                      <a:pt x="474348" y="104798"/>
                      <a:pt x="474348" y="211225"/>
                    </a:cubicBezTo>
                    <a:lnTo>
                      <a:pt x="474348" y="663840"/>
                    </a:lnTo>
                    <a:lnTo>
                      <a:pt x="474348" y="663840"/>
                    </a:lnTo>
                    <a:lnTo>
                      <a:pt x="248129" y="663840"/>
                    </a:lnTo>
                    <a:lnTo>
                      <a:pt x="0" y="663840"/>
                    </a:lnTo>
                    <a:lnTo>
                      <a:pt x="0" y="663840"/>
                    </a:lnTo>
                    <a:lnTo>
                      <a:pt x="0" y="211225"/>
                    </a:lnTo>
                    <a:cubicBezTo>
                      <a:pt x="0" y="104798"/>
                      <a:pt x="80700" y="56026"/>
                      <a:pt x="144178" y="22667"/>
                    </a:cubicBezTo>
                    <a:close/>
                  </a:path>
                </a:pathLst>
              </a:cu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grpSp>
        <p:grpSp>
          <p:nvGrpSpPr>
            <p:cNvPr id="151" name="Group 150"/>
            <p:cNvGrpSpPr/>
            <p:nvPr/>
          </p:nvGrpSpPr>
          <p:grpSpPr>
            <a:xfrm rot="8100000">
              <a:off x="6430508" y="2814389"/>
              <a:ext cx="2108839" cy="101418"/>
              <a:chOff x="6437694" y="2814389"/>
              <a:chExt cx="2108839" cy="101418"/>
            </a:xfrm>
          </p:grpSpPr>
          <p:sp>
            <p:nvSpPr>
              <p:cNvPr id="155" name="Round Same Side Corner Rectangle 11"/>
              <p:cNvSpPr/>
              <p:nvPr/>
            </p:nvSpPr>
            <p:spPr>
              <a:xfrm rot="5400000" flipH="1">
                <a:off x="7969911" y="2339184"/>
                <a:ext cx="101418" cy="1051827"/>
              </a:xfrm>
              <a:custGeom>
                <a:avLst/>
                <a:gdLst>
                  <a:gd name="connsiteX0" fmla="*/ 192704 w 474348"/>
                  <a:gd name="connsiteY0" fmla="*/ 0 h 645319"/>
                  <a:gd name="connsiteX1" fmla="*/ 281644 w 474348"/>
                  <a:gd name="connsiteY1" fmla="*/ 0 h 645319"/>
                  <a:gd name="connsiteX2" fmla="*/ 474348 w 474348"/>
                  <a:gd name="connsiteY2" fmla="*/ 192704 h 645319"/>
                  <a:gd name="connsiteX3" fmla="*/ 474348 w 474348"/>
                  <a:gd name="connsiteY3" fmla="*/ 645319 h 645319"/>
                  <a:gd name="connsiteX4" fmla="*/ 474348 w 474348"/>
                  <a:gd name="connsiteY4" fmla="*/ 645319 h 645319"/>
                  <a:gd name="connsiteX5" fmla="*/ 0 w 474348"/>
                  <a:gd name="connsiteY5" fmla="*/ 645319 h 645319"/>
                  <a:gd name="connsiteX6" fmla="*/ 0 w 474348"/>
                  <a:gd name="connsiteY6" fmla="*/ 645319 h 645319"/>
                  <a:gd name="connsiteX7" fmla="*/ 0 w 474348"/>
                  <a:gd name="connsiteY7" fmla="*/ 192704 h 645319"/>
                  <a:gd name="connsiteX8" fmla="*/ 192704 w 474348"/>
                  <a:gd name="connsiteY8" fmla="*/ 0 h 645319"/>
                  <a:gd name="connsiteX0" fmla="*/ 192704 w 474348"/>
                  <a:gd name="connsiteY0" fmla="*/ 0 h 645319"/>
                  <a:gd name="connsiteX1" fmla="*/ 281644 w 474348"/>
                  <a:gd name="connsiteY1" fmla="*/ 0 h 645319"/>
                  <a:gd name="connsiteX2" fmla="*/ 474348 w 474348"/>
                  <a:gd name="connsiteY2" fmla="*/ 192704 h 645319"/>
                  <a:gd name="connsiteX3" fmla="*/ 474348 w 474348"/>
                  <a:gd name="connsiteY3" fmla="*/ 645319 h 645319"/>
                  <a:gd name="connsiteX4" fmla="*/ 474348 w 474348"/>
                  <a:gd name="connsiteY4" fmla="*/ 645319 h 645319"/>
                  <a:gd name="connsiteX5" fmla="*/ 248129 w 474348"/>
                  <a:gd name="connsiteY5" fmla="*/ 645319 h 645319"/>
                  <a:gd name="connsiteX6" fmla="*/ 0 w 474348"/>
                  <a:gd name="connsiteY6" fmla="*/ 645319 h 645319"/>
                  <a:gd name="connsiteX7" fmla="*/ 0 w 474348"/>
                  <a:gd name="connsiteY7" fmla="*/ 645319 h 645319"/>
                  <a:gd name="connsiteX8" fmla="*/ 0 w 474348"/>
                  <a:gd name="connsiteY8" fmla="*/ 192704 h 645319"/>
                  <a:gd name="connsiteX9" fmla="*/ 192704 w 474348"/>
                  <a:gd name="connsiteY9" fmla="*/ 0 h 645319"/>
                  <a:gd name="connsiteX0" fmla="*/ 192704 w 474348"/>
                  <a:gd name="connsiteY0" fmla="*/ 2381 h 647700"/>
                  <a:gd name="connsiteX1" fmla="*/ 240986 w 474348"/>
                  <a:gd name="connsiteY1" fmla="*/ 0 h 647700"/>
                  <a:gd name="connsiteX2" fmla="*/ 281644 w 474348"/>
                  <a:gd name="connsiteY2" fmla="*/ 2381 h 647700"/>
                  <a:gd name="connsiteX3" fmla="*/ 474348 w 474348"/>
                  <a:gd name="connsiteY3" fmla="*/ 195085 h 647700"/>
                  <a:gd name="connsiteX4" fmla="*/ 474348 w 474348"/>
                  <a:gd name="connsiteY4" fmla="*/ 647700 h 647700"/>
                  <a:gd name="connsiteX5" fmla="*/ 474348 w 474348"/>
                  <a:gd name="connsiteY5" fmla="*/ 647700 h 647700"/>
                  <a:gd name="connsiteX6" fmla="*/ 248129 w 474348"/>
                  <a:gd name="connsiteY6" fmla="*/ 647700 h 647700"/>
                  <a:gd name="connsiteX7" fmla="*/ 0 w 474348"/>
                  <a:gd name="connsiteY7" fmla="*/ 647700 h 647700"/>
                  <a:gd name="connsiteX8" fmla="*/ 0 w 474348"/>
                  <a:gd name="connsiteY8" fmla="*/ 647700 h 647700"/>
                  <a:gd name="connsiteX9" fmla="*/ 0 w 474348"/>
                  <a:gd name="connsiteY9" fmla="*/ 195085 h 647700"/>
                  <a:gd name="connsiteX10" fmla="*/ 192704 w 474348"/>
                  <a:gd name="connsiteY10" fmla="*/ 2381 h 647700"/>
                  <a:gd name="connsiteX0" fmla="*/ 192704 w 474348"/>
                  <a:gd name="connsiteY0" fmla="*/ 42862 h 688181"/>
                  <a:gd name="connsiteX1" fmla="*/ 240986 w 474348"/>
                  <a:gd name="connsiteY1" fmla="*/ 0 h 688181"/>
                  <a:gd name="connsiteX2" fmla="*/ 281644 w 474348"/>
                  <a:gd name="connsiteY2" fmla="*/ 42862 h 688181"/>
                  <a:gd name="connsiteX3" fmla="*/ 474348 w 474348"/>
                  <a:gd name="connsiteY3" fmla="*/ 235566 h 688181"/>
                  <a:gd name="connsiteX4" fmla="*/ 474348 w 474348"/>
                  <a:gd name="connsiteY4" fmla="*/ 688181 h 688181"/>
                  <a:gd name="connsiteX5" fmla="*/ 474348 w 474348"/>
                  <a:gd name="connsiteY5" fmla="*/ 688181 h 688181"/>
                  <a:gd name="connsiteX6" fmla="*/ 248129 w 474348"/>
                  <a:gd name="connsiteY6" fmla="*/ 688181 h 688181"/>
                  <a:gd name="connsiteX7" fmla="*/ 0 w 474348"/>
                  <a:gd name="connsiteY7" fmla="*/ 688181 h 688181"/>
                  <a:gd name="connsiteX8" fmla="*/ 0 w 474348"/>
                  <a:gd name="connsiteY8" fmla="*/ 688181 h 688181"/>
                  <a:gd name="connsiteX9" fmla="*/ 0 w 474348"/>
                  <a:gd name="connsiteY9" fmla="*/ 235566 h 688181"/>
                  <a:gd name="connsiteX10" fmla="*/ 192704 w 474348"/>
                  <a:gd name="connsiteY10" fmla="*/ 42862 h 688181"/>
                  <a:gd name="connsiteX0" fmla="*/ 192704 w 474348"/>
                  <a:gd name="connsiteY0" fmla="*/ 23812 h 669131"/>
                  <a:gd name="connsiteX1" fmla="*/ 265690 w 474348"/>
                  <a:gd name="connsiteY1" fmla="*/ 0 h 669131"/>
                  <a:gd name="connsiteX2" fmla="*/ 281644 w 474348"/>
                  <a:gd name="connsiteY2" fmla="*/ 23812 h 669131"/>
                  <a:gd name="connsiteX3" fmla="*/ 474348 w 474348"/>
                  <a:gd name="connsiteY3" fmla="*/ 216516 h 669131"/>
                  <a:gd name="connsiteX4" fmla="*/ 474348 w 474348"/>
                  <a:gd name="connsiteY4" fmla="*/ 669131 h 669131"/>
                  <a:gd name="connsiteX5" fmla="*/ 474348 w 474348"/>
                  <a:gd name="connsiteY5" fmla="*/ 669131 h 669131"/>
                  <a:gd name="connsiteX6" fmla="*/ 248129 w 474348"/>
                  <a:gd name="connsiteY6" fmla="*/ 669131 h 669131"/>
                  <a:gd name="connsiteX7" fmla="*/ 0 w 474348"/>
                  <a:gd name="connsiteY7" fmla="*/ 669131 h 669131"/>
                  <a:gd name="connsiteX8" fmla="*/ 0 w 474348"/>
                  <a:gd name="connsiteY8" fmla="*/ 669131 h 669131"/>
                  <a:gd name="connsiteX9" fmla="*/ 0 w 474348"/>
                  <a:gd name="connsiteY9" fmla="*/ 216516 h 669131"/>
                  <a:gd name="connsiteX10" fmla="*/ 192704 w 474348"/>
                  <a:gd name="connsiteY10" fmla="*/ 23812 h 669131"/>
                  <a:gd name="connsiteX0" fmla="*/ 192704 w 474348"/>
                  <a:gd name="connsiteY0" fmla="*/ 23812 h 669131"/>
                  <a:gd name="connsiteX1" fmla="*/ 265690 w 474348"/>
                  <a:gd name="connsiteY1" fmla="*/ 0 h 669131"/>
                  <a:gd name="connsiteX2" fmla="*/ 281644 w 474348"/>
                  <a:gd name="connsiteY2" fmla="*/ 23812 h 669131"/>
                  <a:gd name="connsiteX3" fmla="*/ 474348 w 474348"/>
                  <a:gd name="connsiteY3" fmla="*/ 216516 h 669131"/>
                  <a:gd name="connsiteX4" fmla="*/ 474348 w 474348"/>
                  <a:gd name="connsiteY4" fmla="*/ 669131 h 669131"/>
                  <a:gd name="connsiteX5" fmla="*/ 474348 w 474348"/>
                  <a:gd name="connsiteY5" fmla="*/ 669131 h 669131"/>
                  <a:gd name="connsiteX6" fmla="*/ 248129 w 474348"/>
                  <a:gd name="connsiteY6" fmla="*/ 669131 h 669131"/>
                  <a:gd name="connsiteX7" fmla="*/ 0 w 474348"/>
                  <a:gd name="connsiteY7" fmla="*/ 669131 h 669131"/>
                  <a:gd name="connsiteX8" fmla="*/ 0 w 474348"/>
                  <a:gd name="connsiteY8" fmla="*/ 669131 h 669131"/>
                  <a:gd name="connsiteX9" fmla="*/ 0 w 474348"/>
                  <a:gd name="connsiteY9" fmla="*/ 216516 h 669131"/>
                  <a:gd name="connsiteX10" fmla="*/ 192704 w 474348"/>
                  <a:gd name="connsiteY10" fmla="*/ 23812 h 669131"/>
                  <a:gd name="connsiteX0" fmla="*/ 192704 w 474348"/>
                  <a:gd name="connsiteY0" fmla="*/ 23812 h 669131"/>
                  <a:gd name="connsiteX1" fmla="*/ 265690 w 474348"/>
                  <a:gd name="connsiteY1" fmla="*/ 0 h 669131"/>
                  <a:gd name="connsiteX2" fmla="*/ 281644 w 474348"/>
                  <a:gd name="connsiteY2" fmla="*/ 23812 h 669131"/>
                  <a:gd name="connsiteX3" fmla="*/ 474348 w 474348"/>
                  <a:gd name="connsiteY3" fmla="*/ 216516 h 669131"/>
                  <a:gd name="connsiteX4" fmla="*/ 474348 w 474348"/>
                  <a:gd name="connsiteY4" fmla="*/ 669131 h 669131"/>
                  <a:gd name="connsiteX5" fmla="*/ 474348 w 474348"/>
                  <a:gd name="connsiteY5" fmla="*/ 669131 h 669131"/>
                  <a:gd name="connsiteX6" fmla="*/ 248129 w 474348"/>
                  <a:gd name="connsiteY6" fmla="*/ 669131 h 669131"/>
                  <a:gd name="connsiteX7" fmla="*/ 0 w 474348"/>
                  <a:gd name="connsiteY7" fmla="*/ 669131 h 669131"/>
                  <a:gd name="connsiteX8" fmla="*/ 0 w 474348"/>
                  <a:gd name="connsiteY8" fmla="*/ 669131 h 669131"/>
                  <a:gd name="connsiteX9" fmla="*/ 0 w 474348"/>
                  <a:gd name="connsiteY9" fmla="*/ 216516 h 669131"/>
                  <a:gd name="connsiteX10" fmla="*/ 192704 w 474348"/>
                  <a:gd name="connsiteY10" fmla="*/ 23812 h 669131"/>
                  <a:gd name="connsiteX0" fmla="*/ 192704 w 474348"/>
                  <a:gd name="connsiteY0" fmla="*/ 23812 h 669131"/>
                  <a:gd name="connsiteX1" fmla="*/ 265690 w 474348"/>
                  <a:gd name="connsiteY1" fmla="*/ 0 h 669131"/>
                  <a:gd name="connsiteX2" fmla="*/ 314250 w 474348"/>
                  <a:gd name="connsiteY2" fmla="*/ 24047 h 669131"/>
                  <a:gd name="connsiteX3" fmla="*/ 474348 w 474348"/>
                  <a:gd name="connsiteY3" fmla="*/ 216516 h 669131"/>
                  <a:gd name="connsiteX4" fmla="*/ 474348 w 474348"/>
                  <a:gd name="connsiteY4" fmla="*/ 669131 h 669131"/>
                  <a:gd name="connsiteX5" fmla="*/ 474348 w 474348"/>
                  <a:gd name="connsiteY5" fmla="*/ 669131 h 669131"/>
                  <a:gd name="connsiteX6" fmla="*/ 248129 w 474348"/>
                  <a:gd name="connsiteY6" fmla="*/ 669131 h 669131"/>
                  <a:gd name="connsiteX7" fmla="*/ 0 w 474348"/>
                  <a:gd name="connsiteY7" fmla="*/ 669131 h 669131"/>
                  <a:gd name="connsiteX8" fmla="*/ 0 w 474348"/>
                  <a:gd name="connsiteY8" fmla="*/ 669131 h 669131"/>
                  <a:gd name="connsiteX9" fmla="*/ 0 w 474348"/>
                  <a:gd name="connsiteY9" fmla="*/ 216516 h 669131"/>
                  <a:gd name="connsiteX10" fmla="*/ 192704 w 474348"/>
                  <a:gd name="connsiteY10" fmla="*/ 23812 h 669131"/>
                  <a:gd name="connsiteX0" fmla="*/ 192704 w 474348"/>
                  <a:gd name="connsiteY0" fmla="*/ 23812 h 669131"/>
                  <a:gd name="connsiteX1" fmla="*/ 265690 w 474348"/>
                  <a:gd name="connsiteY1" fmla="*/ 0 h 669131"/>
                  <a:gd name="connsiteX2" fmla="*/ 314250 w 474348"/>
                  <a:gd name="connsiteY2" fmla="*/ 24047 h 669131"/>
                  <a:gd name="connsiteX3" fmla="*/ 474348 w 474348"/>
                  <a:gd name="connsiteY3" fmla="*/ 216516 h 669131"/>
                  <a:gd name="connsiteX4" fmla="*/ 474348 w 474348"/>
                  <a:gd name="connsiteY4" fmla="*/ 669131 h 669131"/>
                  <a:gd name="connsiteX5" fmla="*/ 474348 w 474348"/>
                  <a:gd name="connsiteY5" fmla="*/ 669131 h 669131"/>
                  <a:gd name="connsiteX6" fmla="*/ 248129 w 474348"/>
                  <a:gd name="connsiteY6" fmla="*/ 669131 h 669131"/>
                  <a:gd name="connsiteX7" fmla="*/ 0 w 474348"/>
                  <a:gd name="connsiteY7" fmla="*/ 669131 h 669131"/>
                  <a:gd name="connsiteX8" fmla="*/ 0 w 474348"/>
                  <a:gd name="connsiteY8" fmla="*/ 669131 h 669131"/>
                  <a:gd name="connsiteX9" fmla="*/ 0 w 474348"/>
                  <a:gd name="connsiteY9" fmla="*/ 216516 h 669131"/>
                  <a:gd name="connsiteX10" fmla="*/ 192704 w 474348"/>
                  <a:gd name="connsiteY10" fmla="*/ 23812 h 669131"/>
                  <a:gd name="connsiteX0" fmla="*/ 192704 w 474348"/>
                  <a:gd name="connsiteY0" fmla="*/ 23812 h 669131"/>
                  <a:gd name="connsiteX1" fmla="*/ 265690 w 474348"/>
                  <a:gd name="connsiteY1" fmla="*/ 0 h 669131"/>
                  <a:gd name="connsiteX2" fmla="*/ 314250 w 474348"/>
                  <a:gd name="connsiteY2" fmla="*/ 24047 h 669131"/>
                  <a:gd name="connsiteX3" fmla="*/ 474348 w 474348"/>
                  <a:gd name="connsiteY3" fmla="*/ 216516 h 669131"/>
                  <a:gd name="connsiteX4" fmla="*/ 474348 w 474348"/>
                  <a:gd name="connsiteY4" fmla="*/ 669131 h 669131"/>
                  <a:gd name="connsiteX5" fmla="*/ 474348 w 474348"/>
                  <a:gd name="connsiteY5" fmla="*/ 669131 h 669131"/>
                  <a:gd name="connsiteX6" fmla="*/ 248129 w 474348"/>
                  <a:gd name="connsiteY6" fmla="*/ 669131 h 669131"/>
                  <a:gd name="connsiteX7" fmla="*/ 0 w 474348"/>
                  <a:gd name="connsiteY7" fmla="*/ 669131 h 669131"/>
                  <a:gd name="connsiteX8" fmla="*/ 0 w 474348"/>
                  <a:gd name="connsiteY8" fmla="*/ 669131 h 669131"/>
                  <a:gd name="connsiteX9" fmla="*/ 0 w 474348"/>
                  <a:gd name="connsiteY9" fmla="*/ 216516 h 669131"/>
                  <a:gd name="connsiteX10" fmla="*/ 192704 w 474348"/>
                  <a:gd name="connsiteY10" fmla="*/ 23812 h 669131"/>
                  <a:gd name="connsiteX0" fmla="*/ 174282 w 474348"/>
                  <a:gd name="connsiteY0" fmla="*/ 23596 h 669131"/>
                  <a:gd name="connsiteX1" fmla="*/ 265690 w 474348"/>
                  <a:gd name="connsiteY1" fmla="*/ 0 h 669131"/>
                  <a:gd name="connsiteX2" fmla="*/ 314250 w 474348"/>
                  <a:gd name="connsiteY2" fmla="*/ 24047 h 669131"/>
                  <a:gd name="connsiteX3" fmla="*/ 474348 w 474348"/>
                  <a:gd name="connsiteY3" fmla="*/ 216516 h 669131"/>
                  <a:gd name="connsiteX4" fmla="*/ 474348 w 474348"/>
                  <a:gd name="connsiteY4" fmla="*/ 669131 h 669131"/>
                  <a:gd name="connsiteX5" fmla="*/ 474348 w 474348"/>
                  <a:gd name="connsiteY5" fmla="*/ 669131 h 669131"/>
                  <a:gd name="connsiteX6" fmla="*/ 248129 w 474348"/>
                  <a:gd name="connsiteY6" fmla="*/ 669131 h 669131"/>
                  <a:gd name="connsiteX7" fmla="*/ 0 w 474348"/>
                  <a:gd name="connsiteY7" fmla="*/ 669131 h 669131"/>
                  <a:gd name="connsiteX8" fmla="*/ 0 w 474348"/>
                  <a:gd name="connsiteY8" fmla="*/ 669131 h 669131"/>
                  <a:gd name="connsiteX9" fmla="*/ 0 w 474348"/>
                  <a:gd name="connsiteY9" fmla="*/ 216516 h 669131"/>
                  <a:gd name="connsiteX10" fmla="*/ 174282 w 474348"/>
                  <a:gd name="connsiteY10" fmla="*/ 23596 h 669131"/>
                  <a:gd name="connsiteX0" fmla="*/ 174282 w 474348"/>
                  <a:gd name="connsiteY0" fmla="*/ 24619 h 670154"/>
                  <a:gd name="connsiteX1" fmla="*/ 216121 w 474348"/>
                  <a:gd name="connsiteY1" fmla="*/ 0 h 670154"/>
                  <a:gd name="connsiteX2" fmla="*/ 314250 w 474348"/>
                  <a:gd name="connsiteY2" fmla="*/ 25070 h 670154"/>
                  <a:gd name="connsiteX3" fmla="*/ 474348 w 474348"/>
                  <a:gd name="connsiteY3" fmla="*/ 217539 h 670154"/>
                  <a:gd name="connsiteX4" fmla="*/ 474348 w 474348"/>
                  <a:gd name="connsiteY4" fmla="*/ 670154 h 670154"/>
                  <a:gd name="connsiteX5" fmla="*/ 474348 w 474348"/>
                  <a:gd name="connsiteY5" fmla="*/ 670154 h 670154"/>
                  <a:gd name="connsiteX6" fmla="*/ 248129 w 474348"/>
                  <a:gd name="connsiteY6" fmla="*/ 670154 h 670154"/>
                  <a:gd name="connsiteX7" fmla="*/ 0 w 474348"/>
                  <a:gd name="connsiteY7" fmla="*/ 670154 h 670154"/>
                  <a:gd name="connsiteX8" fmla="*/ 0 w 474348"/>
                  <a:gd name="connsiteY8" fmla="*/ 670154 h 670154"/>
                  <a:gd name="connsiteX9" fmla="*/ 0 w 474348"/>
                  <a:gd name="connsiteY9" fmla="*/ 217539 h 670154"/>
                  <a:gd name="connsiteX10" fmla="*/ 174282 w 474348"/>
                  <a:gd name="connsiteY10" fmla="*/ 24619 h 670154"/>
                  <a:gd name="connsiteX0" fmla="*/ 174282 w 474348"/>
                  <a:gd name="connsiteY0" fmla="*/ 24619 h 670154"/>
                  <a:gd name="connsiteX1" fmla="*/ 216121 w 474348"/>
                  <a:gd name="connsiteY1" fmla="*/ 0 h 670154"/>
                  <a:gd name="connsiteX2" fmla="*/ 314250 w 474348"/>
                  <a:gd name="connsiteY2" fmla="*/ 25070 h 670154"/>
                  <a:gd name="connsiteX3" fmla="*/ 474348 w 474348"/>
                  <a:gd name="connsiteY3" fmla="*/ 217539 h 670154"/>
                  <a:gd name="connsiteX4" fmla="*/ 474348 w 474348"/>
                  <a:gd name="connsiteY4" fmla="*/ 670154 h 670154"/>
                  <a:gd name="connsiteX5" fmla="*/ 474348 w 474348"/>
                  <a:gd name="connsiteY5" fmla="*/ 670154 h 670154"/>
                  <a:gd name="connsiteX6" fmla="*/ 248129 w 474348"/>
                  <a:gd name="connsiteY6" fmla="*/ 670154 h 670154"/>
                  <a:gd name="connsiteX7" fmla="*/ 0 w 474348"/>
                  <a:gd name="connsiteY7" fmla="*/ 670154 h 670154"/>
                  <a:gd name="connsiteX8" fmla="*/ 0 w 474348"/>
                  <a:gd name="connsiteY8" fmla="*/ 670154 h 670154"/>
                  <a:gd name="connsiteX9" fmla="*/ 0 w 474348"/>
                  <a:gd name="connsiteY9" fmla="*/ 217539 h 670154"/>
                  <a:gd name="connsiteX10" fmla="*/ 174282 w 474348"/>
                  <a:gd name="connsiteY10" fmla="*/ 24619 h 670154"/>
                  <a:gd name="connsiteX0" fmla="*/ 174282 w 474348"/>
                  <a:gd name="connsiteY0" fmla="*/ 24619 h 670154"/>
                  <a:gd name="connsiteX1" fmla="*/ 216121 w 474348"/>
                  <a:gd name="connsiteY1" fmla="*/ 0 h 670154"/>
                  <a:gd name="connsiteX2" fmla="*/ 314250 w 474348"/>
                  <a:gd name="connsiteY2" fmla="*/ 25070 h 670154"/>
                  <a:gd name="connsiteX3" fmla="*/ 474348 w 474348"/>
                  <a:gd name="connsiteY3" fmla="*/ 217539 h 670154"/>
                  <a:gd name="connsiteX4" fmla="*/ 474348 w 474348"/>
                  <a:gd name="connsiteY4" fmla="*/ 670154 h 670154"/>
                  <a:gd name="connsiteX5" fmla="*/ 474348 w 474348"/>
                  <a:gd name="connsiteY5" fmla="*/ 670154 h 670154"/>
                  <a:gd name="connsiteX6" fmla="*/ 248129 w 474348"/>
                  <a:gd name="connsiteY6" fmla="*/ 670154 h 670154"/>
                  <a:gd name="connsiteX7" fmla="*/ 0 w 474348"/>
                  <a:gd name="connsiteY7" fmla="*/ 670154 h 670154"/>
                  <a:gd name="connsiteX8" fmla="*/ 0 w 474348"/>
                  <a:gd name="connsiteY8" fmla="*/ 670154 h 670154"/>
                  <a:gd name="connsiteX9" fmla="*/ 0 w 474348"/>
                  <a:gd name="connsiteY9" fmla="*/ 217539 h 670154"/>
                  <a:gd name="connsiteX10" fmla="*/ 174282 w 474348"/>
                  <a:gd name="connsiteY10" fmla="*/ 24619 h 670154"/>
                  <a:gd name="connsiteX0" fmla="*/ 174282 w 474348"/>
                  <a:gd name="connsiteY0" fmla="*/ 24619 h 670154"/>
                  <a:gd name="connsiteX1" fmla="*/ 216121 w 474348"/>
                  <a:gd name="connsiteY1" fmla="*/ 0 h 670154"/>
                  <a:gd name="connsiteX2" fmla="*/ 314250 w 474348"/>
                  <a:gd name="connsiteY2" fmla="*/ 25070 h 670154"/>
                  <a:gd name="connsiteX3" fmla="*/ 474348 w 474348"/>
                  <a:gd name="connsiteY3" fmla="*/ 217539 h 670154"/>
                  <a:gd name="connsiteX4" fmla="*/ 474348 w 474348"/>
                  <a:gd name="connsiteY4" fmla="*/ 670154 h 670154"/>
                  <a:gd name="connsiteX5" fmla="*/ 474348 w 474348"/>
                  <a:gd name="connsiteY5" fmla="*/ 670154 h 670154"/>
                  <a:gd name="connsiteX6" fmla="*/ 248129 w 474348"/>
                  <a:gd name="connsiteY6" fmla="*/ 670154 h 670154"/>
                  <a:gd name="connsiteX7" fmla="*/ 0 w 474348"/>
                  <a:gd name="connsiteY7" fmla="*/ 670154 h 670154"/>
                  <a:gd name="connsiteX8" fmla="*/ 0 w 474348"/>
                  <a:gd name="connsiteY8" fmla="*/ 670154 h 670154"/>
                  <a:gd name="connsiteX9" fmla="*/ 0 w 474348"/>
                  <a:gd name="connsiteY9" fmla="*/ 217539 h 670154"/>
                  <a:gd name="connsiteX10" fmla="*/ 174282 w 474348"/>
                  <a:gd name="connsiteY10" fmla="*/ 24619 h 670154"/>
                  <a:gd name="connsiteX0" fmla="*/ 148557 w 474348"/>
                  <a:gd name="connsiteY0" fmla="*/ 27264 h 670154"/>
                  <a:gd name="connsiteX1" fmla="*/ 216121 w 474348"/>
                  <a:gd name="connsiteY1" fmla="*/ 0 h 670154"/>
                  <a:gd name="connsiteX2" fmla="*/ 314250 w 474348"/>
                  <a:gd name="connsiteY2" fmla="*/ 25070 h 670154"/>
                  <a:gd name="connsiteX3" fmla="*/ 474348 w 474348"/>
                  <a:gd name="connsiteY3" fmla="*/ 217539 h 670154"/>
                  <a:gd name="connsiteX4" fmla="*/ 474348 w 474348"/>
                  <a:gd name="connsiteY4" fmla="*/ 670154 h 670154"/>
                  <a:gd name="connsiteX5" fmla="*/ 474348 w 474348"/>
                  <a:gd name="connsiteY5" fmla="*/ 670154 h 670154"/>
                  <a:gd name="connsiteX6" fmla="*/ 248129 w 474348"/>
                  <a:gd name="connsiteY6" fmla="*/ 670154 h 670154"/>
                  <a:gd name="connsiteX7" fmla="*/ 0 w 474348"/>
                  <a:gd name="connsiteY7" fmla="*/ 670154 h 670154"/>
                  <a:gd name="connsiteX8" fmla="*/ 0 w 474348"/>
                  <a:gd name="connsiteY8" fmla="*/ 670154 h 670154"/>
                  <a:gd name="connsiteX9" fmla="*/ 0 w 474348"/>
                  <a:gd name="connsiteY9" fmla="*/ 217539 h 670154"/>
                  <a:gd name="connsiteX10" fmla="*/ 148557 w 474348"/>
                  <a:gd name="connsiteY10" fmla="*/ 27264 h 670154"/>
                  <a:gd name="connsiteX0" fmla="*/ 148557 w 474348"/>
                  <a:gd name="connsiteY0" fmla="*/ 20950 h 663840"/>
                  <a:gd name="connsiteX1" fmla="*/ 214238 w 474348"/>
                  <a:gd name="connsiteY1" fmla="*/ 0 h 663840"/>
                  <a:gd name="connsiteX2" fmla="*/ 314250 w 474348"/>
                  <a:gd name="connsiteY2" fmla="*/ 18756 h 663840"/>
                  <a:gd name="connsiteX3" fmla="*/ 474348 w 474348"/>
                  <a:gd name="connsiteY3" fmla="*/ 211225 h 663840"/>
                  <a:gd name="connsiteX4" fmla="*/ 474348 w 474348"/>
                  <a:gd name="connsiteY4" fmla="*/ 663840 h 663840"/>
                  <a:gd name="connsiteX5" fmla="*/ 474348 w 474348"/>
                  <a:gd name="connsiteY5" fmla="*/ 663840 h 663840"/>
                  <a:gd name="connsiteX6" fmla="*/ 248129 w 474348"/>
                  <a:gd name="connsiteY6" fmla="*/ 663840 h 663840"/>
                  <a:gd name="connsiteX7" fmla="*/ 0 w 474348"/>
                  <a:gd name="connsiteY7" fmla="*/ 663840 h 663840"/>
                  <a:gd name="connsiteX8" fmla="*/ 0 w 474348"/>
                  <a:gd name="connsiteY8" fmla="*/ 663840 h 663840"/>
                  <a:gd name="connsiteX9" fmla="*/ 0 w 474348"/>
                  <a:gd name="connsiteY9" fmla="*/ 211225 h 663840"/>
                  <a:gd name="connsiteX10" fmla="*/ 148557 w 474348"/>
                  <a:gd name="connsiteY10" fmla="*/ 20950 h 663840"/>
                  <a:gd name="connsiteX0" fmla="*/ 148557 w 474348"/>
                  <a:gd name="connsiteY0" fmla="*/ 20950 h 663840"/>
                  <a:gd name="connsiteX1" fmla="*/ 214238 w 474348"/>
                  <a:gd name="connsiteY1" fmla="*/ 0 h 663840"/>
                  <a:gd name="connsiteX2" fmla="*/ 314250 w 474348"/>
                  <a:gd name="connsiteY2" fmla="*/ 18756 h 663840"/>
                  <a:gd name="connsiteX3" fmla="*/ 474348 w 474348"/>
                  <a:gd name="connsiteY3" fmla="*/ 211225 h 663840"/>
                  <a:gd name="connsiteX4" fmla="*/ 474348 w 474348"/>
                  <a:gd name="connsiteY4" fmla="*/ 663840 h 663840"/>
                  <a:gd name="connsiteX5" fmla="*/ 474348 w 474348"/>
                  <a:gd name="connsiteY5" fmla="*/ 663840 h 663840"/>
                  <a:gd name="connsiteX6" fmla="*/ 248129 w 474348"/>
                  <a:gd name="connsiteY6" fmla="*/ 663840 h 663840"/>
                  <a:gd name="connsiteX7" fmla="*/ 0 w 474348"/>
                  <a:gd name="connsiteY7" fmla="*/ 663840 h 663840"/>
                  <a:gd name="connsiteX8" fmla="*/ 0 w 474348"/>
                  <a:gd name="connsiteY8" fmla="*/ 663840 h 663840"/>
                  <a:gd name="connsiteX9" fmla="*/ 0 w 474348"/>
                  <a:gd name="connsiteY9" fmla="*/ 211225 h 663840"/>
                  <a:gd name="connsiteX10" fmla="*/ 148557 w 474348"/>
                  <a:gd name="connsiteY10" fmla="*/ 20950 h 663840"/>
                  <a:gd name="connsiteX0" fmla="*/ 148557 w 474348"/>
                  <a:gd name="connsiteY0" fmla="*/ 20950 h 663840"/>
                  <a:gd name="connsiteX1" fmla="*/ 214238 w 474348"/>
                  <a:gd name="connsiteY1" fmla="*/ 0 h 663840"/>
                  <a:gd name="connsiteX2" fmla="*/ 314250 w 474348"/>
                  <a:gd name="connsiteY2" fmla="*/ 18756 h 663840"/>
                  <a:gd name="connsiteX3" fmla="*/ 474348 w 474348"/>
                  <a:gd name="connsiteY3" fmla="*/ 211225 h 663840"/>
                  <a:gd name="connsiteX4" fmla="*/ 474348 w 474348"/>
                  <a:gd name="connsiteY4" fmla="*/ 663840 h 663840"/>
                  <a:gd name="connsiteX5" fmla="*/ 474348 w 474348"/>
                  <a:gd name="connsiteY5" fmla="*/ 663840 h 663840"/>
                  <a:gd name="connsiteX6" fmla="*/ 248129 w 474348"/>
                  <a:gd name="connsiteY6" fmla="*/ 663840 h 663840"/>
                  <a:gd name="connsiteX7" fmla="*/ 0 w 474348"/>
                  <a:gd name="connsiteY7" fmla="*/ 663840 h 663840"/>
                  <a:gd name="connsiteX8" fmla="*/ 0 w 474348"/>
                  <a:gd name="connsiteY8" fmla="*/ 663840 h 663840"/>
                  <a:gd name="connsiteX9" fmla="*/ 0 w 474348"/>
                  <a:gd name="connsiteY9" fmla="*/ 211225 h 663840"/>
                  <a:gd name="connsiteX10" fmla="*/ 148557 w 474348"/>
                  <a:gd name="connsiteY10" fmla="*/ 20950 h 663840"/>
                  <a:gd name="connsiteX0" fmla="*/ 144178 w 474348"/>
                  <a:gd name="connsiteY0" fmla="*/ 22667 h 663840"/>
                  <a:gd name="connsiteX1" fmla="*/ 214238 w 474348"/>
                  <a:gd name="connsiteY1" fmla="*/ 0 h 663840"/>
                  <a:gd name="connsiteX2" fmla="*/ 314250 w 474348"/>
                  <a:gd name="connsiteY2" fmla="*/ 18756 h 663840"/>
                  <a:gd name="connsiteX3" fmla="*/ 474348 w 474348"/>
                  <a:gd name="connsiteY3" fmla="*/ 211225 h 663840"/>
                  <a:gd name="connsiteX4" fmla="*/ 474348 w 474348"/>
                  <a:gd name="connsiteY4" fmla="*/ 663840 h 663840"/>
                  <a:gd name="connsiteX5" fmla="*/ 474348 w 474348"/>
                  <a:gd name="connsiteY5" fmla="*/ 663840 h 663840"/>
                  <a:gd name="connsiteX6" fmla="*/ 248129 w 474348"/>
                  <a:gd name="connsiteY6" fmla="*/ 663840 h 663840"/>
                  <a:gd name="connsiteX7" fmla="*/ 0 w 474348"/>
                  <a:gd name="connsiteY7" fmla="*/ 663840 h 663840"/>
                  <a:gd name="connsiteX8" fmla="*/ 0 w 474348"/>
                  <a:gd name="connsiteY8" fmla="*/ 663840 h 663840"/>
                  <a:gd name="connsiteX9" fmla="*/ 0 w 474348"/>
                  <a:gd name="connsiteY9" fmla="*/ 211225 h 663840"/>
                  <a:gd name="connsiteX10" fmla="*/ 144178 w 474348"/>
                  <a:gd name="connsiteY10" fmla="*/ 22667 h 663840"/>
                  <a:gd name="connsiteX0" fmla="*/ 144178 w 474348"/>
                  <a:gd name="connsiteY0" fmla="*/ 22667 h 663840"/>
                  <a:gd name="connsiteX1" fmla="*/ 214238 w 474348"/>
                  <a:gd name="connsiteY1" fmla="*/ 0 h 663840"/>
                  <a:gd name="connsiteX2" fmla="*/ 314250 w 474348"/>
                  <a:gd name="connsiteY2" fmla="*/ 18756 h 663840"/>
                  <a:gd name="connsiteX3" fmla="*/ 474348 w 474348"/>
                  <a:gd name="connsiteY3" fmla="*/ 211225 h 663840"/>
                  <a:gd name="connsiteX4" fmla="*/ 474348 w 474348"/>
                  <a:gd name="connsiteY4" fmla="*/ 663840 h 663840"/>
                  <a:gd name="connsiteX5" fmla="*/ 474348 w 474348"/>
                  <a:gd name="connsiteY5" fmla="*/ 663840 h 663840"/>
                  <a:gd name="connsiteX6" fmla="*/ 248129 w 474348"/>
                  <a:gd name="connsiteY6" fmla="*/ 663840 h 663840"/>
                  <a:gd name="connsiteX7" fmla="*/ 0 w 474348"/>
                  <a:gd name="connsiteY7" fmla="*/ 663840 h 663840"/>
                  <a:gd name="connsiteX8" fmla="*/ 0 w 474348"/>
                  <a:gd name="connsiteY8" fmla="*/ 663840 h 663840"/>
                  <a:gd name="connsiteX9" fmla="*/ 0 w 474348"/>
                  <a:gd name="connsiteY9" fmla="*/ 211225 h 663840"/>
                  <a:gd name="connsiteX10" fmla="*/ 144178 w 474348"/>
                  <a:gd name="connsiteY10" fmla="*/ 22667 h 663840"/>
                  <a:gd name="connsiteX0" fmla="*/ 144178 w 474348"/>
                  <a:gd name="connsiteY0" fmla="*/ 22667 h 663840"/>
                  <a:gd name="connsiteX1" fmla="*/ 214238 w 474348"/>
                  <a:gd name="connsiteY1" fmla="*/ 0 h 663840"/>
                  <a:gd name="connsiteX2" fmla="*/ 314250 w 474348"/>
                  <a:gd name="connsiteY2" fmla="*/ 18756 h 663840"/>
                  <a:gd name="connsiteX3" fmla="*/ 474348 w 474348"/>
                  <a:gd name="connsiteY3" fmla="*/ 211225 h 663840"/>
                  <a:gd name="connsiteX4" fmla="*/ 474348 w 474348"/>
                  <a:gd name="connsiteY4" fmla="*/ 663840 h 663840"/>
                  <a:gd name="connsiteX5" fmla="*/ 474348 w 474348"/>
                  <a:gd name="connsiteY5" fmla="*/ 663840 h 663840"/>
                  <a:gd name="connsiteX6" fmla="*/ 248129 w 474348"/>
                  <a:gd name="connsiteY6" fmla="*/ 663840 h 663840"/>
                  <a:gd name="connsiteX7" fmla="*/ 0 w 474348"/>
                  <a:gd name="connsiteY7" fmla="*/ 663840 h 663840"/>
                  <a:gd name="connsiteX8" fmla="*/ 0 w 474348"/>
                  <a:gd name="connsiteY8" fmla="*/ 663840 h 663840"/>
                  <a:gd name="connsiteX9" fmla="*/ 0 w 474348"/>
                  <a:gd name="connsiteY9" fmla="*/ 211225 h 663840"/>
                  <a:gd name="connsiteX10" fmla="*/ 144178 w 474348"/>
                  <a:gd name="connsiteY10" fmla="*/ 22667 h 663840"/>
                  <a:gd name="connsiteX0" fmla="*/ 144178 w 474348"/>
                  <a:gd name="connsiteY0" fmla="*/ 22667 h 663840"/>
                  <a:gd name="connsiteX1" fmla="*/ 214238 w 474348"/>
                  <a:gd name="connsiteY1" fmla="*/ 0 h 663840"/>
                  <a:gd name="connsiteX2" fmla="*/ 314250 w 474348"/>
                  <a:gd name="connsiteY2" fmla="*/ 18756 h 663840"/>
                  <a:gd name="connsiteX3" fmla="*/ 474348 w 474348"/>
                  <a:gd name="connsiteY3" fmla="*/ 211225 h 663840"/>
                  <a:gd name="connsiteX4" fmla="*/ 474348 w 474348"/>
                  <a:gd name="connsiteY4" fmla="*/ 663840 h 663840"/>
                  <a:gd name="connsiteX5" fmla="*/ 474348 w 474348"/>
                  <a:gd name="connsiteY5" fmla="*/ 663840 h 663840"/>
                  <a:gd name="connsiteX6" fmla="*/ 248129 w 474348"/>
                  <a:gd name="connsiteY6" fmla="*/ 663840 h 663840"/>
                  <a:gd name="connsiteX7" fmla="*/ 0 w 474348"/>
                  <a:gd name="connsiteY7" fmla="*/ 663840 h 663840"/>
                  <a:gd name="connsiteX8" fmla="*/ 0 w 474348"/>
                  <a:gd name="connsiteY8" fmla="*/ 663840 h 663840"/>
                  <a:gd name="connsiteX9" fmla="*/ 0 w 474348"/>
                  <a:gd name="connsiteY9" fmla="*/ 211225 h 663840"/>
                  <a:gd name="connsiteX10" fmla="*/ 144178 w 474348"/>
                  <a:gd name="connsiteY10" fmla="*/ 22667 h 6638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74348" h="663840">
                    <a:moveTo>
                      <a:pt x="144178" y="22667"/>
                    </a:moveTo>
                    <a:cubicBezTo>
                      <a:pt x="211732" y="-970"/>
                      <a:pt x="181869" y="7990"/>
                      <a:pt x="214238" y="0"/>
                    </a:cubicBezTo>
                    <a:cubicBezTo>
                      <a:pt x="259321" y="7224"/>
                      <a:pt x="221757" y="369"/>
                      <a:pt x="314250" y="18756"/>
                    </a:cubicBezTo>
                    <a:cubicBezTo>
                      <a:pt x="399877" y="51074"/>
                      <a:pt x="474348" y="104798"/>
                      <a:pt x="474348" y="211225"/>
                    </a:cubicBezTo>
                    <a:lnTo>
                      <a:pt x="474348" y="663840"/>
                    </a:lnTo>
                    <a:lnTo>
                      <a:pt x="474348" y="663840"/>
                    </a:lnTo>
                    <a:lnTo>
                      <a:pt x="248129" y="663840"/>
                    </a:lnTo>
                    <a:lnTo>
                      <a:pt x="0" y="663840"/>
                    </a:lnTo>
                    <a:lnTo>
                      <a:pt x="0" y="663840"/>
                    </a:lnTo>
                    <a:lnTo>
                      <a:pt x="0" y="211225"/>
                    </a:lnTo>
                    <a:cubicBezTo>
                      <a:pt x="0" y="104798"/>
                      <a:pt x="80700" y="56026"/>
                      <a:pt x="144178" y="22667"/>
                    </a:cubicBezTo>
                    <a:close/>
                  </a:path>
                </a:pathLst>
              </a:cu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56" name="Round Same Side Corner Rectangle 11"/>
              <p:cNvSpPr/>
              <p:nvPr/>
            </p:nvSpPr>
            <p:spPr>
              <a:xfrm rot="16200000">
                <a:off x="6912899" y="2339184"/>
                <a:ext cx="101418" cy="1051827"/>
              </a:xfrm>
              <a:custGeom>
                <a:avLst/>
                <a:gdLst>
                  <a:gd name="connsiteX0" fmla="*/ 192704 w 474348"/>
                  <a:gd name="connsiteY0" fmla="*/ 0 h 645319"/>
                  <a:gd name="connsiteX1" fmla="*/ 281644 w 474348"/>
                  <a:gd name="connsiteY1" fmla="*/ 0 h 645319"/>
                  <a:gd name="connsiteX2" fmla="*/ 474348 w 474348"/>
                  <a:gd name="connsiteY2" fmla="*/ 192704 h 645319"/>
                  <a:gd name="connsiteX3" fmla="*/ 474348 w 474348"/>
                  <a:gd name="connsiteY3" fmla="*/ 645319 h 645319"/>
                  <a:gd name="connsiteX4" fmla="*/ 474348 w 474348"/>
                  <a:gd name="connsiteY4" fmla="*/ 645319 h 645319"/>
                  <a:gd name="connsiteX5" fmla="*/ 0 w 474348"/>
                  <a:gd name="connsiteY5" fmla="*/ 645319 h 645319"/>
                  <a:gd name="connsiteX6" fmla="*/ 0 w 474348"/>
                  <a:gd name="connsiteY6" fmla="*/ 645319 h 645319"/>
                  <a:gd name="connsiteX7" fmla="*/ 0 w 474348"/>
                  <a:gd name="connsiteY7" fmla="*/ 192704 h 645319"/>
                  <a:gd name="connsiteX8" fmla="*/ 192704 w 474348"/>
                  <a:gd name="connsiteY8" fmla="*/ 0 h 645319"/>
                  <a:gd name="connsiteX0" fmla="*/ 192704 w 474348"/>
                  <a:gd name="connsiteY0" fmla="*/ 0 h 645319"/>
                  <a:gd name="connsiteX1" fmla="*/ 281644 w 474348"/>
                  <a:gd name="connsiteY1" fmla="*/ 0 h 645319"/>
                  <a:gd name="connsiteX2" fmla="*/ 474348 w 474348"/>
                  <a:gd name="connsiteY2" fmla="*/ 192704 h 645319"/>
                  <a:gd name="connsiteX3" fmla="*/ 474348 w 474348"/>
                  <a:gd name="connsiteY3" fmla="*/ 645319 h 645319"/>
                  <a:gd name="connsiteX4" fmla="*/ 474348 w 474348"/>
                  <a:gd name="connsiteY4" fmla="*/ 645319 h 645319"/>
                  <a:gd name="connsiteX5" fmla="*/ 248129 w 474348"/>
                  <a:gd name="connsiteY5" fmla="*/ 645319 h 645319"/>
                  <a:gd name="connsiteX6" fmla="*/ 0 w 474348"/>
                  <a:gd name="connsiteY6" fmla="*/ 645319 h 645319"/>
                  <a:gd name="connsiteX7" fmla="*/ 0 w 474348"/>
                  <a:gd name="connsiteY7" fmla="*/ 645319 h 645319"/>
                  <a:gd name="connsiteX8" fmla="*/ 0 w 474348"/>
                  <a:gd name="connsiteY8" fmla="*/ 192704 h 645319"/>
                  <a:gd name="connsiteX9" fmla="*/ 192704 w 474348"/>
                  <a:gd name="connsiteY9" fmla="*/ 0 h 645319"/>
                  <a:gd name="connsiteX0" fmla="*/ 192704 w 474348"/>
                  <a:gd name="connsiteY0" fmla="*/ 2381 h 647700"/>
                  <a:gd name="connsiteX1" fmla="*/ 240986 w 474348"/>
                  <a:gd name="connsiteY1" fmla="*/ 0 h 647700"/>
                  <a:gd name="connsiteX2" fmla="*/ 281644 w 474348"/>
                  <a:gd name="connsiteY2" fmla="*/ 2381 h 647700"/>
                  <a:gd name="connsiteX3" fmla="*/ 474348 w 474348"/>
                  <a:gd name="connsiteY3" fmla="*/ 195085 h 647700"/>
                  <a:gd name="connsiteX4" fmla="*/ 474348 w 474348"/>
                  <a:gd name="connsiteY4" fmla="*/ 647700 h 647700"/>
                  <a:gd name="connsiteX5" fmla="*/ 474348 w 474348"/>
                  <a:gd name="connsiteY5" fmla="*/ 647700 h 647700"/>
                  <a:gd name="connsiteX6" fmla="*/ 248129 w 474348"/>
                  <a:gd name="connsiteY6" fmla="*/ 647700 h 647700"/>
                  <a:gd name="connsiteX7" fmla="*/ 0 w 474348"/>
                  <a:gd name="connsiteY7" fmla="*/ 647700 h 647700"/>
                  <a:gd name="connsiteX8" fmla="*/ 0 w 474348"/>
                  <a:gd name="connsiteY8" fmla="*/ 647700 h 647700"/>
                  <a:gd name="connsiteX9" fmla="*/ 0 w 474348"/>
                  <a:gd name="connsiteY9" fmla="*/ 195085 h 647700"/>
                  <a:gd name="connsiteX10" fmla="*/ 192704 w 474348"/>
                  <a:gd name="connsiteY10" fmla="*/ 2381 h 647700"/>
                  <a:gd name="connsiteX0" fmla="*/ 192704 w 474348"/>
                  <a:gd name="connsiteY0" fmla="*/ 42862 h 688181"/>
                  <a:gd name="connsiteX1" fmla="*/ 240986 w 474348"/>
                  <a:gd name="connsiteY1" fmla="*/ 0 h 688181"/>
                  <a:gd name="connsiteX2" fmla="*/ 281644 w 474348"/>
                  <a:gd name="connsiteY2" fmla="*/ 42862 h 688181"/>
                  <a:gd name="connsiteX3" fmla="*/ 474348 w 474348"/>
                  <a:gd name="connsiteY3" fmla="*/ 235566 h 688181"/>
                  <a:gd name="connsiteX4" fmla="*/ 474348 w 474348"/>
                  <a:gd name="connsiteY4" fmla="*/ 688181 h 688181"/>
                  <a:gd name="connsiteX5" fmla="*/ 474348 w 474348"/>
                  <a:gd name="connsiteY5" fmla="*/ 688181 h 688181"/>
                  <a:gd name="connsiteX6" fmla="*/ 248129 w 474348"/>
                  <a:gd name="connsiteY6" fmla="*/ 688181 h 688181"/>
                  <a:gd name="connsiteX7" fmla="*/ 0 w 474348"/>
                  <a:gd name="connsiteY7" fmla="*/ 688181 h 688181"/>
                  <a:gd name="connsiteX8" fmla="*/ 0 w 474348"/>
                  <a:gd name="connsiteY8" fmla="*/ 688181 h 688181"/>
                  <a:gd name="connsiteX9" fmla="*/ 0 w 474348"/>
                  <a:gd name="connsiteY9" fmla="*/ 235566 h 688181"/>
                  <a:gd name="connsiteX10" fmla="*/ 192704 w 474348"/>
                  <a:gd name="connsiteY10" fmla="*/ 42862 h 688181"/>
                  <a:gd name="connsiteX0" fmla="*/ 192704 w 474348"/>
                  <a:gd name="connsiteY0" fmla="*/ 23812 h 669131"/>
                  <a:gd name="connsiteX1" fmla="*/ 265690 w 474348"/>
                  <a:gd name="connsiteY1" fmla="*/ 0 h 669131"/>
                  <a:gd name="connsiteX2" fmla="*/ 281644 w 474348"/>
                  <a:gd name="connsiteY2" fmla="*/ 23812 h 669131"/>
                  <a:gd name="connsiteX3" fmla="*/ 474348 w 474348"/>
                  <a:gd name="connsiteY3" fmla="*/ 216516 h 669131"/>
                  <a:gd name="connsiteX4" fmla="*/ 474348 w 474348"/>
                  <a:gd name="connsiteY4" fmla="*/ 669131 h 669131"/>
                  <a:gd name="connsiteX5" fmla="*/ 474348 w 474348"/>
                  <a:gd name="connsiteY5" fmla="*/ 669131 h 669131"/>
                  <a:gd name="connsiteX6" fmla="*/ 248129 w 474348"/>
                  <a:gd name="connsiteY6" fmla="*/ 669131 h 669131"/>
                  <a:gd name="connsiteX7" fmla="*/ 0 w 474348"/>
                  <a:gd name="connsiteY7" fmla="*/ 669131 h 669131"/>
                  <a:gd name="connsiteX8" fmla="*/ 0 w 474348"/>
                  <a:gd name="connsiteY8" fmla="*/ 669131 h 669131"/>
                  <a:gd name="connsiteX9" fmla="*/ 0 w 474348"/>
                  <a:gd name="connsiteY9" fmla="*/ 216516 h 669131"/>
                  <a:gd name="connsiteX10" fmla="*/ 192704 w 474348"/>
                  <a:gd name="connsiteY10" fmla="*/ 23812 h 669131"/>
                  <a:gd name="connsiteX0" fmla="*/ 192704 w 474348"/>
                  <a:gd name="connsiteY0" fmla="*/ 23812 h 669131"/>
                  <a:gd name="connsiteX1" fmla="*/ 265690 w 474348"/>
                  <a:gd name="connsiteY1" fmla="*/ 0 h 669131"/>
                  <a:gd name="connsiteX2" fmla="*/ 281644 w 474348"/>
                  <a:gd name="connsiteY2" fmla="*/ 23812 h 669131"/>
                  <a:gd name="connsiteX3" fmla="*/ 474348 w 474348"/>
                  <a:gd name="connsiteY3" fmla="*/ 216516 h 669131"/>
                  <a:gd name="connsiteX4" fmla="*/ 474348 w 474348"/>
                  <a:gd name="connsiteY4" fmla="*/ 669131 h 669131"/>
                  <a:gd name="connsiteX5" fmla="*/ 474348 w 474348"/>
                  <a:gd name="connsiteY5" fmla="*/ 669131 h 669131"/>
                  <a:gd name="connsiteX6" fmla="*/ 248129 w 474348"/>
                  <a:gd name="connsiteY6" fmla="*/ 669131 h 669131"/>
                  <a:gd name="connsiteX7" fmla="*/ 0 w 474348"/>
                  <a:gd name="connsiteY7" fmla="*/ 669131 h 669131"/>
                  <a:gd name="connsiteX8" fmla="*/ 0 w 474348"/>
                  <a:gd name="connsiteY8" fmla="*/ 669131 h 669131"/>
                  <a:gd name="connsiteX9" fmla="*/ 0 w 474348"/>
                  <a:gd name="connsiteY9" fmla="*/ 216516 h 669131"/>
                  <a:gd name="connsiteX10" fmla="*/ 192704 w 474348"/>
                  <a:gd name="connsiteY10" fmla="*/ 23812 h 669131"/>
                  <a:gd name="connsiteX0" fmla="*/ 192704 w 474348"/>
                  <a:gd name="connsiteY0" fmla="*/ 23812 h 669131"/>
                  <a:gd name="connsiteX1" fmla="*/ 265690 w 474348"/>
                  <a:gd name="connsiteY1" fmla="*/ 0 h 669131"/>
                  <a:gd name="connsiteX2" fmla="*/ 281644 w 474348"/>
                  <a:gd name="connsiteY2" fmla="*/ 23812 h 669131"/>
                  <a:gd name="connsiteX3" fmla="*/ 474348 w 474348"/>
                  <a:gd name="connsiteY3" fmla="*/ 216516 h 669131"/>
                  <a:gd name="connsiteX4" fmla="*/ 474348 w 474348"/>
                  <a:gd name="connsiteY4" fmla="*/ 669131 h 669131"/>
                  <a:gd name="connsiteX5" fmla="*/ 474348 w 474348"/>
                  <a:gd name="connsiteY5" fmla="*/ 669131 h 669131"/>
                  <a:gd name="connsiteX6" fmla="*/ 248129 w 474348"/>
                  <a:gd name="connsiteY6" fmla="*/ 669131 h 669131"/>
                  <a:gd name="connsiteX7" fmla="*/ 0 w 474348"/>
                  <a:gd name="connsiteY7" fmla="*/ 669131 h 669131"/>
                  <a:gd name="connsiteX8" fmla="*/ 0 w 474348"/>
                  <a:gd name="connsiteY8" fmla="*/ 669131 h 669131"/>
                  <a:gd name="connsiteX9" fmla="*/ 0 w 474348"/>
                  <a:gd name="connsiteY9" fmla="*/ 216516 h 669131"/>
                  <a:gd name="connsiteX10" fmla="*/ 192704 w 474348"/>
                  <a:gd name="connsiteY10" fmla="*/ 23812 h 669131"/>
                  <a:gd name="connsiteX0" fmla="*/ 192704 w 474348"/>
                  <a:gd name="connsiteY0" fmla="*/ 23812 h 669131"/>
                  <a:gd name="connsiteX1" fmla="*/ 265690 w 474348"/>
                  <a:gd name="connsiteY1" fmla="*/ 0 h 669131"/>
                  <a:gd name="connsiteX2" fmla="*/ 314250 w 474348"/>
                  <a:gd name="connsiteY2" fmla="*/ 24047 h 669131"/>
                  <a:gd name="connsiteX3" fmla="*/ 474348 w 474348"/>
                  <a:gd name="connsiteY3" fmla="*/ 216516 h 669131"/>
                  <a:gd name="connsiteX4" fmla="*/ 474348 w 474348"/>
                  <a:gd name="connsiteY4" fmla="*/ 669131 h 669131"/>
                  <a:gd name="connsiteX5" fmla="*/ 474348 w 474348"/>
                  <a:gd name="connsiteY5" fmla="*/ 669131 h 669131"/>
                  <a:gd name="connsiteX6" fmla="*/ 248129 w 474348"/>
                  <a:gd name="connsiteY6" fmla="*/ 669131 h 669131"/>
                  <a:gd name="connsiteX7" fmla="*/ 0 w 474348"/>
                  <a:gd name="connsiteY7" fmla="*/ 669131 h 669131"/>
                  <a:gd name="connsiteX8" fmla="*/ 0 w 474348"/>
                  <a:gd name="connsiteY8" fmla="*/ 669131 h 669131"/>
                  <a:gd name="connsiteX9" fmla="*/ 0 w 474348"/>
                  <a:gd name="connsiteY9" fmla="*/ 216516 h 669131"/>
                  <a:gd name="connsiteX10" fmla="*/ 192704 w 474348"/>
                  <a:gd name="connsiteY10" fmla="*/ 23812 h 669131"/>
                  <a:gd name="connsiteX0" fmla="*/ 192704 w 474348"/>
                  <a:gd name="connsiteY0" fmla="*/ 23812 h 669131"/>
                  <a:gd name="connsiteX1" fmla="*/ 265690 w 474348"/>
                  <a:gd name="connsiteY1" fmla="*/ 0 h 669131"/>
                  <a:gd name="connsiteX2" fmla="*/ 314250 w 474348"/>
                  <a:gd name="connsiteY2" fmla="*/ 24047 h 669131"/>
                  <a:gd name="connsiteX3" fmla="*/ 474348 w 474348"/>
                  <a:gd name="connsiteY3" fmla="*/ 216516 h 669131"/>
                  <a:gd name="connsiteX4" fmla="*/ 474348 w 474348"/>
                  <a:gd name="connsiteY4" fmla="*/ 669131 h 669131"/>
                  <a:gd name="connsiteX5" fmla="*/ 474348 w 474348"/>
                  <a:gd name="connsiteY5" fmla="*/ 669131 h 669131"/>
                  <a:gd name="connsiteX6" fmla="*/ 248129 w 474348"/>
                  <a:gd name="connsiteY6" fmla="*/ 669131 h 669131"/>
                  <a:gd name="connsiteX7" fmla="*/ 0 w 474348"/>
                  <a:gd name="connsiteY7" fmla="*/ 669131 h 669131"/>
                  <a:gd name="connsiteX8" fmla="*/ 0 w 474348"/>
                  <a:gd name="connsiteY8" fmla="*/ 669131 h 669131"/>
                  <a:gd name="connsiteX9" fmla="*/ 0 w 474348"/>
                  <a:gd name="connsiteY9" fmla="*/ 216516 h 669131"/>
                  <a:gd name="connsiteX10" fmla="*/ 192704 w 474348"/>
                  <a:gd name="connsiteY10" fmla="*/ 23812 h 669131"/>
                  <a:gd name="connsiteX0" fmla="*/ 192704 w 474348"/>
                  <a:gd name="connsiteY0" fmla="*/ 23812 h 669131"/>
                  <a:gd name="connsiteX1" fmla="*/ 265690 w 474348"/>
                  <a:gd name="connsiteY1" fmla="*/ 0 h 669131"/>
                  <a:gd name="connsiteX2" fmla="*/ 314250 w 474348"/>
                  <a:gd name="connsiteY2" fmla="*/ 24047 h 669131"/>
                  <a:gd name="connsiteX3" fmla="*/ 474348 w 474348"/>
                  <a:gd name="connsiteY3" fmla="*/ 216516 h 669131"/>
                  <a:gd name="connsiteX4" fmla="*/ 474348 w 474348"/>
                  <a:gd name="connsiteY4" fmla="*/ 669131 h 669131"/>
                  <a:gd name="connsiteX5" fmla="*/ 474348 w 474348"/>
                  <a:gd name="connsiteY5" fmla="*/ 669131 h 669131"/>
                  <a:gd name="connsiteX6" fmla="*/ 248129 w 474348"/>
                  <a:gd name="connsiteY6" fmla="*/ 669131 h 669131"/>
                  <a:gd name="connsiteX7" fmla="*/ 0 w 474348"/>
                  <a:gd name="connsiteY7" fmla="*/ 669131 h 669131"/>
                  <a:gd name="connsiteX8" fmla="*/ 0 w 474348"/>
                  <a:gd name="connsiteY8" fmla="*/ 669131 h 669131"/>
                  <a:gd name="connsiteX9" fmla="*/ 0 w 474348"/>
                  <a:gd name="connsiteY9" fmla="*/ 216516 h 669131"/>
                  <a:gd name="connsiteX10" fmla="*/ 192704 w 474348"/>
                  <a:gd name="connsiteY10" fmla="*/ 23812 h 669131"/>
                  <a:gd name="connsiteX0" fmla="*/ 174282 w 474348"/>
                  <a:gd name="connsiteY0" fmla="*/ 23596 h 669131"/>
                  <a:gd name="connsiteX1" fmla="*/ 265690 w 474348"/>
                  <a:gd name="connsiteY1" fmla="*/ 0 h 669131"/>
                  <a:gd name="connsiteX2" fmla="*/ 314250 w 474348"/>
                  <a:gd name="connsiteY2" fmla="*/ 24047 h 669131"/>
                  <a:gd name="connsiteX3" fmla="*/ 474348 w 474348"/>
                  <a:gd name="connsiteY3" fmla="*/ 216516 h 669131"/>
                  <a:gd name="connsiteX4" fmla="*/ 474348 w 474348"/>
                  <a:gd name="connsiteY4" fmla="*/ 669131 h 669131"/>
                  <a:gd name="connsiteX5" fmla="*/ 474348 w 474348"/>
                  <a:gd name="connsiteY5" fmla="*/ 669131 h 669131"/>
                  <a:gd name="connsiteX6" fmla="*/ 248129 w 474348"/>
                  <a:gd name="connsiteY6" fmla="*/ 669131 h 669131"/>
                  <a:gd name="connsiteX7" fmla="*/ 0 w 474348"/>
                  <a:gd name="connsiteY7" fmla="*/ 669131 h 669131"/>
                  <a:gd name="connsiteX8" fmla="*/ 0 w 474348"/>
                  <a:gd name="connsiteY8" fmla="*/ 669131 h 669131"/>
                  <a:gd name="connsiteX9" fmla="*/ 0 w 474348"/>
                  <a:gd name="connsiteY9" fmla="*/ 216516 h 669131"/>
                  <a:gd name="connsiteX10" fmla="*/ 174282 w 474348"/>
                  <a:gd name="connsiteY10" fmla="*/ 23596 h 669131"/>
                  <a:gd name="connsiteX0" fmla="*/ 174282 w 474348"/>
                  <a:gd name="connsiteY0" fmla="*/ 24619 h 670154"/>
                  <a:gd name="connsiteX1" fmla="*/ 216121 w 474348"/>
                  <a:gd name="connsiteY1" fmla="*/ 0 h 670154"/>
                  <a:gd name="connsiteX2" fmla="*/ 314250 w 474348"/>
                  <a:gd name="connsiteY2" fmla="*/ 25070 h 670154"/>
                  <a:gd name="connsiteX3" fmla="*/ 474348 w 474348"/>
                  <a:gd name="connsiteY3" fmla="*/ 217539 h 670154"/>
                  <a:gd name="connsiteX4" fmla="*/ 474348 w 474348"/>
                  <a:gd name="connsiteY4" fmla="*/ 670154 h 670154"/>
                  <a:gd name="connsiteX5" fmla="*/ 474348 w 474348"/>
                  <a:gd name="connsiteY5" fmla="*/ 670154 h 670154"/>
                  <a:gd name="connsiteX6" fmla="*/ 248129 w 474348"/>
                  <a:gd name="connsiteY6" fmla="*/ 670154 h 670154"/>
                  <a:gd name="connsiteX7" fmla="*/ 0 w 474348"/>
                  <a:gd name="connsiteY7" fmla="*/ 670154 h 670154"/>
                  <a:gd name="connsiteX8" fmla="*/ 0 w 474348"/>
                  <a:gd name="connsiteY8" fmla="*/ 670154 h 670154"/>
                  <a:gd name="connsiteX9" fmla="*/ 0 w 474348"/>
                  <a:gd name="connsiteY9" fmla="*/ 217539 h 670154"/>
                  <a:gd name="connsiteX10" fmla="*/ 174282 w 474348"/>
                  <a:gd name="connsiteY10" fmla="*/ 24619 h 670154"/>
                  <a:gd name="connsiteX0" fmla="*/ 174282 w 474348"/>
                  <a:gd name="connsiteY0" fmla="*/ 24619 h 670154"/>
                  <a:gd name="connsiteX1" fmla="*/ 216121 w 474348"/>
                  <a:gd name="connsiteY1" fmla="*/ 0 h 670154"/>
                  <a:gd name="connsiteX2" fmla="*/ 314250 w 474348"/>
                  <a:gd name="connsiteY2" fmla="*/ 25070 h 670154"/>
                  <a:gd name="connsiteX3" fmla="*/ 474348 w 474348"/>
                  <a:gd name="connsiteY3" fmla="*/ 217539 h 670154"/>
                  <a:gd name="connsiteX4" fmla="*/ 474348 w 474348"/>
                  <a:gd name="connsiteY4" fmla="*/ 670154 h 670154"/>
                  <a:gd name="connsiteX5" fmla="*/ 474348 w 474348"/>
                  <a:gd name="connsiteY5" fmla="*/ 670154 h 670154"/>
                  <a:gd name="connsiteX6" fmla="*/ 248129 w 474348"/>
                  <a:gd name="connsiteY6" fmla="*/ 670154 h 670154"/>
                  <a:gd name="connsiteX7" fmla="*/ 0 w 474348"/>
                  <a:gd name="connsiteY7" fmla="*/ 670154 h 670154"/>
                  <a:gd name="connsiteX8" fmla="*/ 0 w 474348"/>
                  <a:gd name="connsiteY8" fmla="*/ 670154 h 670154"/>
                  <a:gd name="connsiteX9" fmla="*/ 0 w 474348"/>
                  <a:gd name="connsiteY9" fmla="*/ 217539 h 670154"/>
                  <a:gd name="connsiteX10" fmla="*/ 174282 w 474348"/>
                  <a:gd name="connsiteY10" fmla="*/ 24619 h 670154"/>
                  <a:gd name="connsiteX0" fmla="*/ 174282 w 474348"/>
                  <a:gd name="connsiteY0" fmla="*/ 24619 h 670154"/>
                  <a:gd name="connsiteX1" fmla="*/ 216121 w 474348"/>
                  <a:gd name="connsiteY1" fmla="*/ 0 h 670154"/>
                  <a:gd name="connsiteX2" fmla="*/ 314250 w 474348"/>
                  <a:gd name="connsiteY2" fmla="*/ 25070 h 670154"/>
                  <a:gd name="connsiteX3" fmla="*/ 474348 w 474348"/>
                  <a:gd name="connsiteY3" fmla="*/ 217539 h 670154"/>
                  <a:gd name="connsiteX4" fmla="*/ 474348 w 474348"/>
                  <a:gd name="connsiteY4" fmla="*/ 670154 h 670154"/>
                  <a:gd name="connsiteX5" fmla="*/ 474348 w 474348"/>
                  <a:gd name="connsiteY5" fmla="*/ 670154 h 670154"/>
                  <a:gd name="connsiteX6" fmla="*/ 248129 w 474348"/>
                  <a:gd name="connsiteY6" fmla="*/ 670154 h 670154"/>
                  <a:gd name="connsiteX7" fmla="*/ 0 w 474348"/>
                  <a:gd name="connsiteY7" fmla="*/ 670154 h 670154"/>
                  <a:gd name="connsiteX8" fmla="*/ 0 w 474348"/>
                  <a:gd name="connsiteY8" fmla="*/ 670154 h 670154"/>
                  <a:gd name="connsiteX9" fmla="*/ 0 w 474348"/>
                  <a:gd name="connsiteY9" fmla="*/ 217539 h 670154"/>
                  <a:gd name="connsiteX10" fmla="*/ 174282 w 474348"/>
                  <a:gd name="connsiteY10" fmla="*/ 24619 h 670154"/>
                  <a:gd name="connsiteX0" fmla="*/ 174282 w 474348"/>
                  <a:gd name="connsiteY0" fmla="*/ 24619 h 670154"/>
                  <a:gd name="connsiteX1" fmla="*/ 216121 w 474348"/>
                  <a:gd name="connsiteY1" fmla="*/ 0 h 670154"/>
                  <a:gd name="connsiteX2" fmla="*/ 314250 w 474348"/>
                  <a:gd name="connsiteY2" fmla="*/ 25070 h 670154"/>
                  <a:gd name="connsiteX3" fmla="*/ 474348 w 474348"/>
                  <a:gd name="connsiteY3" fmla="*/ 217539 h 670154"/>
                  <a:gd name="connsiteX4" fmla="*/ 474348 w 474348"/>
                  <a:gd name="connsiteY4" fmla="*/ 670154 h 670154"/>
                  <a:gd name="connsiteX5" fmla="*/ 474348 w 474348"/>
                  <a:gd name="connsiteY5" fmla="*/ 670154 h 670154"/>
                  <a:gd name="connsiteX6" fmla="*/ 248129 w 474348"/>
                  <a:gd name="connsiteY6" fmla="*/ 670154 h 670154"/>
                  <a:gd name="connsiteX7" fmla="*/ 0 w 474348"/>
                  <a:gd name="connsiteY7" fmla="*/ 670154 h 670154"/>
                  <a:gd name="connsiteX8" fmla="*/ 0 w 474348"/>
                  <a:gd name="connsiteY8" fmla="*/ 670154 h 670154"/>
                  <a:gd name="connsiteX9" fmla="*/ 0 w 474348"/>
                  <a:gd name="connsiteY9" fmla="*/ 217539 h 670154"/>
                  <a:gd name="connsiteX10" fmla="*/ 174282 w 474348"/>
                  <a:gd name="connsiteY10" fmla="*/ 24619 h 670154"/>
                  <a:gd name="connsiteX0" fmla="*/ 148557 w 474348"/>
                  <a:gd name="connsiteY0" fmla="*/ 27264 h 670154"/>
                  <a:gd name="connsiteX1" fmla="*/ 216121 w 474348"/>
                  <a:gd name="connsiteY1" fmla="*/ 0 h 670154"/>
                  <a:gd name="connsiteX2" fmla="*/ 314250 w 474348"/>
                  <a:gd name="connsiteY2" fmla="*/ 25070 h 670154"/>
                  <a:gd name="connsiteX3" fmla="*/ 474348 w 474348"/>
                  <a:gd name="connsiteY3" fmla="*/ 217539 h 670154"/>
                  <a:gd name="connsiteX4" fmla="*/ 474348 w 474348"/>
                  <a:gd name="connsiteY4" fmla="*/ 670154 h 670154"/>
                  <a:gd name="connsiteX5" fmla="*/ 474348 w 474348"/>
                  <a:gd name="connsiteY5" fmla="*/ 670154 h 670154"/>
                  <a:gd name="connsiteX6" fmla="*/ 248129 w 474348"/>
                  <a:gd name="connsiteY6" fmla="*/ 670154 h 670154"/>
                  <a:gd name="connsiteX7" fmla="*/ 0 w 474348"/>
                  <a:gd name="connsiteY7" fmla="*/ 670154 h 670154"/>
                  <a:gd name="connsiteX8" fmla="*/ 0 w 474348"/>
                  <a:gd name="connsiteY8" fmla="*/ 670154 h 670154"/>
                  <a:gd name="connsiteX9" fmla="*/ 0 w 474348"/>
                  <a:gd name="connsiteY9" fmla="*/ 217539 h 670154"/>
                  <a:gd name="connsiteX10" fmla="*/ 148557 w 474348"/>
                  <a:gd name="connsiteY10" fmla="*/ 27264 h 670154"/>
                  <a:gd name="connsiteX0" fmla="*/ 148557 w 474348"/>
                  <a:gd name="connsiteY0" fmla="*/ 20950 h 663840"/>
                  <a:gd name="connsiteX1" fmla="*/ 214238 w 474348"/>
                  <a:gd name="connsiteY1" fmla="*/ 0 h 663840"/>
                  <a:gd name="connsiteX2" fmla="*/ 314250 w 474348"/>
                  <a:gd name="connsiteY2" fmla="*/ 18756 h 663840"/>
                  <a:gd name="connsiteX3" fmla="*/ 474348 w 474348"/>
                  <a:gd name="connsiteY3" fmla="*/ 211225 h 663840"/>
                  <a:gd name="connsiteX4" fmla="*/ 474348 w 474348"/>
                  <a:gd name="connsiteY4" fmla="*/ 663840 h 663840"/>
                  <a:gd name="connsiteX5" fmla="*/ 474348 w 474348"/>
                  <a:gd name="connsiteY5" fmla="*/ 663840 h 663840"/>
                  <a:gd name="connsiteX6" fmla="*/ 248129 w 474348"/>
                  <a:gd name="connsiteY6" fmla="*/ 663840 h 663840"/>
                  <a:gd name="connsiteX7" fmla="*/ 0 w 474348"/>
                  <a:gd name="connsiteY7" fmla="*/ 663840 h 663840"/>
                  <a:gd name="connsiteX8" fmla="*/ 0 w 474348"/>
                  <a:gd name="connsiteY8" fmla="*/ 663840 h 663840"/>
                  <a:gd name="connsiteX9" fmla="*/ 0 w 474348"/>
                  <a:gd name="connsiteY9" fmla="*/ 211225 h 663840"/>
                  <a:gd name="connsiteX10" fmla="*/ 148557 w 474348"/>
                  <a:gd name="connsiteY10" fmla="*/ 20950 h 663840"/>
                  <a:gd name="connsiteX0" fmla="*/ 148557 w 474348"/>
                  <a:gd name="connsiteY0" fmla="*/ 20950 h 663840"/>
                  <a:gd name="connsiteX1" fmla="*/ 214238 w 474348"/>
                  <a:gd name="connsiteY1" fmla="*/ 0 h 663840"/>
                  <a:gd name="connsiteX2" fmla="*/ 314250 w 474348"/>
                  <a:gd name="connsiteY2" fmla="*/ 18756 h 663840"/>
                  <a:gd name="connsiteX3" fmla="*/ 474348 w 474348"/>
                  <a:gd name="connsiteY3" fmla="*/ 211225 h 663840"/>
                  <a:gd name="connsiteX4" fmla="*/ 474348 w 474348"/>
                  <a:gd name="connsiteY4" fmla="*/ 663840 h 663840"/>
                  <a:gd name="connsiteX5" fmla="*/ 474348 w 474348"/>
                  <a:gd name="connsiteY5" fmla="*/ 663840 h 663840"/>
                  <a:gd name="connsiteX6" fmla="*/ 248129 w 474348"/>
                  <a:gd name="connsiteY6" fmla="*/ 663840 h 663840"/>
                  <a:gd name="connsiteX7" fmla="*/ 0 w 474348"/>
                  <a:gd name="connsiteY7" fmla="*/ 663840 h 663840"/>
                  <a:gd name="connsiteX8" fmla="*/ 0 w 474348"/>
                  <a:gd name="connsiteY8" fmla="*/ 663840 h 663840"/>
                  <a:gd name="connsiteX9" fmla="*/ 0 w 474348"/>
                  <a:gd name="connsiteY9" fmla="*/ 211225 h 663840"/>
                  <a:gd name="connsiteX10" fmla="*/ 148557 w 474348"/>
                  <a:gd name="connsiteY10" fmla="*/ 20950 h 663840"/>
                  <a:gd name="connsiteX0" fmla="*/ 148557 w 474348"/>
                  <a:gd name="connsiteY0" fmla="*/ 20950 h 663840"/>
                  <a:gd name="connsiteX1" fmla="*/ 214238 w 474348"/>
                  <a:gd name="connsiteY1" fmla="*/ 0 h 663840"/>
                  <a:gd name="connsiteX2" fmla="*/ 314250 w 474348"/>
                  <a:gd name="connsiteY2" fmla="*/ 18756 h 663840"/>
                  <a:gd name="connsiteX3" fmla="*/ 474348 w 474348"/>
                  <a:gd name="connsiteY3" fmla="*/ 211225 h 663840"/>
                  <a:gd name="connsiteX4" fmla="*/ 474348 w 474348"/>
                  <a:gd name="connsiteY4" fmla="*/ 663840 h 663840"/>
                  <a:gd name="connsiteX5" fmla="*/ 474348 w 474348"/>
                  <a:gd name="connsiteY5" fmla="*/ 663840 h 663840"/>
                  <a:gd name="connsiteX6" fmla="*/ 248129 w 474348"/>
                  <a:gd name="connsiteY6" fmla="*/ 663840 h 663840"/>
                  <a:gd name="connsiteX7" fmla="*/ 0 w 474348"/>
                  <a:gd name="connsiteY7" fmla="*/ 663840 h 663840"/>
                  <a:gd name="connsiteX8" fmla="*/ 0 w 474348"/>
                  <a:gd name="connsiteY8" fmla="*/ 663840 h 663840"/>
                  <a:gd name="connsiteX9" fmla="*/ 0 w 474348"/>
                  <a:gd name="connsiteY9" fmla="*/ 211225 h 663840"/>
                  <a:gd name="connsiteX10" fmla="*/ 148557 w 474348"/>
                  <a:gd name="connsiteY10" fmla="*/ 20950 h 663840"/>
                  <a:gd name="connsiteX0" fmla="*/ 144178 w 474348"/>
                  <a:gd name="connsiteY0" fmla="*/ 22667 h 663840"/>
                  <a:gd name="connsiteX1" fmla="*/ 214238 w 474348"/>
                  <a:gd name="connsiteY1" fmla="*/ 0 h 663840"/>
                  <a:gd name="connsiteX2" fmla="*/ 314250 w 474348"/>
                  <a:gd name="connsiteY2" fmla="*/ 18756 h 663840"/>
                  <a:gd name="connsiteX3" fmla="*/ 474348 w 474348"/>
                  <a:gd name="connsiteY3" fmla="*/ 211225 h 663840"/>
                  <a:gd name="connsiteX4" fmla="*/ 474348 w 474348"/>
                  <a:gd name="connsiteY4" fmla="*/ 663840 h 663840"/>
                  <a:gd name="connsiteX5" fmla="*/ 474348 w 474348"/>
                  <a:gd name="connsiteY5" fmla="*/ 663840 h 663840"/>
                  <a:gd name="connsiteX6" fmla="*/ 248129 w 474348"/>
                  <a:gd name="connsiteY6" fmla="*/ 663840 h 663840"/>
                  <a:gd name="connsiteX7" fmla="*/ 0 w 474348"/>
                  <a:gd name="connsiteY7" fmla="*/ 663840 h 663840"/>
                  <a:gd name="connsiteX8" fmla="*/ 0 w 474348"/>
                  <a:gd name="connsiteY8" fmla="*/ 663840 h 663840"/>
                  <a:gd name="connsiteX9" fmla="*/ 0 w 474348"/>
                  <a:gd name="connsiteY9" fmla="*/ 211225 h 663840"/>
                  <a:gd name="connsiteX10" fmla="*/ 144178 w 474348"/>
                  <a:gd name="connsiteY10" fmla="*/ 22667 h 663840"/>
                  <a:gd name="connsiteX0" fmla="*/ 144178 w 474348"/>
                  <a:gd name="connsiteY0" fmla="*/ 22667 h 663840"/>
                  <a:gd name="connsiteX1" fmla="*/ 214238 w 474348"/>
                  <a:gd name="connsiteY1" fmla="*/ 0 h 663840"/>
                  <a:gd name="connsiteX2" fmla="*/ 314250 w 474348"/>
                  <a:gd name="connsiteY2" fmla="*/ 18756 h 663840"/>
                  <a:gd name="connsiteX3" fmla="*/ 474348 w 474348"/>
                  <a:gd name="connsiteY3" fmla="*/ 211225 h 663840"/>
                  <a:gd name="connsiteX4" fmla="*/ 474348 w 474348"/>
                  <a:gd name="connsiteY4" fmla="*/ 663840 h 663840"/>
                  <a:gd name="connsiteX5" fmla="*/ 474348 w 474348"/>
                  <a:gd name="connsiteY5" fmla="*/ 663840 h 663840"/>
                  <a:gd name="connsiteX6" fmla="*/ 248129 w 474348"/>
                  <a:gd name="connsiteY6" fmla="*/ 663840 h 663840"/>
                  <a:gd name="connsiteX7" fmla="*/ 0 w 474348"/>
                  <a:gd name="connsiteY7" fmla="*/ 663840 h 663840"/>
                  <a:gd name="connsiteX8" fmla="*/ 0 w 474348"/>
                  <a:gd name="connsiteY8" fmla="*/ 663840 h 663840"/>
                  <a:gd name="connsiteX9" fmla="*/ 0 w 474348"/>
                  <a:gd name="connsiteY9" fmla="*/ 211225 h 663840"/>
                  <a:gd name="connsiteX10" fmla="*/ 144178 w 474348"/>
                  <a:gd name="connsiteY10" fmla="*/ 22667 h 663840"/>
                  <a:gd name="connsiteX0" fmla="*/ 144178 w 474348"/>
                  <a:gd name="connsiteY0" fmla="*/ 22667 h 663840"/>
                  <a:gd name="connsiteX1" fmla="*/ 214238 w 474348"/>
                  <a:gd name="connsiteY1" fmla="*/ 0 h 663840"/>
                  <a:gd name="connsiteX2" fmla="*/ 314250 w 474348"/>
                  <a:gd name="connsiteY2" fmla="*/ 18756 h 663840"/>
                  <a:gd name="connsiteX3" fmla="*/ 474348 w 474348"/>
                  <a:gd name="connsiteY3" fmla="*/ 211225 h 663840"/>
                  <a:gd name="connsiteX4" fmla="*/ 474348 w 474348"/>
                  <a:gd name="connsiteY4" fmla="*/ 663840 h 663840"/>
                  <a:gd name="connsiteX5" fmla="*/ 474348 w 474348"/>
                  <a:gd name="connsiteY5" fmla="*/ 663840 h 663840"/>
                  <a:gd name="connsiteX6" fmla="*/ 248129 w 474348"/>
                  <a:gd name="connsiteY6" fmla="*/ 663840 h 663840"/>
                  <a:gd name="connsiteX7" fmla="*/ 0 w 474348"/>
                  <a:gd name="connsiteY7" fmla="*/ 663840 h 663840"/>
                  <a:gd name="connsiteX8" fmla="*/ 0 w 474348"/>
                  <a:gd name="connsiteY8" fmla="*/ 663840 h 663840"/>
                  <a:gd name="connsiteX9" fmla="*/ 0 w 474348"/>
                  <a:gd name="connsiteY9" fmla="*/ 211225 h 663840"/>
                  <a:gd name="connsiteX10" fmla="*/ 144178 w 474348"/>
                  <a:gd name="connsiteY10" fmla="*/ 22667 h 663840"/>
                  <a:gd name="connsiteX0" fmla="*/ 144178 w 474348"/>
                  <a:gd name="connsiteY0" fmla="*/ 22667 h 663840"/>
                  <a:gd name="connsiteX1" fmla="*/ 214238 w 474348"/>
                  <a:gd name="connsiteY1" fmla="*/ 0 h 663840"/>
                  <a:gd name="connsiteX2" fmla="*/ 314250 w 474348"/>
                  <a:gd name="connsiteY2" fmla="*/ 18756 h 663840"/>
                  <a:gd name="connsiteX3" fmla="*/ 474348 w 474348"/>
                  <a:gd name="connsiteY3" fmla="*/ 211225 h 663840"/>
                  <a:gd name="connsiteX4" fmla="*/ 474348 w 474348"/>
                  <a:gd name="connsiteY4" fmla="*/ 663840 h 663840"/>
                  <a:gd name="connsiteX5" fmla="*/ 474348 w 474348"/>
                  <a:gd name="connsiteY5" fmla="*/ 663840 h 663840"/>
                  <a:gd name="connsiteX6" fmla="*/ 248129 w 474348"/>
                  <a:gd name="connsiteY6" fmla="*/ 663840 h 663840"/>
                  <a:gd name="connsiteX7" fmla="*/ 0 w 474348"/>
                  <a:gd name="connsiteY7" fmla="*/ 663840 h 663840"/>
                  <a:gd name="connsiteX8" fmla="*/ 0 w 474348"/>
                  <a:gd name="connsiteY8" fmla="*/ 663840 h 663840"/>
                  <a:gd name="connsiteX9" fmla="*/ 0 w 474348"/>
                  <a:gd name="connsiteY9" fmla="*/ 211225 h 663840"/>
                  <a:gd name="connsiteX10" fmla="*/ 144178 w 474348"/>
                  <a:gd name="connsiteY10" fmla="*/ 22667 h 6638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74348" h="663840">
                    <a:moveTo>
                      <a:pt x="144178" y="22667"/>
                    </a:moveTo>
                    <a:cubicBezTo>
                      <a:pt x="211732" y="-970"/>
                      <a:pt x="181869" y="7990"/>
                      <a:pt x="214238" y="0"/>
                    </a:cubicBezTo>
                    <a:cubicBezTo>
                      <a:pt x="259321" y="7224"/>
                      <a:pt x="221757" y="369"/>
                      <a:pt x="314250" y="18756"/>
                    </a:cubicBezTo>
                    <a:cubicBezTo>
                      <a:pt x="399877" y="51074"/>
                      <a:pt x="474348" y="104798"/>
                      <a:pt x="474348" y="211225"/>
                    </a:cubicBezTo>
                    <a:lnTo>
                      <a:pt x="474348" y="663840"/>
                    </a:lnTo>
                    <a:lnTo>
                      <a:pt x="474348" y="663840"/>
                    </a:lnTo>
                    <a:lnTo>
                      <a:pt x="248129" y="663840"/>
                    </a:lnTo>
                    <a:lnTo>
                      <a:pt x="0" y="663840"/>
                    </a:lnTo>
                    <a:lnTo>
                      <a:pt x="0" y="663840"/>
                    </a:lnTo>
                    <a:lnTo>
                      <a:pt x="0" y="211225"/>
                    </a:lnTo>
                    <a:cubicBezTo>
                      <a:pt x="0" y="104798"/>
                      <a:pt x="80700" y="56026"/>
                      <a:pt x="144178" y="22667"/>
                    </a:cubicBezTo>
                    <a:close/>
                  </a:path>
                </a:pathLst>
              </a:cu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grpSp>
        <p:grpSp>
          <p:nvGrpSpPr>
            <p:cNvPr id="152" name="Group 151"/>
            <p:cNvGrpSpPr/>
            <p:nvPr/>
          </p:nvGrpSpPr>
          <p:grpSpPr>
            <a:xfrm rot="15300000">
              <a:off x="6430508" y="2814389"/>
              <a:ext cx="2108839" cy="101418"/>
              <a:chOff x="6437694" y="2814389"/>
              <a:chExt cx="2108839" cy="101418"/>
            </a:xfrm>
          </p:grpSpPr>
          <p:sp>
            <p:nvSpPr>
              <p:cNvPr id="153" name="Round Same Side Corner Rectangle 11"/>
              <p:cNvSpPr/>
              <p:nvPr/>
            </p:nvSpPr>
            <p:spPr>
              <a:xfrm rot="5400000" flipH="1">
                <a:off x="7969911" y="2339184"/>
                <a:ext cx="101418" cy="1051827"/>
              </a:xfrm>
              <a:custGeom>
                <a:avLst/>
                <a:gdLst>
                  <a:gd name="connsiteX0" fmla="*/ 192704 w 474348"/>
                  <a:gd name="connsiteY0" fmla="*/ 0 h 645319"/>
                  <a:gd name="connsiteX1" fmla="*/ 281644 w 474348"/>
                  <a:gd name="connsiteY1" fmla="*/ 0 h 645319"/>
                  <a:gd name="connsiteX2" fmla="*/ 474348 w 474348"/>
                  <a:gd name="connsiteY2" fmla="*/ 192704 h 645319"/>
                  <a:gd name="connsiteX3" fmla="*/ 474348 w 474348"/>
                  <a:gd name="connsiteY3" fmla="*/ 645319 h 645319"/>
                  <a:gd name="connsiteX4" fmla="*/ 474348 w 474348"/>
                  <a:gd name="connsiteY4" fmla="*/ 645319 h 645319"/>
                  <a:gd name="connsiteX5" fmla="*/ 0 w 474348"/>
                  <a:gd name="connsiteY5" fmla="*/ 645319 h 645319"/>
                  <a:gd name="connsiteX6" fmla="*/ 0 w 474348"/>
                  <a:gd name="connsiteY6" fmla="*/ 645319 h 645319"/>
                  <a:gd name="connsiteX7" fmla="*/ 0 w 474348"/>
                  <a:gd name="connsiteY7" fmla="*/ 192704 h 645319"/>
                  <a:gd name="connsiteX8" fmla="*/ 192704 w 474348"/>
                  <a:gd name="connsiteY8" fmla="*/ 0 h 645319"/>
                  <a:gd name="connsiteX0" fmla="*/ 192704 w 474348"/>
                  <a:gd name="connsiteY0" fmla="*/ 0 h 645319"/>
                  <a:gd name="connsiteX1" fmla="*/ 281644 w 474348"/>
                  <a:gd name="connsiteY1" fmla="*/ 0 h 645319"/>
                  <a:gd name="connsiteX2" fmla="*/ 474348 w 474348"/>
                  <a:gd name="connsiteY2" fmla="*/ 192704 h 645319"/>
                  <a:gd name="connsiteX3" fmla="*/ 474348 w 474348"/>
                  <a:gd name="connsiteY3" fmla="*/ 645319 h 645319"/>
                  <a:gd name="connsiteX4" fmla="*/ 474348 w 474348"/>
                  <a:gd name="connsiteY4" fmla="*/ 645319 h 645319"/>
                  <a:gd name="connsiteX5" fmla="*/ 248129 w 474348"/>
                  <a:gd name="connsiteY5" fmla="*/ 645319 h 645319"/>
                  <a:gd name="connsiteX6" fmla="*/ 0 w 474348"/>
                  <a:gd name="connsiteY6" fmla="*/ 645319 h 645319"/>
                  <a:gd name="connsiteX7" fmla="*/ 0 w 474348"/>
                  <a:gd name="connsiteY7" fmla="*/ 645319 h 645319"/>
                  <a:gd name="connsiteX8" fmla="*/ 0 w 474348"/>
                  <a:gd name="connsiteY8" fmla="*/ 192704 h 645319"/>
                  <a:gd name="connsiteX9" fmla="*/ 192704 w 474348"/>
                  <a:gd name="connsiteY9" fmla="*/ 0 h 645319"/>
                  <a:gd name="connsiteX0" fmla="*/ 192704 w 474348"/>
                  <a:gd name="connsiteY0" fmla="*/ 2381 h 647700"/>
                  <a:gd name="connsiteX1" fmla="*/ 240986 w 474348"/>
                  <a:gd name="connsiteY1" fmla="*/ 0 h 647700"/>
                  <a:gd name="connsiteX2" fmla="*/ 281644 w 474348"/>
                  <a:gd name="connsiteY2" fmla="*/ 2381 h 647700"/>
                  <a:gd name="connsiteX3" fmla="*/ 474348 w 474348"/>
                  <a:gd name="connsiteY3" fmla="*/ 195085 h 647700"/>
                  <a:gd name="connsiteX4" fmla="*/ 474348 w 474348"/>
                  <a:gd name="connsiteY4" fmla="*/ 647700 h 647700"/>
                  <a:gd name="connsiteX5" fmla="*/ 474348 w 474348"/>
                  <a:gd name="connsiteY5" fmla="*/ 647700 h 647700"/>
                  <a:gd name="connsiteX6" fmla="*/ 248129 w 474348"/>
                  <a:gd name="connsiteY6" fmla="*/ 647700 h 647700"/>
                  <a:gd name="connsiteX7" fmla="*/ 0 w 474348"/>
                  <a:gd name="connsiteY7" fmla="*/ 647700 h 647700"/>
                  <a:gd name="connsiteX8" fmla="*/ 0 w 474348"/>
                  <a:gd name="connsiteY8" fmla="*/ 647700 h 647700"/>
                  <a:gd name="connsiteX9" fmla="*/ 0 w 474348"/>
                  <a:gd name="connsiteY9" fmla="*/ 195085 h 647700"/>
                  <a:gd name="connsiteX10" fmla="*/ 192704 w 474348"/>
                  <a:gd name="connsiteY10" fmla="*/ 2381 h 647700"/>
                  <a:gd name="connsiteX0" fmla="*/ 192704 w 474348"/>
                  <a:gd name="connsiteY0" fmla="*/ 42862 h 688181"/>
                  <a:gd name="connsiteX1" fmla="*/ 240986 w 474348"/>
                  <a:gd name="connsiteY1" fmla="*/ 0 h 688181"/>
                  <a:gd name="connsiteX2" fmla="*/ 281644 w 474348"/>
                  <a:gd name="connsiteY2" fmla="*/ 42862 h 688181"/>
                  <a:gd name="connsiteX3" fmla="*/ 474348 w 474348"/>
                  <a:gd name="connsiteY3" fmla="*/ 235566 h 688181"/>
                  <a:gd name="connsiteX4" fmla="*/ 474348 w 474348"/>
                  <a:gd name="connsiteY4" fmla="*/ 688181 h 688181"/>
                  <a:gd name="connsiteX5" fmla="*/ 474348 w 474348"/>
                  <a:gd name="connsiteY5" fmla="*/ 688181 h 688181"/>
                  <a:gd name="connsiteX6" fmla="*/ 248129 w 474348"/>
                  <a:gd name="connsiteY6" fmla="*/ 688181 h 688181"/>
                  <a:gd name="connsiteX7" fmla="*/ 0 w 474348"/>
                  <a:gd name="connsiteY7" fmla="*/ 688181 h 688181"/>
                  <a:gd name="connsiteX8" fmla="*/ 0 w 474348"/>
                  <a:gd name="connsiteY8" fmla="*/ 688181 h 688181"/>
                  <a:gd name="connsiteX9" fmla="*/ 0 w 474348"/>
                  <a:gd name="connsiteY9" fmla="*/ 235566 h 688181"/>
                  <a:gd name="connsiteX10" fmla="*/ 192704 w 474348"/>
                  <a:gd name="connsiteY10" fmla="*/ 42862 h 688181"/>
                  <a:gd name="connsiteX0" fmla="*/ 192704 w 474348"/>
                  <a:gd name="connsiteY0" fmla="*/ 23812 h 669131"/>
                  <a:gd name="connsiteX1" fmla="*/ 265690 w 474348"/>
                  <a:gd name="connsiteY1" fmla="*/ 0 h 669131"/>
                  <a:gd name="connsiteX2" fmla="*/ 281644 w 474348"/>
                  <a:gd name="connsiteY2" fmla="*/ 23812 h 669131"/>
                  <a:gd name="connsiteX3" fmla="*/ 474348 w 474348"/>
                  <a:gd name="connsiteY3" fmla="*/ 216516 h 669131"/>
                  <a:gd name="connsiteX4" fmla="*/ 474348 w 474348"/>
                  <a:gd name="connsiteY4" fmla="*/ 669131 h 669131"/>
                  <a:gd name="connsiteX5" fmla="*/ 474348 w 474348"/>
                  <a:gd name="connsiteY5" fmla="*/ 669131 h 669131"/>
                  <a:gd name="connsiteX6" fmla="*/ 248129 w 474348"/>
                  <a:gd name="connsiteY6" fmla="*/ 669131 h 669131"/>
                  <a:gd name="connsiteX7" fmla="*/ 0 w 474348"/>
                  <a:gd name="connsiteY7" fmla="*/ 669131 h 669131"/>
                  <a:gd name="connsiteX8" fmla="*/ 0 w 474348"/>
                  <a:gd name="connsiteY8" fmla="*/ 669131 h 669131"/>
                  <a:gd name="connsiteX9" fmla="*/ 0 w 474348"/>
                  <a:gd name="connsiteY9" fmla="*/ 216516 h 669131"/>
                  <a:gd name="connsiteX10" fmla="*/ 192704 w 474348"/>
                  <a:gd name="connsiteY10" fmla="*/ 23812 h 669131"/>
                  <a:gd name="connsiteX0" fmla="*/ 192704 w 474348"/>
                  <a:gd name="connsiteY0" fmla="*/ 23812 h 669131"/>
                  <a:gd name="connsiteX1" fmla="*/ 265690 w 474348"/>
                  <a:gd name="connsiteY1" fmla="*/ 0 h 669131"/>
                  <a:gd name="connsiteX2" fmla="*/ 281644 w 474348"/>
                  <a:gd name="connsiteY2" fmla="*/ 23812 h 669131"/>
                  <a:gd name="connsiteX3" fmla="*/ 474348 w 474348"/>
                  <a:gd name="connsiteY3" fmla="*/ 216516 h 669131"/>
                  <a:gd name="connsiteX4" fmla="*/ 474348 w 474348"/>
                  <a:gd name="connsiteY4" fmla="*/ 669131 h 669131"/>
                  <a:gd name="connsiteX5" fmla="*/ 474348 w 474348"/>
                  <a:gd name="connsiteY5" fmla="*/ 669131 h 669131"/>
                  <a:gd name="connsiteX6" fmla="*/ 248129 w 474348"/>
                  <a:gd name="connsiteY6" fmla="*/ 669131 h 669131"/>
                  <a:gd name="connsiteX7" fmla="*/ 0 w 474348"/>
                  <a:gd name="connsiteY7" fmla="*/ 669131 h 669131"/>
                  <a:gd name="connsiteX8" fmla="*/ 0 w 474348"/>
                  <a:gd name="connsiteY8" fmla="*/ 669131 h 669131"/>
                  <a:gd name="connsiteX9" fmla="*/ 0 w 474348"/>
                  <a:gd name="connsiteY9" fmla="*/ 216516 h 669131"/>
                  <a:gd name="connsiteX10" fmla="*/ 192704 w 474348"/>
                  <a:gd name="connsiteY10" fmla="*/ 23812 h 669131"/>
                  <a:gd name="connsiteX0" fmla="*/ 192704 w 474348"/>
                  <a:gd name="connsiteY0" fmla="*/ 23812 h 669131"/>
                  <a:gd name="connsiteX1" fmla="*/ 265690 w 474348"/>
                  <a:gd name="connsiteY1" fmla="*/ 0 h 669131"/>
                  <a:gd name="connsiteX2" fmla="*/ 281644 w 474348"/>
                  <a:gd name="connsiteY2" fmla="*/ 23812 h 669131"/>
                  <a:gd name="connsiteX3" fmla="*/ 474348 w 474348"/>
                  <a:gd name="connsiteY3" fmla="*/ 216516 h 669131"/>
                  <a:gd name="connsiteX4" fmla="*/ 474348 w 474348"/>
                  <a:gd name="connsiteY4" fmla="*/ 669131 h 669131"/>
                  <a:gd name="connsiteX5" fmla="*/ 474348 w 474348"/>
                  <a:gd name="connsiteY5" fmla="*/ 669131 h 669131"/>
                  <a:gd name="connsiteX6" fmla="*/ 248129 w 474348"/>
                  <a:gd name="connsiteY6" fmla="*/ 669131 h 669131"/>
                  <a:gd name="connsiteX7" fmla="*/ 0 w 474348"/>
                  <a:gd name="connsiteY7" fmla="*/ 669131 h 669131"/>
                  <a:gd name="connsiteX8" fmla="*/ 0 w 474348"/>
                  <a:gd name="connsiteY8" fmla="*/ 669131 h 669131"/>
                  <a:gd name="connsiteX9" fmla="*/ 0 w 474348"/>
                  <a:gd name="connsiteY9" fmla="*/ 216516 h 669131"/>
                  <a:gd name="connsiteX10" fmla="*/ 192704 w 474348"/>
                  <a:gd name="connsiteY10" fmla="*/ 23812 h 669131"/>
                  <a:gd name="connsiteX0" fmla="*/ 192704 w 474348"/>
                  <a:gd name="connsiteY0" fmla="*/ 23812 h 669131"/>
                  <a:gd name="connsiteX1" fmla="*/ 265690 w 474348"/>
                  <a:gd name="connsiteY1" fmla="*/ 0 h 669131"/>
                  <a:gd name="connsiteX2" fmla="*/ 314250 w 474348"/>
                  <a:gd name="connsiteY2" fmla="*/ 24047 h 669131"/>
                  <a:gd name="connsiteX3" fmla="*/ 474348 w 474348"/>
                  <a:gd name="connsiteY3" fmla="*/ 216516 h 669131"/>
                  <a:gd name="connsiteX4" fmla="*/ 474348 w 474348"/>
                  <a:gd name="connsiteY4" fmla="*/ 669131 h 669131"/>
                  <a:gd name="connsiteX5" fmla="*/ 474348 w 474348"/>
                  <a:gd name="connsiteY5" fmla="*/ 669131 h 669131"/>
                  <a:gd name="connsiteX6" fmla="*/ 248129 w 474348"/>
                  <a:gd name="connsiteY6" fmla="*/ 669131 h 669131"/>
                  <a:gd name="connsiteX7" fmla="*/ 0 w 474348"/>
                  <a:gd name="connsiteY7" fmla="*/ 669131 h 669131"/>
                  <a:gd name="connsiteX8" fmla="*/ 0 w 474348"/>
                  <a:gd name="connsiteY8" fmla="*/ 669131 h 669131"/>
                  <a:gd name="connsiteX9" fmla="*/ 0 w 474348"/>
                  <a:gd name="connsiteY9" fmla="*/ 216516 h 669131"/>
                  <a:gd name="connsiteX10" fmla="*/ 192704 w 474348"/>
                  <a:gd name="connsiteY10" fmla="*/ 23812 h 669131"/>
                  <a:gd name="connsiteX0" fmla="*/ 192704 w 474348"/>
                  <a:gd name="connsiteY0" fmla="*/ 23812 h 669131"/>
                  <a:gd name="connsiteX1" fmla="*/ 265690 w 474348"/>
                  <a:gd name="connsiteY1" fmla="*/ 0 h 669131"/>
                  <a:gd name="connsiteX2" fmla="*/ 314250 w 474348"/>
                  <a:gd name="connsiteY2" fmla="*/ 24047 h 669131"/>
                  <a:gd name="connsiteX3" fmla="*/ 474348 w 474348"/>
                  <a:gd name="connsiteY3" fmla="*/ 216516 h 669131"/>
                  <a:gd name="connsiteX4" fmla="*/ 474348 w 474348"/>
                  <a:gd name="connsiteY4" fmla="*/ 669131 h 669131"/>
                  <a:gd name="connsiteX5" fmla="*/ 474348 w 474348"/>
                  <a:gd name="connsiteY5" fmla="*/ 669131 h 669131"/>
                  <a:gd name="connsiteX6" fmla="*/ 248129 w 474348"/>
                  <a:gd name="connsiteY6" fmla="*/ 669131 h 669131"/>
                  <a:gd name="connsiteX7" fmla="*/ 0 w 474348"/>
                  <a:gd name="connsiteY7" fmla="*/ 669131 h 669131"/>
                  <a:gd name="connsiteX8" fmla="*/ 0 w 474348"/>
                  <a:gd name="connsiteY8" fmla="*/ 669131 h 669131"/>
                  <a:gd name="connsiteX9" fmla="*/ 0 w 474348"/>
                  <a:gd name="connsiteY9" fmla="*/ 216516 h 669131"/>
                  <a:gd name="connsiteX10" fmla="*/ 192704 w 474348"/>
                  <a:gd name="connsiteY10" fmla="*/ 23812 h 669131"/>
                  <a:gd name="connsiteX0" fmla="*/ 192704 w 474348"/>
                  <a:gd name="connsiteY0" fmla="*/ 23812 h 669131"/>
                  <a:gd name="connsiteX1" fmla="*/ 265690 w 474348"/>
                  <a:gd name="connsiteY1" fmla="*/ 0 h 669131"/>
                  <a:gd name="connsiteX2" fmla="*/ 314250 w 474348"/>
                  <a:gd name="connsiteY2" fmla="*/ 24047 h 669131"/>
                  <a:gd name="connsiteX3" fmla="*/ 474348 w 474348"/>
                  <a:gd name="connsiteY3" fmla="*/ 216516 h 669131"/>
                  <a:gd name="connsiteX4" fmla="*/ 474348 w 474348"/>
                  <a:gd name="connsiteY4" fmla="*/ 669131 h 669131"/>
                  <a:gd name="connsiteX5" fmla="*/ 474348 w 474348"/>
                  <a:gd name="connsiteY5" fmla="*/ 669131 h 669131"/>
                  <a:gd name="connsiteX6" fmla="*/ 248129 w 474348"/>
                  <a:gd name="connsiteY6" fmla="*/ 669131 h 669131"/>
                  <a:gd name="connsiteX7" fmla="*/ 0 w 474348"/>
                  <a:gd name="connsiteY7" fmla="*/ 669131 h 669131"/>
                  <a:gd name="connsiteX8" fmla="*/ 0 w 474348"/>
                  <a:gd name="connsiteY8" fmla="*/ 669131 h 669131"/>
                  <a:gd name="connsiteX9" fmla="*/ 0 w 474348"/>
                  <a:gd name="connsiteY9" fmla="*/ 216516 h 669131"/>
                  <a:gd name="connsiteX10" fmla="*/ 192704 w 474348"/>
                  <a:gd name="connsiteY10" fmla="*/ 23812 h 669131"/>
                  <a:gd name="connsiteX0" fmla="*/ 174282 w 474348"/>
                  <a:gd name="connsiteY0" fmla="*/ 23596 h 669131"/>
                  <a:gd name="connsiteX1" fmla="*/ 265690 w 474348"/>
                  <a:gd name="connsiteY1" fmla="*/ 0 h 669131"/>
                  <a:gd name="connsiteX2" fmla="*/ 314250 w 474348"/>
                  <a:gd name="connsiteY2" fmla="*/ 24047 h 669131"/>
                  <a:gd name="connsiteX3" fmla="*/ 474348 w 474348"/>
                  <a:gd name="connsiteY3" fmla="*/ 216516 h 669131"/>
                  <a:gd name="connsiteX4" fmla="*/ 474348 w 474348"/>
                  <a:gd name="connsiteY4" fmla="*/ 669131 h 669131"/>
                  <a:gd name="connsiteX5" fmla="*/ 474348 w 474348"/>
                  <a:gd name="connsiteY5" fmla="*/ 669131 h 669131"/>
                  <a:gd name="connsiteX6" fmla="*/ 248129 w 474348"/>
                  <a:gd name="connsiteY6" fmla="*/ 669131 h 669131"/>
                  <a:gd name="connsiteX7" fmla="*/ 0 w 474348"/>
                  <a:gd name="connsiteY7" fmla="*/ 669131 h 669131"/>
                  <a:gd name="connsiteX8" fmla="*/ 0 w 474348"/>
                  <a:gd name="connsiteY8" fmla="*/ 669131 h 669131"/>
                  <a:gd name="connsiteX9" fmla="*/ 0 w 474348"/>
                  <a:gd name="connsiteY9" fmla="*/ 216516 h 669131"/>
                  <a:gd name="connsiteX10" fmla="*/ 174282 w 474348"/>
                  <a:gd name="connsiteY10" fmla="*/ 23596 h 669131"/>
                  <a:gd name="connsiteX0" fmla="*/ 174282 w 474348"/>
                  <a:gd name="connsiteY0" fmla="*/ 24619 h 670154"/>
                  <a:gd name="connsiteX1" fmla="*/ 216121 w 474348"/>
                  <a:gd name="connsiteY1" fmla="*/ 0 h 670154"/>
                  <a:gd name="connsiteX2" fmla="*/ 314250 w 474348"/>
                  <a:gd name="connsiteY2" fmla="*/ 25070 h 670154"/>
                  <a:gd name="connsiteX3" fmla="*/ 474348 w 474348"/>
                  <a:gd name="connsiteY3" fmla="*/ 217539 h 670154"/>
                  <a:gd name="connsiteX4" fmla="*/ 474348 w 474348"/>
                  <a:gd name="connsiteY4" fmla="*/ 670154 h 670154"/>
                  <a:gd name="connsiteX5" fmla="*/ 474348 w 474348"/>
                  <a:gd name="connsiteY5" fmla="*/ 670154 h 670154"/>
                  <a:gd name="connsiteX6" fmla="*/ 248129 w 474348"/>
                  <a:gd name="connsiteY6" fmla="*/ 670154 h 670154"/>
                  <a:gd name="connsiteX7" fmla="*/ 0 w 474348"/>
                  <a:gd name="connsiteY7" fmla="*/ 670154 h 670154"/>
                  <a:gd name="connsiteX8" fmla="*/ 0 w 474348"/>
                  <a:gd name="connsiteY8" fmla="*/ 670154 h 670154"/>
                  <a:gd name="connsiteX9" fmla="*/ 0 w 474348"/>
                  <a:gd name="connsiteY9" fmla="*/ 217539 h 670154"/>
                  <a:gd name="connsiteX10" fmla="*/ 174282 w 474348"/>
                  <a:gd name="connsiteY10" fmla="*/ 24619 h 670154"/>
                  <a:gd name="connsiteX0" fmla="*/ 174282 w 474348"/>
                  <a:gd name="connsiteY0" fmla="*/ 24619 h 670154"/>
                  <a:gd name="connsiteX1" fmla="*/ 216121 w 474348"/>
                  <a:gd name="connsiteY1" fmla="*/ 0 h 670154"/>
                  <a:gd name="connsiteX2" fmla="*/ 314250 w 474348"/>
                  <a:gd name="connsiteY2" fmla="*/ 25070 h 670154"/>
                  <a:gd name="connsiteX3" fmla="*/ 474348 w 474348"/>
                  <a:gd name="connsiteY3" fmla="*/ 217539 h 670154"/>
                  <a:gd name="connsiteX4" fmla="*/ 474348 w 474348"/>
                  <a:gd name="connsiteY4" fmla="*/ 670154 h 670154"/>
                  <a:gd name="connsiteX5" fmla="*/ 474348 w 474348"/>
                  <a:gd name="connsiteY5" fmla="*/ 670154 h 670154"/>
                  <a:gd name="connsiteX6" fmla="*/ 248129 w 474348"/>
                  <a:gd name="connsiteY6" fmla="*/ 670154 h 670154"/>
                  <a:gd name="connsiteX7" fmla="*/ 0 w 474348"/>
                  <a:gd name="connsiteY7" fmla="*/ 670154 h 670154"/>
                  <a:gd name="connsiteX8" fmla="*/ 0 w 474348"/>
                  <a:gd name="connsiteY8" fmla="*/ 670154 h 670154"/>
                  <a:gd name="connsiteX9" fmla="*/ 0 w 474348"/>
                  <a:gd name="connsiteY9" fmla="*/ 217539 h 670154"/>
                  <a:gd name="connsiteX10" fmla="*/ 174282 w 474348"/>
                  <a:gd name="connsiteY10" fmla="*/ 24619 h 670154"/>
                  <a:gd name="connsiteX0" fmla="*/ 174282 w 474348"/>
                  <a:gd name="connsiteY0" fmla="*/ 24619 h 670154"/>
                  <a:gd name="connsiteX1" fmla="*/ 216121 w 474348"/>
                  <a:gd name="connsiteY1" fmla="*/ 0 h 670154"/>
                  <a:gd name="connsiteX2" fmla="*/ 314250 w 474348"/>
                  <a:gd name="connsiteY2" fmla="*/ 25070 h 670154"/>
                  <a:gd name="connsiteX3" fmla="*/ 474348 w 474348"/>
                  <a:gd name="connsiteY3" fmla="*/ 217539 h 670154"/>
                  <a:gd name="connsiteX4" fmla="*/ 474348 w 474348"/>
                  <a:gd name="connsiteY4" fmla="*/ 670154 h 670154"/>
                  <a:gd name="connsiteX5" fmla="*/ 474348 w 474348"/>
                  <a:gd name="connsiteY5" fmla="*/ 670154 h 670154"/>
                  <a:gd name="connsiteX6" fmla="*/ 248129 w 474348"/>
                  <a:gd name="connsiteY6" fmla="*/ 670154 h 670154"/>
                  <a:gd name="connsiteX7" fmla="*/ 0 w 474348"/>
                  <a:gd name="connsiteY7" fmla="*/ 670154 h 670154"/>
                  <a:gd name="connsiteX8" fmla="*/ 0 w 474348"/>
                  <a:gd name="connsiteY8" fmla="*/ 670154 h 670154"/>
                  <a:gd name="connsiteX9" fmla="*/ 0 w 474348"/>
                  <a:gd name="connsiteY9" fmla="*/ 217539 h 670154"/>
                  <a:gd name="connsiteX10" fmla="*/ 174282 w 474348"/>
                  <a:gd name="connsiteY10" fmla="*/ 24619 h 670154"/>
                  <a:gd name="connsiteX0" fmla="*/ 174282 w 474348"/>
                  <a:gd name="connsiteY0" fmla="*/ 24619 h 670154"/>
                  <a:gd name="connsiteX1" fmla="*/ 216121 w 474348"/>
                  <a:gd name="connsiteY1" fmla="*/ 0 h 670154"/>
                  <a:gd name="connsiteX2" fmla="*/ 314250 w 474348"/>
                  <a:gd name="connsiteY2" fmla="*/ 25070 h 670154"/>
                  <a:gd name="connsiteX3" fmla="*/ 474348 w 474348"/>
                  <a:gd name="connsiteY3" fmla="*/ 217539 h 670154"/>
                  <a:gd name="connsiteX4" fmla="*/ 474348 w 474348"/>
                  <a:gd name="connsiteY4" fmla="*/ 670154 h 670154"/>
                  <a:gd name="connsiteX5" fmla="*/ 474348 w 474348"/>
                  <a:gd name="connsiteY5" fmla="*/ 670154 h 670154"/>
                  <a:gd name="connsiteX6" fmla="*/ 248129 w 474348"/>
                  <a:gd name="connsiteY6" fmla="*/ 670154 h 670154"/>
                  <a:gd name="connsiteX7" fmla="*/ 0 w 474348"/>
                  <a:gd name="connsiteY7" fmla="*/ 670154 h 670154"/>
                  <a:gd name="connsiteX8" fmla="*/ 0 w 474348"/>
                  <a:gd name="connsiteY8" fmla="*/ 670154 h 670154"/>
                  <a:gd name="connsiteX9" fmla="*/ 0 w 474348"/>
                  <a:gd name="connsiteY9" fmla="*/ 217539 h 670154"/>
                  <a:gd name="connsiteX10" fmla="*/ 174282 w 474348"/>
                  <a:gd name="connsiteY10" fmla="*/ 24619 h 670154"/>
                  <a:gd name="connsiteX0" fmla="*/ 148557 w 474348"/>
                  <a:gd name="connsiteY0" fmla="*/ 27264 h 670154"/>
                  <a:gd name="connsiteX1" fmla="*/ 216121 w 474348"/>
                  <a:gd name="connsiteY1" fmla="*/ 0 h 670154"/>
                  <a:gd name="connsiteX2" fmla="*/ 314250 w 474348"/>
                  <a:gd name="connsiteY2" fmla="*/ 25070 h 670154"/>
                  <a:gd name="connsiteX3" fmla="*/ 474348 w 474348"/>
                  <a:gd name="connsiteY3" fmla="*/ 217539 h 670154"/>
                  <a:gd name="connsiteX4" fmla="*/ 474348 w 474348"/>
                  <a:gd name="connsiteY4" fmla="*/ 670154 h 670154"/>
                  <a:gd name="connsiteX5" fmla="*/ 474348 w 474348"/>
                  <a:gd name="connsiteY5" fmla="*/ 670154 h 670154"/>
                  <a:gd name="connsiteX6" fmla="*/ 248129 w 474348"/>
                  <a:gd name="connsiteY6" fmla="*/ 670154 h 670154"/>
                  <a:gd name="connsiteX7" fmla="*/ 0 w 474348"/>
                  <a:gd name="connsiteY7" fmla="*/ 670154 h 670154"/>
                  <a:gd name="connsiteX8" fmla="*/ 0 w 474348"/>
                  <a:gd name="connsiteY8" fmla="*/ 670154 h 670154"/>
                  <a:gd name="connsiteX9" fmla="*/ 0 w 474348"/>
                  <a:gd name="connsiteY9" fmla="*/ 217539 h 670154"/>
                  <a:gd name="connsiteX10" fmla="*/ 148557 w 474348"/>
                  <a:gd name="connsiteY10" fmla="*/ 27264 h 670154"/>
                  <a:gd name="connsiteX0" fmla="*/ 148557 w 474348"/>
                  <a:gd name="connsiteY0" fmla="*/ 20950 h 663840"/>
                  <a:gd name="connsiteX1" fmla="*/ 214238 w 474348"/>
                  <a:gd name="connsiteY1" fmla="*/ 0 h 663840"/>
                  <a:gd name="connsiteX2" fmla="*/ 314250 w 474348"/>
                  <a:gd name="connsiteY2" fmla="*/ 18756 h 663840"/>
                  <a:gd name="connsiteX3" fmla="*/ 474348 w 474348"/>
                  <a:gd name="connsiteY3" fmla="*/ 211225 h 663840"/>
                  <a:gd name="connsiteX4" fmla="*/ 474348 w 474348"/>
                  <a:gd name="connsiteY4" fmla="*/ 663840 h 663840"/>
                  <a:gd name="connsiteX5" fmla="*/ 474348 w 474348"/>
                  <a:gd name="connsiteY5" fmla="*/ 663840 h 663840"/>
                  <a:gd name="connsiteX6" fmla="*/ 248129 w 474348"/>
                  <a:gd name="connsiteY6" fmla="*/ 663840 h 663840"/>
                  <a:gd name="connsiteX7" fmla="*/ 0 w 474348"/>
                  <a:gd name="connsiteY7" fmla="*/ 663840 h 663840"/>
                  <a:gd name="connsiteX8" fmla="*/ 0 w 474348"/>
                  <a:gd name="connsiteY8" fmla="*/ 663840 h 663840"/>
                  <a:gd name="connsiteX9" fmla="*/ 0 w 474348"/>
                  <a:gd name="connsiteY9" fmla="*/ 211225 h 663840"/>
                  <a:gd name="connsiteX10" fmla="*/ 148557 w 474348"/>
                  <a:gd name="connsiteY10" fmla="*/ 20950 h 663840"/>
                  <a:gd name="connsiteX0" fmla="*/ 148557 w 474348"/>
                  <a:gd name="connsiteY0" fmla="*/ 20950 h 663840"/>
                  <a:gd name="connsiteX1" fmla="*/ 214238 w 474348"/>
                  <a:gd name="connsiteY1" fmla="*/ 0 h 663840"/>
                  <a:gd name="connsiteX2" fmla="*/ 314250 w 474348"/>
                  <a:gd name="connsiteY2" fmla="*/ 18756 h 663840"/>
                  <a:gd name="connsiteX3" fmla="*/ 474348 w 474348"/>
                  <a:gd name="connsiteY3" fmla="*/ 211225 h 663840"/>
                  <a:gd name="connsiteX4" fmla="*/ 474348 w 474348"/>
                  <a:gd name="connsiteY4" fmla="*/ 663840 h 663840"/>
                  <a:gd name="connsiteX5" fmla="*/ 474348 w 474348"/>
                  <a:gd name="connsiteY5" fmla="*/ 663840 h 663840"/>
                  <a:gd name="connsiteX6" fmla="*/ 248129 w 474348"/>
                  <a:gd name="connsiteY6" fmla="*/ 663840 h 663840"/>
                  <a:gd name="connsiteX7" fmla="*/ 0 w 474348"/>
                  <a:gd name="connsiteY7" fmla="*/ 663840 h 663840"/>
                  <a:gd name="connsiteX8" fmla="*/ 0 w 474348"/>
                  <a:gd name="connsiteY8" fmla="*/ 663840 h 663840"/>
                  <a:gd name="connsiteX9" fmla="*/ 0 w 474348"/>
                  <a:gd name="connsiteY9" fmla="*/ 211225 h 663840"/>
                  <a:gd name="connsiteX10" fmla="*/ 148557 w 474348"/>
                  <a:gd name="connsiteY10" fmla="*/ 20950 h 663840"/>
                  <a:gd name="connsiteX0" fmla="*/ 148557 w 474348"/>
                  <a:gd name="connsiteY0" fmla="*/ 20950 h 663840"/>
                  <a:gd name="connsiteX1" fmla="*/ 214238 w 474348"/>
                  <a:gd name="connsiteY1" fmla="*/ 0 h 663840"/>
                  <a:gd name="connsiteX2" fmla="*/ 314250 w 474348"/>
                  <a:gd name="connsiteY2" fmla="*/ 18756 h 663840"/>
                  <a:gd name="connsiteX3" fmla="*/ 474348 w 474348"/>
                  <a:gd name="connsiteY3" fmla="*/ 211225 h 663840"/>
                  <a:gd name="connsiteX4" fmla="*/ 474348 w 474348"/>
                  <a:gd name="connsiteY4" fmla="*/ 663840 h 663840"/>
                  <a:gd name="connsiteX5" fmla="*/ 474348 w 474348"/>
                  <a:gd name="connsiteY5" fmla="*/ 663840 h 663840"/>
                  <a:gd name="connsiteX6" fmla="*/ 248129 w 474348"/>
                  <a:gd name="connsiteY6" fmla="*/ 663840 h 663840"/>
                  <a:gd name="connsiteX7" fmla="*/ 0 w 474348"/>
                  <a:gd name="connsiteY7" fmla="*/ 663840 h 663840"/>
                  <a:gd name="connsiteX8" fmla="*/ 0 w 474348"/>
                  <a:gd name="connsiteY8" fmla="*/ 663840 h 663840"/>
                  <a:gd name="connsiteX9" fmla="*/ 0 w 474348"/>
                  <a:gd name="connsiteY9" fmla="*/ 211225 h 663840"/>
                  <a:gd name="connsiteX10" fmla="*/ 148557 w 474348"/>
                  <a:gd name="connsiteY10" fmla="*/ 20950 h 663840"/>
                  <a:gd name="connsiteX0" fmla="*/ 144178 w 474348"/>
                  <a:gd name="connsiteY0" fmla="*/ 22667 h 663840"/>
                  <a:gd name="connsiteX1" fmla="*/ 214238 w 474348"/>
                  <a:gd name="connsiteY1" fmla="*/ 0 h 663840"/>
                  <a:gd name="connsiteX2" fmla="*/ 314250 w 474348"/>
                  <a:gd name="connsiteY2" fmla="*/ 18756 h 663840"/>
                  <a:gd name="connsiteX3" fmla="*/ 474348 w 474348"/>
                  <a:gd name="connsiteY3" fmla="*/ 211225 h 663840"/>
                  <a:gd name="connsiteX4" fmla="*/ 474348 w 474348"/>
                  <a:gd name="connsiteY4" fmla="*/ 663840 h 663840"/>
                  <a:gd name="connsiteX5" fmla="*/ 474348 w 474348"/>
                  <a:gd name="connsiteY5" fmla="*/ 663840 h 663840"/>
                  <a:gd name="connsiteX6" fmla="*/ 248129 w 474348"/>
                  <a:gd name="connsiteY6" fmla="*/ 663840 h 663840"/>
                  <a:gd name="connsiteX7" fmla="*/ 0 w 474348"/>
                  <a:gd name="connsiteY7" fmla="*/ 663840 h 663840"/>
                  <a:gd name="connsiteX8" fmla="*/ 0 w 474348"/>
                  <a:gd name="connsiteY8" fmla="*/ 663840 h 663840"/>
                  <a:gd name="connsiteX9" fmla="*/ 0 w 474348"/>
                  <a:gd name="connsiteY9" fmla="*/ 211225 h 663840"/>
                  <a:gd name="connsiteX10" fmla="*/ 144178 w 474348"/>
                  <a:gd name="connsiteY10" fmla="*/ 22667 h 663840"/>
                  <a:gd name="connsiteX0" fmla="*/ 144178 w 474348"/>
                  <a:gd name="connsiteY0" fmla="*/ 22667 h 663840"/>
                  <a:gd name="connsiteX1" fmla="*/ 214238 w 474348"/>
                  <a:gd name="connsiteY1" fmla="*/ 0 h 663840"/>
                  <a:gd name="connsiteX2" fmla="*/ 314250 w 474348"/>
                  <a:gd name="connsiteY2" fmla="*/ 18756 h 663840"/>
                  <a:gd name="connsiteX3" fmla="*/ 474348 w 474348"/>
                  <a:gd name="connsiteY3" fmla="*/ 211225 h 663840"/>
                  <a:gd name="connsiteX4" fmla="*/ 474348 w 474348"/>
                  <a:gd name="connsiteY4" fmla="*/ 663840 h 663840"/>
                  <a:gd name="connsiteX5" fmla="*/ 474348 w 474348"/>
                  <a:gd name="connsiteY5" fmla="*/ 663840 h 663840"/>
                  <a:gd name="connsiteX6" fmla="*/ 248129 w 474348"/>
                  <a:gd name="connsiteY6" fmla="*/ 663840 h 663840"/>
                  <a:gd name="connsiteX7" fmla="*/ 0 w 474348"/>
                  <a:gd name="connsiteY7" fmla="*/ 663840 h 663840"/>
                  <a:gd name="connsiteX8" fmla="*/ 0 w 474348"/>
                  <a:gd name="connsiteY8" fmla="*/ 663840 h 663840"/>
                  <a:gd name="connsiteX9" fmla="*/ 0 w 474348"/>
                  <a:gd name="connsiteY9" fmla="*/ 211225 h 663840"/>
                  <a:gd name="connsiteX10" fmla="*/ 144178 w 474348"/>
                  <a:gd name="connsiteY10" fmla="*/ 22667 h 663840"/>
                  <a:gd name="connsiteX0" fmla="*/ 144178 w 474348"/>
                  <a:gd name="connsiteY0" fmla="*/ 22667 h 663840"/>
                  <a:gd name="connsiteX1" fmla="*/ 214238 w 474348"/>
                  <a:gd name="connsiteY1" fmla="*/ 0 h 663840"/>
                  <a:gd name="connsiteX2" fmla="*/ 314250 w 474348"/>
                  <a:gd name="connsiteY2" fmla="*/ 18756 h 663840"/>
                  <a:gd name="connsiteX3" fmla="*/ 474348 w 474348"/>
                  <a:gd name="connsiteY3" fmla="*/ 211225 h 663840"/>
                  <a:gd name="connsiteX4" fmla="*/ 474348 w 474348"/>
                  <a:gd name="connsiteY4" fmla="*/ 663840 h 663840"/>
                  <a:gd name="connsiteX5" fmla="*/ 474348 w 474348"/>
                  <a:gd name="connsiteY5" fmla="*/ 663840 h 663840"/>
                  <a:gd name="connsiteX6" fmla="*/ 248129 w 474348"/>
                  <a:gd name="connsiteY6" fmla="*/ 663840 h 663840"/>
                  <a:gd name="connsiteX7" fmla="*/ 0 w 474348"/>
                  <a:gd name="connsiteY7" fmla="*/ 663840 h 663840"/>
                  <a:gd name="connsiteX8" fmla="*/ 0 w 474348"/>
                  <a:gd name="connsiteY8" fmla="*/ 663840 h 663840"/>
                  <a:gd name="connsiteX9" fmla="*/ 0 w 474348"/>
                  <a:gd name="connsiteY9" fmla="*/ 211225 h 663840"/>
                  <a:gd name="connsiteX10" fmla="*/ 144178 w 474348"/>
                  <a:gd name="connsiteY10" fmla="*/ 22667 h 663840"/>
                  <a:gd name="connsiteX0" fmla="*/ 144178 w 474348"/>
                  <a:gd name="connsiteY0" fmla="*/ 22667 h 663840"/>
                  <a:gd name="connsiteX1" fmla="*/ 214238 w 474348"/>
                  <a:gd name="connsiteY1" fmla="*/ 0 h 663840"/>
                  <a:gd name="connsiteX2" fmla="*/ 314250 w 474348"/>
                  <a:gd name="connsiteY2" fmla="*/ 18756 h 663840"/>
                  <a:gd name="connsiteX3" fmla="*/ 474348 w 474348"/>
                  <a:gd name="connsiteY3" fmla="*/ 211225 h 663840"/>
                  <a:gd name="connsiteX4" fmla="*/ 474348 w 474348"/>
                  <a:gd name="connsiteY4" fmla="*/ 663840 h 663840"/>
                  <a:gd name="connsiteX5" fmla="*/ 474348 w 474348"/>
                  <a:gd name="connsiteY5" fmla="*/ 663840 h 663840"/>
                  <a:gd name="connsiteX6" fmla="*/ 248129 w 474348"/>
                  <a:gd name="connsiteY6" fmla="*/ 663840 h 663840"/>
                  <a:gd name="connsiteX7" fmla="*/ 0 w 474348"/>
                  <a:gd name="connsiteY7" fmla="*/ 663840 h 663840"/>
                  <a:gd name="connsiteX8" fmla="*/ 0 w 474348"/>
                  <a:gd name="connsiteY8" fmla="*/ 663840 h 663840"/>
                  <a:gd name="connsiteX9" fmla="*/ 0 w 474348"/>
                  <a:gd name="connsiteY9" fmla="*/ 211225 h 663840"/>
                  <a:gd name="connsiteX10" fmla="*/ 144178 w 474348"/>
                  <a:gd name="connsiteY10" fmla="*/ 22667 h 6638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74348" h="663840">
                    <a:moveTo>
                      <a:pt x="144178" y="22667"/>
                    </a:moveTo>
                    <a:cubicBezTo>
                      <a:pt x="211732" y="-970"/>
                      <a:pt x="181869" y="7990"/>
                      <a:pt x="214238" y="0"/>
                    </a:cubicBezTo>
                    <a:cubicBezTo>
                      <a:pt x="259321" y="7224"/>
                      <a:pt x="221757" y="369"/>
                      <a:pt x="314250" y="18756"/>
                    </a:cubicBezTo>
                    <a:cubicBezTo>
                      <a:pt x="399877" y="51074"/>
                      <a:pt x="474348" y="104798"/>
                      <a:pt x="474348" y="211225"/>
                    </a:cubicBezTo>
                    <a:lnTo>
                      <a:pt x="474348" y="663840"/>
                    </a:lnTo>
                    <a:lnTo>
                      <a:pt x="474348" y="663840"/>
                    </a:lnTo>
                    <a:lnTo>
                      <a:pt x="248129" y="663840"/>
                    </a:lnTo>
                    <a:lnTo>
                      <a:pt x="0" y="663840"/>
                    </a:lnTo>
                    <a:lnTo>
                      <a:pt x="0" y="663840"/>
                    </a:lnTo>
                    <a:lnTo>
                      <a:pt x="0" y="211225"/>
                    </a:lnTo>
                    <a:cubicBezTo>
                      <a:pt x="0" y="104798"/>
                      <a:pt x="80700" y="56026"/>
                      <a:pt x="144178" y="22667"/>
                    </a:cubicBezTo>
                    <a:close/>
                  </a:path>
                </a:pathLst>
              </a:cu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54" name="Round Same Side Corner Rectangle 11"/>
              <p:cNvSpPr/>
              <p:nvPr/>
            </p:nvSpPr>
            <p:spPr>
              <a:xfrm rot="16200000">
                <a:off x="6912899" y="2339184"/>
                <a:ext cx="101418" cy="1051827"/>
              </a:xfrm>
              <a:custGeom>
                <a:avLst/>
                <a:gdLst>
                  <a:gd name="connsiteX0" fmla="*/ 192704 w 474348"/>
                  <a:gd name="connsiteY0" fmla="*/ 0 h 645319"/>
                  <a:gd name="connsiteX1" fmla="*/ 281644 w 474348"/>
                  <a:gd name="connsiteY1" fmla="*/ 0 h 645319"/>
                  <a:gd name="connsiteX2" fmla="*/ 474348 w 474348"/>
                  <a:gd name="connsiteY2" fmla="*/ 192704 h 645319"/>
                  <a:gd name="connsiteX3" fmla="*/ 474348 w 474348"/>
                  <a:gd name="connsiteY3" fmla="*/ 645319 h 645319"/>
                  <a:gd name="connsiteX4" fmla="*/ 474348 w 474348"/>
                  <a:gd name="connsiteY4" fmla="*/ 645319 h 645319"/>
                  <a:gd name="connsiteX5" fmla="*/ 0 w 474348"/>
                  <a:gd name="connsiteY5" fmla="*/ 645319 h 645319"/>
                  <a:gd name="connsiteX6" fmla="*/ 0 w 474348"/>
                  <a:gd name="connsiteY6" fmla="*/ 645319 h 645319"/>
                  <a:gd name="connsiteX7" fmla="*/ 0 w 474348"/>
                  <a:gd name="connsiteY7" fmla="*/ 192704 h 645319"/>
                  <a:gd name="connsiteX8" fmla="*/ 192704 w 474348"/>
                  <a:gd name="connsiteY8" fmla="*/ 0 h 645319"/>
                  <a:gd name="connsiteX0" fmla="*/ 192704 w 474348"/>
                  <a:gd name="connsiteY0" fmla="*/ 0 h 645319"/>
                  <a:gd name="connsiteX1" fmla="*/ 281644 w 474348"/>
                  <a:gd name="connsiteY1" fmla="*/ 0 h 645319"/>
                  <a:gd name="connsiteX2" fmla="*/ 474348 w 474348"/>
                  <a:gd name="connsiteY2" fmla="*/ 192704 h 645319"/>
                  <a:gd name="connsiteX3" fmla="*/ 474348 w 474348"/>
                  <a:gd name="connsiteY3" fmla="*/ 645319 h 645319"/>
                  <a:gd name="connsiteX4" fmla="*/ 474348 w 474348"/>
                  <a:gd name="connsiteY4" fmla="*/ 645319 h 645319"/>
                  <a:gd name="connsiteX5" fmla="*/ 248129 w 474348"/>
                  <a:gd name="connsiteY5" fmla="*/ 645319 h 645319"/>
                  <a:gd name="connsiteX6" fmla="*/ 0 w 474348"/>
                  <a:gd name="connsiteY6" fmla="*/ 645319 h 645319"/>
                  <a:gd name="connsiteX7" fmla="*/ 0 w 474348"/>
                  <a:gd name="connsiteY7" fmla="*/ 645319 h 645319"/>
                  <a:gd name="connsiteX8" fmla="*/ 0 w 474348"/>
                  <a:gd name="connsiteY8" fmla="*/ 192704 h 645319"/>
                  <a:gd name="connsiteX9" fmla="*/ 192704 w 474348"/>
                  <a:gd name="connsiteY9" fmla="*/ 0 h 645319"/>
                  <a:gd name="connsiteX0" fmla="*/ 192704 w 474348"/>
                  <a:gd name="connsiteY0" fmla="*/ 2381 h 647700"/>
                  <a:gd name="connsiteX1" fmla="*/ 240986 w 474348"/>
                  <a:gd name="connsiteY1" fmla="*/ 0 h 647700"/>
                  <a:gd name="connsiteX2" fmla="*/ 281644 w 474348"/>
                  <a:gd name="connsiteY2" fmla="*/ 2381 h 647700"/>
                  <a:gd name="connsiteX3" fmla="*/ 474348 w 474348"/>
                  <a:gd name="connsiteY3" fmla="*/ 195085 h 647700"/>
                  <a:gd name="connsiteX4" fmla="*/ 474348 w 474348"/>
                  <a:gd name="connsiteY4" fmla="*/ 647700 h 647700"/>
                  <a:gd name="connsiteX5" fmla="*/ 474348 w 474348"/>
                  <a:gd name="connsiteY5" fmla="*/ 647700 h 647700"/>
                  <a:gd name="connsiteX6" fmla="*/ 248129 w 474348"/>
                  <a:gd name="connsiteY6" fmla="*/ 647700 h 647700"/>
                  <a:gd name="connsiteX7" fmla="*/ 0 w 474348"/>
                  <a:gd name="connsiteY7" fmla="*/ 647700 h 647700"/>
                  <a:gd name="connsiteX8" fmla="*/ 0 w 474348"/>
                  <a:gd name="connsiteY8" fmla="*/ 647700 h 647700"/>
                  <a:gd name="connsiteX9" fmla="*/ 0 w 474348"/>
                  <a:gd name="connsiteY9" fmla="*/ 195085 h 647700"/>
                  <a:gd name="connsiteX10" fmla="*/ 192704 w 474348"/>
                  <a:gd name="connsiteY10" fmla="*/ 2381 h 647700"/>
                  <a:gd name="connsiteX0" fmla="*/ 192704 w 474348"/>
                  <a:gd name="connsiteY0" fmla="*/ 42862 h 688181"/>
                  <a:gd name="connsiteX1" fmla="*/ 240986 w 474348"/>
                  <a:gd name="connsiteY1" fmla="*/ 0 h 688181"/>
                  <a:gd name="connsiteX2" fmla="*/ 281644 w 474348"/>
                  <a:gd name="connsiteY2" fmla="*/ 42862 h 688181"/>
                  <a:gd name="connsiteX3" fmla="*/ 474348 w 474348"/>
                  <a:gd name="connsiteY3" fmla="*/ 235566 h 688181"/>
                  <a:gd name="connsiteX4" fmla="*/ 474348 w 474348"/>
                  <a:gd name="connsiteY4" fmla="*/ 688181 h 688181"/>
                  <a:gd name="connsiteX5" fmla="*/ 474348 w 474348"/>
                  <a:gd name="connsiteY5" fmla="*/ 688181 h 688181"/>
                  <a:gd name="connsiteX6" fmla="*/ 248129 w 474348"/>
                  <a:gd name="connsiteY6" fmla="*/ 688181 h 688181"/>
                  <a:gd name="connsiteX7" fmla="*/ 0 w 474348"/>
                  <a:gd name="connsiteY7" fmla="*/ 688181 h 688181"/>
                  <a:gd name="connsiteX8" fmla="*/ 0 w 474348"/>
                  <a:gd name="connsiteY8" fmla="*/ 688181 h 688181"/>
                  <a:gd name="connsiteX9" fmla="*/ 0 w 474348"/>
                  <a:gd name="connsiteY9" fmla="*/ 235566 h 688181"/>
                  <a:gd name="connsiteX10" fmla="*/ 192704 w 474348"/>
                  <a:gd name="connsiteY10" fmla="*/ 42862 h 688181"/>
                  <a:gd name="connsiteX0" fmla="*/ 192704 w 474348"/>
                  <a:gd name="connsiteY0" fmla="*/ 23812 h 669131"/>
                  <a:gd name="connsiteX1" fmla="*/ 265690 w 474348"/>
                  <a:gd name="connsiteY1" fmla="*/ 0 h 669131"/>
                  <a:gd name="connsiteX2" fmla="*/ 281644 w 474348"/>
                  <a:gd name="connsiteY2" fmla="*/ 23812 h 669131"/>
                  <a:gd name="connsiteX3" fmla="*/ 474348 w 474348"/>
                  <a:gd name="connsiteY3" fmla="*/ 216516 h 669131"/>
                  <a:gd name="connsiteX4" fmla="*/ 474348 w 474348"/>
                  <a:gd name="connsiteY4" fmla="*/ 669131 h 669131"/>
                  <a:gd name="connsiteX5" fmla="*/ 474348 w 474348"/>
                  <a:gd name="connsiteY5" fmla="*/ 669131 h 669131"/>
                  <a:gd name="connsiteX6" fmla="*/ 248129 w 474348"/>
                  <a:gd name="connsiteY6" fmla="*/ 669131 h 669131"/>
                  <a:gd name="connsiteX7" fmla="*/ 0 w 474348"/>
                  <a:gd name="connsiteY7" fmla="*/ 669131 h 669131"/>
                  <a:gd name="connsiteX8" fmla="*/ 0 w 474348"/>
                  <a:gd name="connsiteY8" fmla="*/ 669131 h 669131"/>
                  <a:gd name="connsiteX9" fmla="*/ 0 w 474348"/>
                  <a:gd name="connsiteY9" fmla="*/ 216516 h 669131"/>
                  <a:gd name="connsiteX10" fmla="*/ 192704 w 474348"/>
                  <a:gd name="connsiteY10" fmla="*/ 23812 h 669131"/>
                  <a:gd name="connsiteX0" fmla="*/ 192704 w 474348"/>
                  <a:gd name="connsiteY0" fmla="*/ 23812 h 669131"/>
                  <a:gd name="connsiteX1" fmla="*/ 265690 w 474348"/>
                  <a:gd name="connsiteY1" fmla="*/ 0 h 669131"/>
                  <a:gd name="connsiteX2" fmla="*/ 281644 w 474348"/>
                  <a:gd name="connsiteY2" fmla="*/ 23812 h 669131"/>
                  <a:gd name="connsiteX3" fmla="*/ 474348 w 474348"/>
                  <a:gd name="connsiteY3" fmla="*/ 216516 h 669131"/>
                  <a:gd name="connsiteX4" fmla="*/ 474348 w 474348"/>
                  <a:gd name="connsiteY4" fmla="*/ 669131 h 669131"/>
                  <a:gd name="connsiteX5" fmla="*/ 474348 w 474348"/>
                  <a:gd name="connsiteY5" fmla="*/ 669131 h 669131"/>
                  <a:gd name="connsiteX6" fmla="*/ 248129 w 474348"/>
                  <a:gd name="connsiteY6" fmla="*/ 669131 h 669131"/>
                  <a:gd name="connsiteX7" fmla="*/ 0 w 474348"/>
                  <a:gd name="connsiteY7" fmla="*/ 669131 h 669131"/>
                  <a:gd name="connsiteX8" fmla="*/ 0 w 474348"/>
                  <a:gd name="connsiteY8" fmla="*/ 669131 h 669131"/>
                  <a:gd name="connsiteX9" fmla="*/ 0 w 474348"/>
                  <a:gd name="connsiteY9" fmla="*/ 216516 h 669131"/>
                  <a:gd name="connsiteX10" fmla="*/ 192704 w 474348"/>
                  <a:gd name="connsiteY10" fmla="*/ 23812 h 669131"/>
                  <a:gd name="connsiteX0" fmla="*/ 192704 w 474348"/>
                  <a:gd name="connsiteY0" fmla="*/ 23812 h 669131"/>
                  <a:gd name="connsiteX1" fmla="*/ 265690 w 474348"/>
                  <a:gd name="connsiteY1" fmla="*/ 0 h 669131"/>
                  <a:gd name="connsiteX2" fmla="*/ 281644 w 474348"/>
                  <a:gd name="connsiteY2" fmla="*/ 23812 h 669131"/>
                  <a:gd name="connsiteX3" fmla="*/ 474348 w 474348"/>
                  <a:gd name="connsiteY3" fmla="*/ 216516 h 669131"/>
                  <a:gd name="connsiteX4" fmla="*/ 474348 w 474348"/>
                  <a:gd name="connsiteY4" fmla="*/ 669131 h 669131"/>
                  <a:gd name="connsiteX5" fmla="*/ 474348 w 474348"/>
                  <a:gd name="connsiteY5" fmla="*/ 669131 h 669131"/>
                  <a:gd name="connsiteX6" fmla="*/ 248129 w 474348"/>
                  <a:gd name="connsiteY6" fmla="*/ 669131 h 669131"/>
                  <a:gd name="connsiteX7" fmla="*/ 0 w 474348"/>
                  <a:gd name="connsiteY7" fmla="*/ 669131 h 669131"/>
                  <a:gd name="connsiteX8" fmla="*/ 0 w 474348"/>
                  <a:gd name="connsiteY8" fmla="*/ 669131 h 669131"/>
                  <a:gd name="connsiteX9" fmla="*/ 0 w 474348"/>
                  <a:gd name="connsiteY9" fmla="*/ 216516 h 669131"/>
                  <a:gd name="connsiteX10" fmla="*/ 192704 w 474348"/>
                  <a:gd name="connsiteY10" fmla="*/ 23812 h 669131"/>
                  <a:gd name="connsiteX0" fmla="*/ 192704 w 474348"/>
                  <a:gd name="connsiteY0" fmla="*/ 23812 h 669131"/>
                  <a:gd name="connsiteX1" fmla="*/ 265690 w 474348"/>
                  <a:gd name="connsiteY1" fmla="*/ 0 h 669131"/>
                  <a:gd name="connsiteX2" fmla="*/ 314250 w 474348"/>
                  <a:gd name="connsiteY2" fmla="*/ 24047 h 669131"/>
                  <a:gd name="connsiteX3" fmla="*/ 474348 w 474348"/>
                  <a:gd name="connsiteY3" fmla="*/ 216516 h 669131"/>
                  <a:gd name="connsiteX4" fmla="*/ 474348 w 474348"/>
                  <a:gd name="connsiteY4" fmla="*/ 669131 h 669131"/>
                  <a:gd name="connsiteX5" fmla="*/ 474348 w 474348"/>
                  <a:gd name="connsiteY5" fmla="*/ 669131 h 669131"/>
                  <a:gd name="connsiteX6" fmla="*/ 248129 w 474348"/>
                  <a:gd name="connsiteY6" fmla="*/ 669131 h 669131"/>
                  <a:gd name="connsiteX7" fmla="*/ 0 w 474348"/>
                  <a:gd name="connsiteY7" fmla="*/ 669131 h 669131"/>
                  <a:gd name="connsiteX8" fmla="*/ 0 w 474348"/>
                  <a:gd name="connsiteY8" fmla="*/ 669131 h 669131"/>
                  <a:gd name="connsiteX9" fmla="*/ 0 w 474348"/>
                  <a:gd name="connsiteY9" fmla="*/ 216516 h 669131"/>
                  <a:gd name="connsiteX10" fmla="*/ 192704 w 474348"/>
                  <a:gd name="connsiteY10" fmla="*/ 23812 h 669131"/>
                  <a:gd name="connsiteX0" fmla="*/ 192704 w 474348"/>
                  <a:gd name="connsiteY0" fmla="*/ 23812 h 669131"/>
                  <a:gd name="connsiteX1" fmla="*/ 265690 w 474348"/>
                  <a:gd name="connsiteY1" fmla="*/ 0 h 669131"/>
                  <a:gd name="connsiteX2" fmla="*/ 314250 w 474348"/>
                  <a:gd name="connsiteY2" fmla="*/ 24047 h 669131"/>
                  <a:gd name="connsiteX3" fmla="*/ 474348 w 474348"/>
                  <a:gd name="connsiteY3" fmla="*/ 216516 h 669131"/>
                  <a:gd name="connsiteX4" fmla="*/ 474348 w 474348"/>
                  <a:gd name="connsiteY4" fmla="*/ 669131 h 669131"/>
                  <a:gd name="connsiteX5" fmla="*/ 474348 w 474348"/>
                  <a:gd name="connsiteY5" fmla="*/ 669131 h 669131"/>
                  <a:gd name="connsiteX6" fmla="*/ 248129 w 474348"/>
                  <a:gd name="connsiteY6" fmla="*/ 669131 h 669131"/>
                  <a:gd name="connsiteX7" fmla="*/ 0 w 474348"/>
                  <a:gd name="connsiteY7" fmla="*/ 669131 h 669131"/>
                  <a:gd name="connsiteX8" fmla="*/ 0 w 474348"/>
                  <a:gd name="connsiteY8" fmla="*/ 669131 h 669131"/>
                  <a:gd name="connsiteX9" fmla="*/ 0 w 474348"/>
                  <a:gd name="connsiteY9" fmla="*/ 216516 h 669131"/>
                  <a:gd name="connsiteX10" fmla="*/ 192704 w 474348"/>
                  <a:gd name="connsiteY10" fmla="*/ 23812 h 669131"/>
                  <a:gd name="connsiteX0" fmla="*/ 192704 w 474348"/>
                  <a:gd name="connsiteY0" fmla="*/ 23812 h 669131"/>
                  <a:gd name="connsiteX1" fmla="*/ 265690 w 474348"/>
                  <a:gd name="connsiteY1" fmla="*/ 0 h 669131"/>
                  <a:gd name="connsiteX2" fmla="*/ 314250 w 474348"/>
                  <a:gd name="connsiteY2" fmla="*/ 24047 h 669131"/>
                  <a:gd name="connsiteX3" fmla="*/ 474348 w 474348"/>
                  <a:gd name="connsiteY3" fmla="*/ 216516 h 669131"/>
                  <a:gd name="connsiteX4" fmla="*/ 474348 w 474348"/>
                  <a:gd name="connsiteY4" fmla="*/ 669131 h 669131"/>
                  <a:gd name="connsiteX5" fmla="*/ 474348 w 474348"/>
                  <a:gd name="connsiteY5" fmla="*/ 669131 h 669131"/>
                  <a:gd name="connsiteX6" fmla="*/ 248129 w 474348"/>
                  <a:gd name="connsiteY6" fmla="*/ 669131 h 669131"/>
                  <a:gd name="connsiteX7" fmla="*/ 0 w 474348"/>
                  <a:gd name="connsiteY7" fmla="*/ 669131 h 669131"/>
                  <a:gd name="connsiteX8" fmla="*/ 0 w 474348"/>
                  <a:gd name="connsiteY8" fmla="*/ 669131 h 669131"/>
                  <a:gd name="connsiteX9" fmla="*/ 0 w 474348"/>
                  <a:gd name="connsiteY9" fmla="*/ 216516 h 669131"/>
                  <a:gd name="connsiteX10" fmla="*/ 192704 w 474348"/>
                  <a:gd name="connsiteY10" fmla="*/ 23812 h 669131"/>
                  <a:gd name="connsiteX0" fmla="*/ 174282 w 474348"/>
                  <a:gd name="connsiteY0" fmla="*/ 23596 h 669131"/>
                  <a:gd name="connsiteX1" fmla="*/ 265690 w 474348"/>
                  <a:gd name="connsiteY1" fmla="*/ 0 h 669131"/>
                  <a:gd name="connsiteX2" fmla="*/ 314250 w 474348"/>
                  <a:gd name="connsiteY2" fmla="*/ 24047 h 669131"/>
                  <a:gd name="connsiteX3" fmla="*/ 474348 w 474348"/>
                  <a:gd name="connsiteY3" fmla="*/ 216516 h 669131"/>
                  <a:gd name="connsiteX4" fmla="*/ 474348 w 474348"/>
                  <a:gd name="connsiteY4" fmla="*/ 669131 h 669131"/>
                  <a:gd name="connsiteX5" fmla="*/ 474348 w 474348"/>
                  <a:gd name="connsiteY5" fmla="*/ 669131 h 669131"/>
                  <a:gd name="connsiteX6" fmla="*/ 248129 w 474348"/>
                  <a:gd name="connsiteY6" fmla="*/ 669131 h 669131"/>
                  <a:gd name="connsiteX7" fmla="*/ 0 w 474348"/>
                  <a:gd name="connsiteY7" fmla="*/ 669131 h 669131"/>
                  <a:gd name="connsiteX8" fmla="*/ 0 w 474348"/>
                  <a:gd name="connsiteY8" fmla="*/ 669131 h 669131"/>
                  <a:gd name="connsiteX9" fmla="*/ 0 w 474348"/>
                  <a:gd name="connsiteY9" fmla="*/ 216516 h 669131"/>
                  <a:gd name="connsiteX10" fmla="*/ 174282 w 474348"/>
                  <a:gd name="connsiteY10" fmla="*/ 23596 h 669131"/>
                  <a:gd name="connsiteX0" fmla="*/ 174282 w 474348"/>
                  <a:gd name="connsiteY0" fmla="*/ 24619 h 670154"/>
                  <a:gd name="connsiteX1" fmla="*/ 216121 w 474348"/>
                  <a:gd name="connsiteY1" fmla="*/ 0 h 670154"/>
                  <a:gd name="connsiteX2" fmla="*/ 314250 w 474348"/>
                  <a:gd name="connsiteY2" fmla="*/ 25070 h 670154"/>
                  <a:gd name="connsiteX3" fmla="*/ 474348 w 474348"/>
                  <a:gd name="connsiteY3" fmla="*/ 217539 h 670154"/>
                  <a:gd name="connsiteX4" fmla="*/ 474348 w 474348"/>
                  <a:gd name="connsiteY4" fmla="*/ 670154 h 670154"/>
                  <a:gd name="connsiteX5" fmla="*/ 474348 w 474348"/>
                  <a:gd name="connsiteY5" fmla="*/ 670154 h 670154"/>
                  <a:gd name="connsiteX6" fmla="*/ 248129 w 474348"/>
                  <a:gd name="connsiteY6" fmla="*/ 670154 h 670154"/>
                  <a:gd name="connsiteX7" fmla="*/ 0 w 474348"/>
                  <a:gd name="connsiteY7" fmla="*/ 670154 h 670154"/>
                  <a:gd name="connsiteX8" fmla="*/ 0 w 474348"/>
                  <a:gd name="connsiteY8" fmla="*/ 670154 h 670154"/>
                  <a:gd name="connsiteX9" fmla="*/ 0 w 474348"/>
                  <a:gd name="connsiteY9" fmla="*/ 217539 h 670154"/>
                  <a:gd name="connsiteX10" fmla="*/ 174282 w 474348"/>
                  <a:gd name="connsiteY10" fmla="*/ 24619 h 670154"/>
                  <a:gd name="connsiteX0" fmla="*/ 174282 w 474348"/>
                  <a:gd name="connsiteY0" fmla="*/ 24619 h 670154"/>
                  <a:gd name="connsiteX1" fmla="*/ 216121 w 474348"/>
                  <a:gd name="connsiteY1" fmla="*/ 0 h 670154"/>
                  <a:gd name="connsiteX2" fmla="*/ 314250 w 474348"/>
                  <a:gd name="connsiteY2" fmla="*/ 25070 h 670154"/>
                  <a:gd name="connsiteX3" fmla="*/ 474348 w 474348"/>
                  <a:gd name="connsiteY3" fmla="*/ 217539 h 670154"/>
                  <a:gd name="connsiteX4" fmla="*/ 474348 w 474348"/>
                  <a:gd name="connsiteY4" fmla="*/ 670154 h 670154"/>
                  <a:gd name="connsiteX5" fmla="*/ 474348 w 474348"/>
                  <a:gd name="connsiteY5" fmla="*/ 670154 h 670154"/>
                  <a:gd name="connsiteX6" fmla="*/ 248129 w 474348"/>
                  <a:gd name="connsiteY6" fmla="*/ 670154 h 670154"/>
                  <a:gd name="connsiteX7" fmla="*/ 0 w 474348"/>
                  <a:gd name="connsiteY7" fmla="*/ 670154 h 670154"/>
                  <a:gd name="connsiteX8" fmla="*/ 0 w 474348"/>
                  <a:gd name="connsiteY8" fmla="*/ 670154 h 670154"/>
                  <a:gd name="connsiteX9" fmla="*/ 0 w 474348"/>
                  <a:gd name="connsiteY9" fmla="*/ 217539 h 670154"/>
                  <a:gd name="connsiteX10" fmla="*/ 174282 w 474348"/>
                  <a:gd name="connsiteY10" fmla="*/ 24619 h 670154"/>
                  <a:gd name="connsiteX0" fmla="*/ 174282 w 474348"/>
                  <a:gd name="connsiteY0" fmla="*/ 24619 h 670154"/>
                  <a:gd name="connsiteX1" fmla="*/ 216121 w 474348"/>
                  <a:gd name="connsiteY1" fmla="*/ 0 h 670154"/>
                  <a:gd name="connsiteX2" fmla="*/ 314250 w 474348"/>
                  <a:gd name="connsiteY2" fmla="*/ 25070 h 670154"/>
                  <a:gd name="connsiteX3" fmla="*/ 474348 w 474348"/>
                  <a:gd name="connsiteY3" fmla="*/ 217539 h 670154"/>
                  <a:gd name="connsiteX4" fmla="*/ 474348 w 474348"/>
                  <a:gd name="connsiteY4" fmla="*/ 670154 h 670154"/>
                  <a:gd name="connsiteX5" fmla="*/ 474348 w 474348"/>
                  <a:gd name="connsiteY5" fmla="*/ 670154 h 670154"/>
                  <a:gd name="connsiteX6" fmla="*/ 248129 w 474348"/>
                  <a:gd name="connsiteY6" fmla="*/ 670154 h 670154"/>
                  <a:gd name="connsiteX7" fmla="*/ 0 w 474348"/>
                  <a:gd name="connsiteY7" fmla="*/ 670154 h 670154"/>
                  <a:gd name="connsiteX8" fmla="*/ 0 w 474348"/>
                  <a:gd name="connsiteY8" fmla="*/ 670154 h 670154"/>
                  <a:gd name="connsiteX9" fmla="*/ 0 w 474348"/>
                  <a:gd name="connsiteY9" fmla="*/ 217539 h 670154"/>
                  <a:gd name="connsiteX10" fmla="*/ 174282 w 474348"/>
                  <a:gd name="connsiteY10" fmla="*/ 24619 h 670154"/>
                  <a:gd name="connsiteX0" fmla="*/ 174282 w 474348"/>
                  <a:gd name="connsiteY0" fmla="*/ 24619 h 670154"/>
                  <a:gd name="connsiteX1" fmla="*/ 216121 w 474348"/>
                  <a:gd name="connsiteY1" fmla="*/ 0 h 670154"/>
                  <a:gd name="connsiteX2" fmla="*/ 314250 w 474348"/>
                  <a:gd name="connsiteY2" fmla="*/ 25070 h 670154"/>
                  <a:gd name="connsiteX3" fmla="*/ 474348 w 474348"/>
                  <a:gd name="connsiteY3" fmla="*/ 217539 h 670154"/>
                  <a:gd name="connsiteX4" fmla="*/ 474348 w 474348"/>
                  <a:gd name="connsiteY4" fmla="*/ 670154 h 670154"/>
                  <a:gd name="connsiteX5" fmla="*/ 474348 w 474348"/>
                  <a:gd name="connsiteY5" fmla="*/ 670154 h 670154"/>
                  <a:gd name="connsiteX6" fmla="*/ 248129 w 474348"/>
                  <a:gd name="connsiteY6" fmla="*/ 670154 h 670154"/>
                  <a:gd name="connsiteX7" fmla="*/ 0 w 474348"/>
                  <a:gd name="connsiteY7" fmla="*/ 670154 h 670154"/>
                  <a:gd name="connsiteX8" fmla="*/ 0 w 474348"/>
                  <a:gd name="connsiteY8" fmla="*/ 670154 h 670154"/>
                  <a:gd name="connsiteX9" fmla="*/ 0 w 474348"/>
                  <a:gd name="connsiteY9" fmla="*/ 217539 h 670154"/>
                  <a:gd name="connsiteX10" fmla="*/ 174282 w 474348"/>
                  <a:gd name="connsiteY10" fmla="*/ 24619 h 670154"/>
                  <a:gd name="connsiteX0" fmla="*/ 148557 w 474348"/>
                  <a:gd name="connsiteY0" fmla="*/ 27264 h 670154"/>
                  <a:gd name="connsiteX1" fmla="*/ 216121 w 474348"/>
                  <a:gd name="connsiteY1" fmla="*/ 0 h 670154"/>
                  <a:gd name="connsiteX2" fmla="*/ 314250 w 474348"/>
                  <a:gd name="connsiteY2" fmla="*/ 25070 h 670154"/>
                  <a:gd name="connsiteX3" fmla="*/ 474348 w 474348"/>
                  <a:gd name="connsiteY3" fmla="*/ 217539 h 670154"/>
                  <a:gd name="connsiteX4" fmla="*/ 474348 w 474348"/>
                  <a:gd name="connsiteY4" fmla="*/ 670154 h 670154"/>
                  <a:gd name="connsiteX5" fmla="*/ 474348 w 474348"/>
                  <a:gd name="connsiteY5" fmla="*/ 670154 h 670154"/>
                  <a:gd name="connsiteX6" fmla="*/ 248129 w 474348"/>
                  <a:gd name="connsiteY6" fmla="*/ 670154 h 670154"/>
                  <a:gd name="connsiteX7" fmla="*/ 0 w 474348"/>
                  <a:gd name="connsiteY7" fmla="*/ 670154 h 670154"/>
                  <a:gd name="connsiteX8" fmla="*/ 0 w 474348"/>
                  <a:gd name="connsiteY8" fmla="*/ 670154 h 670154"/>
                  <a:gd name="connsiteX9" fmla="*/ 0 w 474348"/>
                  <a:gd name="connsiteY9" fmla="*/ 217539 h 670154"/>
                  <a:gd name="connsiteX10" fmla="*/ 148557 w 474348"/>
                  <a:gd name="connsiteY10" fmla="*/ 27264 h 670154"/>
                  <a:gd name="connsiteX0" fmla="*/ 148557 w 474348"/>
                  <a:gd name="connsiteY0" fmla="*/ 20950 h 663840"/>
                  <a:gd name="connsiteX1" fmla="*/ 214238 w 474348"/>
                  <a:gd name="connsiteY1" fmla="*/ 0 h 663840"/>
                  <a:gd name="connsiteX2" fmla="*/ 314250 w 474348"/>
                  <a:gd name="connsiteY2" fmla="*/ 18756 h 663840"/>
                  <a:gd name="connsiteX3" fmla="*/ 474348 w 474348"/>
                  <a:gd name="connsiteY3" fmla="*/ 211225 h 663840"/>
                  <a:gd name="connsiteX4" fmla="*/ 474348 w 474348"/>
                  <a:gd name="connsiteY4" fmla="*/ 663840 h 663840"/>
                  <a:gd name="connsiteX5" fmla="*/ 474348 w 474348"/>
                  <a:gd name="connsiteY5" fmla="*/ 663840 h 663840"/>
                  <a:gd name="connsiteX6" fmla="*/ 248129 w 474348"/>
                  <a:gd name="connsiteY6" fmla="*/ 663840 h 663840"/>
                  <a:gd name="connsiteX7" fmla="*/ 0 w 474348"/>
                  <a:gd name="connsiteY7" fmla="*/ 663840 h 663840"/>
                  <a:gd name="connsiteX8" fmla="*/ 0 w 474348"/>
                  <a:gd name="connsiteY8" fmla="*/ 663840 h 663840"/>
                  <a:gd name="connsiteX9" fmla="*/ 0 w 474348"/>
                  <a:gd name="connsiteY9" fmla="*/ 211225 h 663840"/>
                  <a:gd name="connsiteX10" fmla="*/ 148557 w 474348"/>
                  <a:gd name="connsiteY10" fmla="*/ 20950 h 663840"/>
                  <a:gd name="connsiteX0" fmla="*/ 148557 w 474348"/>
                  <a:gd name="connsiteY0" fmla="*/ 20950 h 663840"/>
                  <a:gd name="connsiteX1" fmla="*/ 214238 w 474348"/>
                  <a:gd name="connsiteY1" fmla="*/ 0 h 663840"/>
                  <a:gd name="connsiteX2" fmla="*/ 314250 w 474348"/>
                  <a:gd name="connsiteY2" fmla="*/ 18756 h 663840"/>
                  <a:gd name="connsiteX3" fmla="*/ 474348 w 474348"/>
                  <a:gd name="connsiteY3" fmla="*/ 211225 h 663840"/>
                  <a:gd name="connsiteX4" fmla="*/ 474348 w 474348"/>
                  <a:gd name="connsiteY4" fmla="*/ 663840 h 663840"/>
                  <a:gd name="connsiteX5" fmla="*/ 474348 w 474348"/>
                  <a:gd name="connsiteY5" fmla="*/ 663840 h 663840"/>
                  <a:gd name="connsiteX6" fmla="*/ 248129 w 474348"/>
                  <a:gd name="connsiteY6" fmla="*/ 663840 h 663840"/>
                  <a:gd name="connsiteX7" fmla="*/ 0 w 474348"/>
                  <a:gd name="connsiteY7" fmla="*/ 663840 h 663840"/>
                  <a:gd name="connsiteX8" fmla="*/ 0 w 474348"/>
                  <a:gd name="connsiteY8" fmla="*/ 663840 h 663840"/>
                  <a:gd name="connsiteX9" fmla="*/ 0 w 474348"/>
                  <a:gd name="connsiteY9" fmla="*/ 211225 h 663840"/>
                  <a:gd name="connsiteX10" fmla="*/ 148557 w 474348"/>
                  <a:gd name="connsiteY10" fmla="*/ 20950 h 663840"/>
                  <a:gd name="connsiteX0" fmla="*/ 148557 w 474348"/>
                  <a:gd name="connsiteY0" fmla="*/ 20950 h 663840"/>
                  <a:gd name="connsiteX1" fmla="*/ 214238 w 474348"/>
                  <a:gd name="connsiteY1" fmla="*/ 0 h 663840"/>
                  <a:gd name="connsiteX2" fmla="*/ 314250 w 474348"/>
                  <a:gd name="connsiteY2" fmla="*/ 18756 h 663840"/>
                  <a:gd name="connsiteX3" fmla="*/ 474348 w 474348"/>
                  <a:gd name="connsiteY3" fmla="*/ 211225 h 663840"/>
                  <a:gd name="connsiteX4" fmla="*/ 474348 w 474348"/>
                  <a:gd name="connsiteY4" fmla="*/ 663840 h 663840"/>
                  <a:gd name="connsiteX5" fmla="*/ 474348 w 474348"/>
                  <a:gd name="connsiteY5" fmla="*/ 663840 h 663840"/>
                  <a:gd name="connsiteX6" fmla="*/ 248129 w 474348"/>
                  <a:gd name="connsiteY6" fmla="*/ 663840 h 663840"/>
                  <a:gd name="connsiteX7" fmla="*/ 0 w 474348"/>
                  <a:gd name="connsiteY7" fmla="*/ 663840 h 663840"/>
                  <a:gd name="connsiteX8" fmla="*/ 0 w 474348"/>
                  <a:gd name="connsiteY8" fmla="*/ 663840 h 663840"/>
                  <a:gd name="connsiteX9" fmla="*/ 0 w 474348"/>
                  <a:gd name="connsiteY9" fmla="*/ 211225 h 663840"/>
                  <a:gd name="connsiteX10" fmla="*/ 148557 w 474348"/>
                  <a:gd name="connsiteY10" fmla="*/ 20950 h 663840"/>
                  <a:gd name="connsiteX0" fmla="*/ 144178 w 474348"/>
                  <a:gd name="connsiteY0" fmla="*/ 22667 h 663840"/>
                  <a:gd name="connsiteX1" fmla="*/ 214238 w 474348"/>
                  <a:gd name="connsiteY1" fmla="*/ 0 h 663840"/>
                  <a:gd name="connsiteX2" fmla="*/ 314250 w 474348"/>
                  <a:gd name="connsiteY2" fmla="*/ 18756 h 663840"/>
                  <a:gd name="connsiteX3" fmla="*/ 474348 w 474348"/>
                  <a:gd name="connsiteY3" fmla="*/ 211225 h 663840"/>
                  <a:gd name="connsiteX4" fmla="*/ 474348 w 474348"/>
                  <a:gd name="connsiteY4" fmla="*/ 663840 h 663840"/>
                  <a:gd name="connsiteX5" fmla="*/ 474348 w 474348"/>
                  <a:gd name="connsiteY5" fmla="*/ 663840 h 663840"/>
                  <a:gd name="connsiteX6" fmla="*/ 248129 w 474348"/>
                  <a:gd name="connsiteY6" fmla="*/ 663840 h 663840"/>
                  <a:gd name="connsiteX7" fmla="*/ 0 w 474348"/>
                  <a:gd name="connsiteY7" fmla="*/ 663840 h 663840"/>
                  <a:gd name="connsiteX8" fmla="*/ 0 w 474348"/>
                  <a:gd name="connsiteY8" fmla="*/ 663840 h 663840"/>
                  <a:gd name="connsiteX9" fmla="*/ 0 w 474348"/>
                  <a:gd name="connsiteY9" fmla="*/ 211225 h 663840"/>
                  <a:gd name="connsiteX10" fmla="*/ 144178 w 474348"/>
                  <a:gd name="connsiteY10" fmla="*/ 22667 h 663840"/>
                  <a:gd name="connsiteX0" fmla="*/ 144178 w 474348"/>
                  <a:gd name="connsiteY0" fmla="*/ 22667 h 663840"/>
                  <a:gd name="connsiteX1" fmla="*/ 214238 w 474348"/>
                  <a:gd name="connsiteY1" fmla="*/ 0 h 663840"/>
                  <a:gd name="connsiteX2" fmla="*/ 314250 w 474348"/>
                  <a:gd name="connsiteY2" fmla="*/ 18756 h 663840"/>
                  <a:gd name="connsiteX3" fmla="*/ 474348 w 474348"/>
                  <a:gd name="connsiteY3" fmla="*/ 211225 h 663840"/>
                  <a:gd name="connsiteX4" fmla="*/ 474348 w 474348"/>
                  <a:gd name="connsiteY4" fmla="*/ 663840 h 663840"/>
                  <a:gd name="connsiteX5" fmla="*/ 474348 w 474348"/>
                  <a:gd name="connsiteY5" fmla="*/ 663840 h 663840"/>
                  <a:gd name="connsiteX6" fmla="*/ 248129 w 474348"/>
                  <a:gd name="connsiteY6" fmla="*/ 663840 h 663840"/>
                  <a:gd name="connsiteX7" fmla="*/ 0 w 474348"/>
                  <a:gd name="connsiteY7" fmla="*/ 663840 h 663840"/>
                  <a:gd name="connsiteX8" fmla="*/ 0 w 474348"/>
                  <a:gd name="connsiteY8" fmla="*/ 663840 h 663840"/>
                  <a:gd name="connsiteX9" fmla="*/ 0 w 474348"/>
                  <a:gd name="connsiteY9" fmla="*/ 211225 h 663840"/>
                  <a:gd name="connsiteX10" fmla="*/ 144178 w 474348"/>
                  <a:gd name="connsiteY10" fmla="*/ 22667 h 663840"/>
                  <a:gd name="connsiteX0" fmla="*/ 144178 w 474348"/>
                  <a:gd name="connsiteY0" fmla="*/ 22667 h 663840"/>
                  <a:gd name="connsiteX1" fmla="*/ 214238 w 474348"/>
                  <a:gd name="connsiteY1" fmla="*/ 0 h 663840"/>
                  <a:gd name="connsiteX2" fmla="*/ 314250 w 474348"/>
                  <a:gd name="connsiteY2" fmla="*/ 18756 h 663840"/>
                  <a:gd name="connsiteX3" fmla="*/ 474348 w 474348"/>
                  <a:gd name="connsiteY3" fmla="*/ 211225 h 663840"/>
                  <a:gd name="connsiteX4" fmla="*/ 474348 w 474348"/>
                  <a:gd name="connsiteY4" fmla="*/ 663840 h 663840"/>
                  <a:gd name="connsiteX5" fmla="*/ 474348 w 474348"/>
                  <a:gd name="connsiteY5" fmla="*/ 663840 h 663840"/>
                  <a:gd name="connsiteX6" fmla="*/ 248129 w 474348"/>
                  <a:gd name="connsiteY6" fmla="*/ 663840 h 663840"/>
                  <a:gd name="connsiteX7" fmla="*/ 0 w 474348"/>
                  <a:gd name="connsiteY7" fmla="*/ 663840 h 663840"/>
                  <a:gd name="connsiteX8" fmla="*/ 0 w 474348"/>
                  <a:gd name="connsiteY8" fmla="*/ 663840 h 663840"/>
                  <a:gd name="connsiteX9" fmla="*/ 0 w 474348"/>
                  <a:gd name="connsiteY9" fmla="*/ 211225 h 663840"/>
                  <a:gd name="connsiteX10" fmla="*/ 144178 w 474348"/>
                  <a:gd name="connsiteY10" fmla="*/ 22667 h 663840"/>
                  <a:gd name="connsiteX0" fmla="*/ 144178 w 474348"/>
                  <a:gd name="connsiteY0" fmla="*/ 22667 h 663840"/>
                  <a:gd name="connsiteX1" fmla="*/ 214238 w 474348"/>
                  <a:gd name="connsiteY1" fmla="*/ 0 h 663840"/>
                  <a:gd name="connsiteX2" fmla="*/ 314250 w 474348"/>
                  <a:gd name="connsiteY2" fmla="*/ 18756 h 663840"/>
                  <a:gd name="connsiteX3" fmla="*/ 474348 w 474348"/>
                  <a:gd name="connsiteY3" fmla="*/ 211225 h 663840"/>
                  <a:gd name="connsiteX4" fmla="*/ 474348 w 474348"/>
                  <a:gd name="connsiteY4" fmla="*/ 663840 h 663840"/>
                  <a:gd name="connsiteX5" fmla="*/ 474348 w 474348"/>
                  <a:gd name="connsiteY5" fmla="*/ 663840 h 663840"/>
                  <a:gd name="connsiteX6" fmla="*/ 248129 w 474348"/>
                  <a:gd name="connsiteY6" fmla="*/ 663840 h 663840"/>
                  <a:gd name="connsiteX7" fmla="*/ 0 w 474348"/>
                  <a:gd name="connsiteY7" fmla="*/ 663840 h 663840"/>
                  <a:gd name="connsiteX8" fmla="*/ 0 w 474348"/>
                  <a:gd name="connsiteY8" fmla="*/ 663840 h 663840"/>
                  <a:gd name="connsiteX9" fmla="*/ 0 w 474348"/>
                  <a:gd name="connsiteY9" fmla="*/ 211225 h 663840"/>
                  <a:gd name="connsiteX10" fmla="*/ 144178 w 474348"/>
                  <a:gd name="connsiteY10" fmla="*/ 22667 h 6638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74348" h="663840">
                    <a:moveTo>
                      <a:pt x="144178" y="22667"/>
                    </a:moveTo>
                    <a:cubicBezTo>
                      <a:pt x="211732" y="-970"/>
                      <a:pt x="181869" y="7990"/>
                      <a:pt x="214238" y="0"/>
                    </a:cubicBezTo>
                    <a:cubicBezTo>
                      <a:pt x="259321" y="7224"/>
                      <a:pt x="221757" y="369"/>
                      <a:pt x="314250" y="18756"/>
                    </a:cubicBezTo>
                    <a:cubicBezTo>
                      <a:pt x="399877" y="51074"/>
                      <a:pt x="474348" y="104798"/>
                      <a:pt x="474348" y="211225"/>
                    </a:cubicBezTo>
                    <a:lnTo>
                      <a:pt x="474348" y="663840"/>
                    </a:lnTo>
                    <a:lnTo>
                      <a:pt x="474348" y="663840"/>
                    </a:lnTo>
                    <a:lnTo>
                      <a:pt x="248129" y="663840"/>
                    </a:lnTo>
                    <a:lnTo>
                      <a:pt x="0" y="663840"/>
                    </a:lnTo>
                    <a:lnTo>
                      <a:pt x="0" y="663840"/>
                    </a:lnTo>
                    <a:lnTo>
                      <a:pt x="0" y="211225"/>
                    </a:lnTo>
                    <a:cubicBezTo>
                      <a:pt x="0" y="104798"/>
                      <a:pt x="80700" y="56026"/>
                      <a:pt x="144178" y="22667"/>
                    </a:cubicBezTo>
                    <a:close/>
                  </a:path>
                </a:pathLst>
              </a:cu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grpSp>
      </p:grpSp>
      <p:sp>
        <p:nvSpPr>
          <p:cNvPr id="159" name="Oval 158"/>
          <p:cNvSpPr/>
          <p:nvPr/>
        </p:nvSpPr>
        <p:spPr>
          <a:xfrm flipH="1">
            <a:off x="989004" y="2886853"/>
            <a:ext cx="93792" cy="93791"/>
          </a:xfrm>
          <a:prstGeom prst="ellipse">
            <a:avLst/>
          </a:prstGeom>
          <a:solidFill>
            <a:schemeClr val="bg1"/>
          </a:solidFill>
          <a:ln w="50800">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Freeform 7"/>
          <p:cNvSpPr/>
          <p:nvPr/>
        </p:nvSpPr>
        <p:spPr>
          <a:xfrm flipH="1">
            <a:off x="-12700" y="3505200"/>
            <a:ext cx="9169400" cy="1651000"/>
          </a:xfrm>
          <a:custGeom>
            <a:avLst/>
            <a:gdLst>
              <a:gd name="connsiteX0" fmla="*/ 12700 w 9169400"/>
              <a:gd name="connsiteY0" fmla="*/ 571500 h 1651000"/>
              <a:gd name="connsiteX1" fmla="*/ 622300 w 9169400"/>
              <a:gd name="connsiteY1" fmla="*/ 431800 h 1651000"/>
              <a:gd name="connsiteX2" fmla="*/ 1143000 w 9169400"/>
              <a:gd name="connsiteY2" fmla="*/ 279400 h 1651000"/>
              <a:gd name="connsiteX3" fmla="*/ 1701800 w 9169400"/>
              <a:gd name="connsiteY3" fmla="*/ 228600 h 1651000"/>
              <a:gd name="connsiteX4" fmla="*/ 2794000 w 9169400"/>
              <a:gd name="connsiteY4" fmla="*/ 355600 h 1651000"/>
              <a:gd name="connsiteX5" fmla="*/ 3873500 w 9169400"/>
              <a:gd name="connsiteY5" fmla="*/ 469900 h 1651000"/>
              <a:gd name="connsiteX6" fmla="*/ 5067300 w 9169400"/>
              <a:gd name="connsiteY6" fmla="*/ 622300 h 1651000"/>
              <a:gd name="connsiteX7" fmla="*/ 6261100 w 9169400"/>
              <a:gd name="connsiteY7" fmla="*/ 558800 h 1651000"/>
              <a:gd name="connsiteX8" fmla="*/ 7086600 w 9169400"/>
              <a:gd name="connsiteY8" fmla="*/ 177800 h 1651000"/>
              <a:gd name="connsiteX9" fmla="*/ 9156700 w 9169400"/>
              <a:gd name="connsiteY9" fmla="*/ 0 h 1651000"/>
              <a:gd name="connsiteX10" fmla="*/ 9169400 w 9169400"/>
              <a:gd name="connsiteY10" fmla="*/ 1651000 h 1651000"/>
              <a:gd name="connsiteX11" fmla="*/ 0 w 9169400"/>
              <a:gd name="connsiteY11" fmla="*/ 1651000 h 1651000"/>
              <a:gd name="connsiteX12" fmla="*/ 12700 w 9169400"/>
              <a:gd name="connsiteY12" fmla="*/ 571500 h 1651000"/>
              <a:gd name="connsiteX0" fmla="*/ 12700 w 9169400"/>
              <a:gd name="connsiteY0" fmla="*/ 571500 h 1651000"/>
              <a:gd name="connsiteX1" fmla="*/ 622300 w 9169400"/>
              <a:gd name="connsiteY1" fmla="*/ 431800 h 1651000"/>
              <a:gd name="connsiteX2" fmla="*/ 1143000 w 9169400"/>
              <a:gd name="connsiteY2" fmla="*/ 279400 h 1651000"/>
              <a:gd name="connsiteX3" fmla="*/ 1701800 w 9169400"/>
              <a:gd name="connsiteY3" fmla="*/ 228600 h 1651000"/>
              <a:gd name="connsiteX4" fmla="*/ 2794000 w 9169400"/>
              <a:gd name="connsiteY4" fmla="*/ 355600 h 1651000"/>
              <a:gd name="connsiteX5" fmla="*/ 3873500 w 9169400"/>
              <a:gd name="connsiteY5" fmla="*/ 469900 h 1651000"/>
              <a:gd name="connsiteX6" fmla="*/ 5067300 w 9169400"/>
              <a:gd name="connsiteY6" fmla="*/ 622300 h 1651000"/>
              <a:gd name="connsiteX7" fmla="*/ 6261100 w 9169400"/>
              <a:gd name="connsiteY7" fmla="*/ 558800 h 1651000"/>
              <a:gd name="connsiteX8" fmla="*/ 7086600 w 9169400"/>
              <a:gd name="connsiteY8" fmla="*/ 177800 h 1651000"/>
              <a:gd name="connsiteX9" fmla="*/ 9156700 w 9169400"/>
              <a:gd name="connsiteY9" fmla="*/ 0 h 1651000"/>
              <a:gd name="connsiteX10" fmla="*/ 9169400 w 9169400"/>
              <a:gd name="connsiteY10" fmla="*/ 1651000 h 1651000"/>
              <a:gd name="connsiteX11" fmla="*/ 0 w 9169400"/>
              <a:gd name="connsiteY11" fmla="*/ 1651000 h 1651000"/>
              <a:gd name="connsiteX12" fmla="*/ 12700 w 9169400"/>
              <a:gd name="connsiteY12" fmla="*/ 571500 h 1651000"/>
              <a:gd name="connsiteX0" fmla="*/ 12700 w 9169400"/>
              <a:gd name="connsiteY0" fmla="*/ 571500 h 1651000"/>
              <a:gd name="connsiteX1" fmla="*/ 622300 w 9169400"/>
              <a:gd name="connsiteY1" fmla="*/ 431800 h 1651000"/>
              <a:gd name="connsiteX2" fmla="*/ 1143000 w 9169400"/>
              <a:gd name="connsiteY2" fmla="*/ 279400 h 1651000"/>
              <a:gd name="connsiteX3" fmla="*/ 1701800 w 9169400"/>
              <a:gd name="connsiteY3" fmla="*/ 228600 h 1651000"/>
              <a:gd name="connsiteX4" fmla="*/ 2794000 w 9169400"/>
              <a:gd name="connsiteY4" fmla="*/ 355600 h 1651000"/>
              <a:gd name="connsiteX5" fmla="*/ 3873500 w 9169400"/>
              <a:gd name="connsiteY5" fmla="*/ 469900 h 1651000"/>
              <a:gd name="connsiteX6" fmla="*/ 5067300 w 9169400"/>
              <a:gd name="connsiteY6" fmla="*/ 622300 h 1651000"/>
              <a:gd name="connsiteX7" fmla="*/ 6261100 w 9169400"/>
              <a:gd name="connsiteY7" fmla="*/ 558800 h 1651000"/>
              <a:gd name="connsiteX8" fmla="*/ 7086600 w 9169400"/>
              <a:gd name="connsiteY8" fmla="*/ 177800 h 1651000"/>
              <a:gd name="connsiteX9" fmla="*/ 9156700 w 9169400"/>
              <a:gd name="connsiteY9" fmla="*/ 0 h 1651000"/>
              <a:gd name="connsiteX10" fmla="*/ 9169400 w 9169400"/>
              <a:gd name="connsiteY10" fmla="*/ 1651000 h 1651000"/>
              <a:gd name="connsiteX11" fmla="*/ 0 w 9169400"/>
              <a:gd name="connsiteY11" fmla="*/ 1651000 h 1651000"/>
              <a:gd name="connsiteX12" fmla="*/ 12700 w 9169400"/>
              <a:gd name="connsiteY12" fmla="*/ 571500 h 1651000"/>
              <a:gd name="connsiteX0" fmla="*/ 12700 w 9169400"/>
              <a:gd name="connsiteY0" fmla="*/ 571500 h 1651000"/>
              <a:gd name="connsiteX1" fmla="*/ 622300 w 9169400"/>
              <a:gd name="connsiteY1" fmla="*/ 431800 h 1651000"/>
              <a:gd name="connsiteX2" fmla="*/ 1143000 w 9169400"/>
              <a:gd name="connsiteY2" fmla="*/ 279400 h 1651000"/>
              <a:gd name="connsiteX3" fmla="*/ 1701800 w 9169400"/>
              <a:gd name="connsiteY3" fmla="*/ 228600 h 1651000"/>
              <a:gd name="connsiteX4" fmla="*/ 2794000 w 9169400"/>
              <a:gd name="connsiteY4" fmla="*/ 355600 h 1651000"/>
              <a:gd name="connsiteX5" fmla="*/ 3873500 w 9169400"/>
              <a:gd name="connsiteY5" fmla="*/ 469900 h 1651000"/>
              <a:gd name="connsiteX6" fmla="*/ 5067300 w 9169400"/>
              <a:gd name="connsiteY6" fmla="*/ 622300 h 1651000"/>
              <a:gd name="connsiteX7" fmla="*/ 6261100 w 9169400"/>
              <a:gd name="connsiteY7" fmla="*/ 558800 h 1651000"/>
              <a:gd name="connsiteX8" fmla="*/ 7086600 w 9169400"/>
              <a:gd name="connsiteY8" fmla="*/ 177800 h 1651000"/>
              <a:gd name="connsiteX9" fmla="*/ 9156700 w 9169400"/>
              <a:gd name="connsiteY9" fmla="*/ 0 h 1651000"/>
              <a:gd name="connsiteX10" fmla="*/ 9169400 w 9169400"/>
              <a:gd name="connsiteY10" fmla="*/ 1651000 h 1651000"/>
              <a:gd name="connsiteX11" fmla="*/ 0 w 9169400"/>
              <a:gd name="connsiteY11" fmla="*/ 1651000 h 1651000"/>
              <a:gd name="connsiteX12" fmla="*/ 12700 w 9169400"/>
              <a:gd name="connsiteY12" fmla="*/ 571500 h 1651000"/>
              <a:gd name="connsiteX0" fmla="*/ 12700 w 9169400"/>
              <a:gd name="connsiteY0" fmla="*/ 571500 h 1651000"/>
              <a:gd name="connsiteX1" fmla="*/ 622300 w 9169400"/>
              <a:gd name="connsiteY1" fmla="*/ 431800 h 1651000"/>
              <a:gd name="connsiteX2" fmla="*/ 1143000 w 9169400"/>
              <a:gd name="connsiteY2" fmla="*/ 279400 h 1651000"/>
              <a:gd name="connsiteX3" fmla="*/ 1701800 w 9169400"/>
              <a:gd name="connsiteY3" fmla="*/ 228600 h 1651000"/>
              <a:gd name="connsiteX4" fmla="*/ 2794000 w 9169400"/>
              <a:gd name="connsiteY4" fmla="*/ 355600 h 1651000"/>
              <a:gd name="connsiteX5" fmla="*/ 3873500 w 9169400"/>
              <a:gd name="connsiteY5" fmla="*/ 469900 h 1651000"/>
              <a:gd name="connsiteX6" fmla="*/ 5067300 w 9169400"/>
              <a:gd name="connsiteY6" fmla="*/ 622300 h 1651000"/>
              <a:gd name="connsiteX7" fmla="*/ 6261100 w 9169400"/>
              <a:gd name="connsiteY7" fmla="*/ 558800 h 1651000"/>
              <a:gd name="connsiteX8" fmla="*/ 7086600 w 9169400"/>
              <a:gd name="connsiteY8" fmla="*/ 177800 h 1651000"/>
              <a:gd name="connsiteX9" fmla="*/ 9156700 w 9169400"/>
              <a:gd name="connsiteY9" fmla="*/ 0 h 1651000"/>
              <a:gd name="connsiteX10" fmla="*/ 9169400 w 9169400"/>
              <a:gd name="connsiteY10" fmla="*/ 1651000 h 1651000"/>
              <a:gd name="connsiteX11" fmla="*/ 0 w 9169400"/>
              <a:gd name="connsiteY11" fmla="*/ 1651000 h 1651000"/>
              <a:gd name="connsiteX12" fmla="*/ 12700 w 9169400"/>
              <a:gd name="connsiteY12" fmla="*/ 571500 h 1651000"/>
              <a:gd name="connsiteX0" fmla="*/ 12700 w 9169400"/>
              <a:gd name="connsiteY0" fmla="*/ 571500 h 1651000"/>
              <a:gd name="connsiteX1" fmla="*/ 622300 w 9169400"/>
              <a:gd name="connsiteY1" fmla="*/ 431800 h 1651000"/>
              <a:gd name="connsiteX2" fmla="*/ 1143000 w 9169400"/>
              <a:gd name="connsiteY2" fmla="*/ 279400 h 1651000"/>
              <a:gd name="connsiteX3" fmla="*/ 1701800 w 9169400"/>
              <a:gd name="connsiteY3" fmla="*/ 228600 h 1651000"/>
              <a:gd name="connsiteX4" fmla="*/ 2794000 w 9169400"/>
              <a:gd name="connsiteY4" fmla="*/ 355600 h 1651000"/>
              <a:gd name="connsiteX5" fmla="*/ 3873500 w 9169400"/>
              <a:gd name="connsiteY5" fmla="*/ 469900 h 1651000"/>
              <a:gd name="connsiteX6" fmla="*/ 5067300 w 9169400"/>
              <a:gd name="connsiteY6" fmla="*/ 622300 h 1651000"/>
              <a:gd name="connsiteX7" fmla="*/ 6261100 w 9169400"/>
              <a:gd name="connsiteY7" fmla="*/ 558800 h 1651000"/>
              <a:gd name="connsiteX8" fmla="*/ 7086600 w 9169400"/>
              <a:gd name="connsiteY8" fmla="*/ 177800 h 1651000"/>
              <a:gd name="connsiteX9" fmla="*/ 9156700 w 9169400"/>
              <a:gd name="connsiteY9" fmla="*/ 0 h 1651000"/>
              <a:gd name="connsiteX10" fmla="*/ 9169400 w 9169400"/>
              <a:gd name="connsiteY10" fmla="*/ 1651000 h 1651000"/>
              <a:gd name="connsiteX11" fmla="*/ 0 w 9169400"/>
              <a:gd name="connsiteY11" fmla="*/ 1651000 h 1651000"/>
              <a:gd name="connsiteX12" fmla="*/ 12700 w 9169400"/>
              <a:gd name="connsiteY12" fmla="*/ 571500 h 1651000"/>
              <a:gd name="connsiteX0" fmla="*/ 12700 w 9169400"/>
              <a:gd name="connsiteY0" fmla="*/ 571500 h 1651000"/>
              <a:gd name="connsiteX1" fmla="*/ 622300 w 9169400"/>
              <a:gd name="connsiteY1" fmla="*/ 431800 h 1651000"/>
              <a:gd name="connsiteX2" fmla="*/ 1143000 w 9169400"/>
              <a:gd name="connsiteY2" fmla="*/ 279400 h 1651000"/>
              <a:gd name="connsiteX3" fmla="*/ 1701800 w 9169400"/>
              <a:gd name="connsiteY3" fmla="*/ 228600 h 1651000"/>
              <a:gd name="connsiteX4" fmla="*/ 2794000 w 9169400"/>
              <a:gd name="connsiteY4" fmla="*/ 355600 h 1651000"/>
              <a:gd name="connsiteX5" fmla="*/ 3873500 w 9169400"/>
              <a:gd name="connsiteY5" fmla="*/ 469900 h 1651000"/>
              <a:gd name="connsiteX6" fmla="*/ 5067300 w 9169400"/>
              <a:gd name="connsiteY6" fmla="*/ 622300 h 1651000"/>
              <a:gd name="connsiteX7" fmla="*/ 6261100 w 9169400"/>
              <a:gd name="connsiteY7" fmla="*/ 558800 h 1651000"/>
              <a:gd name="connsiteX8" fmla="*/ 7086600 w 9169400"/>
              <a:gd name="connsiteY8" fmla="*/ 177800 h 1651000"/>
              <a:gd name="connsiteX9" fmla="*/ 9156700 w 9169400"/>
              <a:gd name="connsiteY9" fmla="*/ 0 h 1651000"/>
              <a:gd name="connsiteX10" fmla="*/ 9169400 w 9169400"/>
              <a:gd name="connsiteY10" fmla="*/ 1651000 h 1651000"/>
              <a:gd name="connsiteX11" fmla="*/ 0 w 9169400"/>
              <a:gd name="connsiteY11" fmla="*/ 1651000 h 1651000"/>
              <a:gd name="connsiteX12" fmla="*/ 12700 w 9169400"/>
              <a:gd name="connsiteY12" fmla="*/ 571500 h 1651000"/>
              <a:gd name="connsiteX0" fmla="*/ 12700 w 9169400"/>
              <a:gd name="connsiteY0" fmla="*/ 571500 h 1651000"/>
              <a:gd name="connsiteX1" fmla="*/ 622300 w 9169400"/>
              <a:gd name="connsiteY1" fmla="*/ 431800 h 1651000"/>
              <a:gd name="connsiteX2" fmla="*/ 1143000 w 9169400"/>
              <a:gd name="connsiteY2" fmla="*/ 279400 h 1651000"/>
              <a:gd name="connsiteX3" fmla="*/ 1701800 w 9169400"/>
              <a:gd name="connsiteY3" fmla="*/ 228600 h 1651000"/>
              <a:gd name="connsiteX4" fmla="*/ 2794000 w 9169400"/>
              <a:gd name="connsiteY4" fmla="*/ 355600 h 1651000"/>
              <a:gd name="connsiteX5" fmla="*/ 3873500 w 9169400"/>
              <a:gd name="connsiteY5" fmla="*/ 469900 h 1651000"/>
              <a:gd name="connsiteX6" fmla="*/ 5067300 w 9169400"/>
              <a:gd name="connsiteY6" fmla="*/ 622300 h 1651000"/>
              <a:gd name="connsiteX7" fmla="*/ 6261100 w 9169400"/>
              <a:gd name="connsiteY7" fmla="*/ 558800 h 1651000"/>
              <a:gd name="connsiteX8" fmla="*/ 7086600 w 9169400"/>
              <a:gd name="connsiteY8" fmla="*/ 177800 h 1651000"/>
              <a:gd name="connsiteX9" fmla="*/ 9156700 w 9169400"/>
              <a:gd name="connsiteY9" fmla="*/ 0 h 1651000"/>
              <a:gd name="connsiteX10" fmla="*/ 9169400 w 9169400"/>
              <a:gd name="connsiteY10" fmla="*/ 1651000 h 1651000"/>
              <a:gd name="connsiteX11" fmla="*/ 0 w 9169400"/>
              <a:gd name="connsiteY11" fmla="*/ 1651000 h 1651000"/>
              <a:gd name="connsiteX12" fmla="*/ 12700 w 9169400"/>
              <a:gd name="connsiteY12" fmla="*/ 571500 h 1651000"/>
              <a:gd name="connsiteX0" fmla="*/ 12700 w 9169400"/>
              <a:gd name="connsiteY0" fmla="*/ 571500 h 1651000"/>
              <a:gd name="connsiteX1" fmla="*/ 622300 w 9169400"/>
              <a:gd name="connsiteY1" fmla="*/ 431800 h 1651000"/>
              <a:gd name="connsiteX2" fmla="*/ 1143000 w 9169400"/>
              <a:gd name="connsiteY2" fmla="*/ 279400 h 1651000"/>
              <a:gd name="connsiteX3" fmla="*/ 1701800 w 9169400"/>
              <a:gd name="connsiteY3" fmla="*/ 228600 h 1651000"/>
              <a:gd name="connsiteX4" fmla="*/ 2794000 w 9169400"/>
              <a:gd name="connsiteY4" fmla="*/ 355600 h 1651000"/>
              <a:gd name="connsiteX5" fmla="*/ 3873500 w 9169400"/>
              <a:gd name="connsiteY5" fmla="*/ 469900 h 1651000"/>
              <a:gd name="connsiteX6" fmla="*/ 5067300 w 9169400"/>
              <a:gd name="connsiteY6" fmla="*/ 622300 h 1651000"/>
              <a:gd name="connsiteX7" fmla="*/ 6261100 w 9169400"/>
              <a:gd name="connsiteY7" fmla="*/ 558800 h 1651000"/>
              <a:gd name="connsiteX8" fmla="*/ 7086600 w 9169400"/>
              <a:gd name="connsiteY8" fmla="*/ 177800 h 1651000"/>
              <a:gd name="connsiteX9" fmla="*/ 9156700 w 9169400"/>
              <a:gd name="connsiteY9" fmla="*/ 0 h 1651000"/>
              <a:gd name="connsiteX10" fmla="*/ 9169400 w 9169400"/>
              <a:gd name="connsiteY10" fmla="*/ 1651000 h 1651000"/>
              <a:gd name="connsiteX11" fmla="*/ 0 w 9169400"/>
              <a:gd name="connsiteY11" fmla="*/ 1651000 h 1651000"/>
              <a:gd name="connsiteX12" fmla="*/ 12700 w 9169400"/>
              <a:gd name="connsiteY12" fmla="*/ 571500 h 1651000"/>
              <a:gd name="connsiteX0" fmla="*/ 12700 w 9169400"/>
              <a:gd name="connsiteY0" fmla="*/ 571500 h 1651000"/>
              <a:gd name="connsiteX1" fmla="*/ 622300 w 9169400"/>
              <a:gd name="connsiteY1" fmla="*/ 431800 h 1651000"/>
              <a:gd name="connsiteX2" fmla="*/ 1701800 w 9169400"/>
              <a:gd name="connsiteY2" fmla="*/ 228600 h 1651000"/>
              <a:gd name="connsiteX3" fmla="*/ 2794000 w 9169400"/>
              <a:gd name="connsiteY3" fmla="*/ 355600 h 1651000"/>
              <a:gd name="connsiteX4" fmla="*/ 3873500 w 9169400"/>
              <a:gd name="connsiteY4" fmla="*/ 469900 h 1651000"/>
              <a:gd name="connsiteX5" fmla="*/ 5067300 w 9169400"/>
              <a:gd name="connsiteY5" fmla="*/ 622300 h 1651000"/>
              <a:gd name="connsiteX6" fmla="*/ 6261100 w 9169400"/>
              <a:gd name="connsiteY6" fmla="*/ 558800 h 1651000"/>
              <a:gd name="connsiteX7" fmla="*/ 7086600 w 9169400"/>
              <a:gd name="connsiteY7" fmla="*/ 177800 h 1651000"/>
              <a:gd name="connsiteX8" fmla="*/ 9156700 w 9169400"/>
              <a:gd name="connsiteY8" fmla="*/ 0 h 1651000"/>
              <a:gd name="connsiteX9" fmla="*/ 9169400 w 9169400"/>
              <a:gd name="connsiteY9" fmla="*/ 1651000 h 1651000"/>
              <a:gd name="connsiteX10" fmla="*/ 0 w 9169400"/>
              <a:gd name="connsiteY10" fmla="*/ 1651000 h 1651000"/>
              <a:gd name="connsiteX11" fmla="*/ 12700 w 9169400"/>
              <a:gd name="connsiteY11" fmla="*/ 571500 h 1651000"/>
              <a:gd name="connsiteX0" fmla="*/ 12700 w 9169400"/>
              <a:gd name="connsiteY0" fmla="*/ 571500 h 1651000"/>
              <a:gd name="connsiteX1" fmla="*/ 863600 w 9169400"/>
              <a:gd name="connsiteY1" fmla="*/ 342900 h 1651000"/>
              <a:gd name="connsiteX2" fmla="*/ 1701800 w 9169400"/>
              <a:gd name="connsiteY2" fmla="*/ 228600 h 1651000"/>
              <a:gd name="connsiteX3" fmla="*/ 2794000 w 9169400"/>
              <a:gd name="connsiteY3" fmla="*/ 355600 h 1651000"/>
              <a:gd name="connsiteX4" fmla="*/ 3873500 w 9169400"/>
              <a:gd name="connsiteY4" fmla="*/ 469900 h 1651000"/>
              <a:gd name="connsiteX5" fmla="*/ 5067300 w 9169400"/>
              <a:gd name="connsiteY5" fmla="*/ 622300 h 1651000"/>
              <a:gd name="connsiteX6" fmla="*/ 6261100 w 9169400"/>
              <a:gd name="connsiteY6" fmla="*/ 558800 h 1651000"/>
              <a:gd name="connsiteX7" fmla="*/ 7086600 w 9169400"/>
              <a:gd name="connsiteY7" fmla="*/ 177800 h 1651000"/>
              <a:gd name="connsiteX8" fmla="*/ 9156700 w 9169400"/>
              <a:gd name="connsiteY8" fmla="*/ 0 h 1651000"/>
              <a:gd name="connsiteX9" fmla="*/ 9169400 w 9169400"/>
              <a:gd name="connsiteY9" fmla="*/ 1651000 h 1651000"/>
              <a:gd name="connsiteX10" fmla="*/ 0 w 9169400"/>
              <a:gd name="connsiteY10" fmla="*/ 1651000 h 1651000"/>
              <a:gd name="connsiteX11" fmla="*/ 12700 w 9169400"/>
              <a:gd name="connsiteY11" fmla="*/ 571500 h 1651000"/>
              <a:gd name="connsiteX0" fmla="*/ 12700 w 9169400"/>
              <a:gd name="connsiteY0" fmla="*/ 571500 h 1651000"/>
              <a:gd name="connsiteX1" fmla="*/ 863600 w 9169400"/>
              <a:gd name="connsiteY1" fmla="*/ 342900 h 1651000"/>
              <a:gd name="connsiteX2" fmla="*/ 1701800 w 9169400"/>
              <a:gd name="connsiteY2" fmla="*/ 228600 h 1651000"/>
              <a:gd name="connsiteX3" fmla="*/ 2794000 w 9169400"/>
              <a:gd name="connsiteY3" fmla="*/ 355600 h 1651000"/>
              <a:gd name="connsiteX4" fmla="*/ 3873500 w 9169400"/>
              <a:gd name="connsiteY4" fmla="*/ 469900 h 1651000"/>
              <a:gd name="connsiteX5" fmla="*/ 5067300 w 9169400"/>
              <a:gd name="connsiteY5" fmla="*/ 622300 h 1651000"/>
              <a:gd name="connsiteX6" fmla="*/ 6261100 w 9169400"/>
              <a:gd name="connsiteY6" fmla="*/ 558800 h 1651000"/>
              <a:gd name="connsiteX7" fmla="*/ 7086600 w 9169400"/>
              <a:gd name="connsiteY7" fmla="*/ 177800 h 1651000"/>
              <a:gd name="connsiteX8" fmla="*/ 9156700 w 9169400"/>
              <a:gd name="connsiteY8" fmla="*/ 0 h 1651000"/>
              <a:gd name="connsiteX9" fmla="*/ 9169400 w 9169400"/>
              <a:gd name="connsiteY9" fmla="*/ 1651000 h 1651000"/>
              <a:gd name="connsiteX10" fmla="*/ 0 w 9169400"/>
              <a:gd name="connsiteY10" fmla="*/ 1651000 h 1651000"/>
              <a:gd name="connsiteX11" fmla="*/ 12700 w 9169400"/>
              <a:gd name="connsiteY11" fmla="*/ 571500 h 1651000"/>
              <a:gd name="connsiteX0" fmla="*/ 12700 w 9169400"/>
              <a:gd name="connsiteY0" fmla="*/ 571500 h 1651000"/>
              <a:gd name="connsiteX1" fmla="*/ 863600 w 9169400"/>
              <a:gd name="connsiteY1" fmla="*/ 342900 h 1651000"/>
              <a:gd name="connsiteX2" fmla="*/ 1701800 w 9169400"/>
              <a:gd name="connsiteY2" fmla="*/ 228600 h 1651000"/>
              <a:gd name="connsiteX3" fmla="*/ 2794000 w 9169400"/>
              <a:gd name="connsiteY3" fmla="*/ 355600 h 1651000"/>
              <a:gd name="connsiteX4" fmla="*/ 3873500 w 9169400"/>
              <a:gd name="connsiteY4" fmla="*/ 469900 h 1651000"/>
              <a:gd name="connsiteX5" fmla="*/ 5067300 w 9169400"/>
              <a:gd name="connsiteY5" fmla="*/ 622300 h 1651000"/>
              <a:gd name="connsiteX6" fmla="*/ 6197600 w 9169400"/>
              <a:gd name="connsiteY6" fmla="*/ 482600 h 1651000"/>
              <a:gd name="connsiteX7" fmla="*/ 7086600 w 9169400"/>
              <a:gd name="connsiteY7" fmla="*/ 177800 h 1651000"/>
              <a:gd name="connsiteX8" fmla="*/ 9156700 w 9169400"/>
              <a:gd name="connsiteY8" fmla="*/ 0 h 1651000"/>
              <a:gd name="connsiteX9" fmla="*/ 9169400 w 9169400"/>
              <a:gd name="connsiteY9" fmla="*/ 1651000 h 1651000"/>
              <a:gd name="connsiteX10" fmla="*/ 0 w 9169400"/>
              <a:gd name="connsiteY10" fmla="*/ 1651000 h 1651000"/>
              <a:gd name="connsiteX11" fmla="*/ 12700 w 9169400"/>
              <a:gd name="connsiteY11" fmla="*/ 571500 h 1651000"/>
              <a:gd name="connsiteX0" fmla="*/ 12700 w 9169400"/>
              <a:gd name="connsiteY0" fmla="*/ 571500 h 1651000"/>
              <a:gd name="connsiteX1" fmla="*/ 863600 w 9169400"/>
              <a:gd name="connsiteY1" fmla="*/ 342900 h 1651000"/>
              <a:gd name="connsiteX2" fmla="*/ 1701800 w 9169400"/>
              <a:gd name="connsiteY2" fmla="*/ 228600 h 1651000"/>
              <a:gd name="connsiteX3" fmla="*/ 2794000 w 9169400"/>
              <a:gd name="connsiteY3" fmla="*/ 355600 h 1651000"/>
              <a:gd name="connsiteX4" fmla="*/ 3873500 w 9169400"/>
              <a:gd name="connsiteY4" fmla="*/ 469900 h 1651000"/>
              <a:gd name="connsiteX5" fmla="*/ 5067300 w 9169400"/>
              <a:gd name="connsiteY5" fmla="*/ 622300 h 1651000"/>
              <a:gd name="connsiteX6" fmla="*/ 6197600 w 9169400"/>
              <a:gd name="connsiteY6" fmla="*/ 482600 h 1651000"/>
              <a:gd name="connsiteX7" fmla="*/ 7785100 w 9169400"/>
              <a:gd name="connsiteY7" fmla="*/ 63500 h 1651000"/>
              <a:gd name="connsiteX8" fmla="*/ 9156700 w 9169400"/>
              <a:gd name="connsiteY8" fmla="*/ 0 h 1651000"/>
              <a:gd name="connsiteX9" fmla="*/ 9169400 w 9169400"/>
              <a:gd name="connsiteY9" fmla="*/ 1651000 h 1651000"/>
              <a:gd name="connsiteX10" fmla="*/ 0 w 9169400"/>
              <a:gd name="connsiteY10" fmla="*/ 1651000 h 1651000"/>
              <a:gd name="connsiteX11" fmla="*/ 12700 w 9169400"/>
              <a:gd name="connsiteY11" fmla="*/ 571500 h 1651000"/>
              <a:gd name="connsiteX0" fmla="*/ 12700 w 9169400"/>
              <a:gd name="connsiteY0" fmla="*/ 571500 h 1651000"/>
              <a:gd name="connsiteX1" fmla="*/ 863600 w 9169400"/>
              <a:gd name="connsiteY1" fmla="*/ 342900 h 1651000"/>
              <a:gd name="connsiteX2" fmla="*/ 1701800 w 9169400"/>
              <a:gd name="connsiteY2" fmla="*/ 228600 h 1651000"/>
              <a:gd name="connsiteX3" fmla="*/ 2794000 w 9169400"/>
              <a:gd name="connsiteY3" fmla="*/ 355600 h 1651000"/>
              <a:gd name="connsiteX4" fmla="*/ 3873500 w 9169400"/>
              <a:gd name="connsiteY4" fmla="*/ 469900 h 1651000"/>
              <a:gd name="connsiteX5" fmla="*/ 5067300 w 9169400"/>
              <a:gd name="connsiteY5" fmla="*/ 622300 h 1651000"/>
              <a:gd name="connsiteX6" fmla="*/ 6197600 w 9169400"/>
              <a:gd name="connsiteY6" fmla="*/ 482600 h 1651000"/>
              <a:gd name="connsiteX7" fmla="*/ 7785100 w 9169400"/>
              <a:gd name="connsiteY7" fmla="*/ 63500 h 1651000"/>
              <a:gd name="connsiteX8" fmla="*/ 9156700 w 9169400"/>
              <a:gd name="connsiteY8" fmla="*/ 0 h 1651000"/>
              <a:gd name="connsiteX9" fmla="*/ 9169400 w 9169400"/>
              <a:gd name="connsiteY9" fmla="*/ 1651000 h 1651000"/>
              <a:gd name="connsiteX10" fmla="*/ 0 w 9169400"/>
              <a:gd name="connsiteY10" fmla="*/ 1651000 h 1651000"/>
              <a:gd name="connsiteX11" fmla="*/ 12700 w 9169400"/>
              <a:gd name="connsiteY11" fmla="*/ 571500 h 1651000"/>
              <a:gd name="connsiteX0" fmla="*/ 12700 w 9169400"/>
              <a:gd name="connsiteY0" fmla="*/ 571500 h 1651000"/>
              <a:gd name="connsiteX1" fmla="*/ 863600 w 9169400"/>
              <a:gd name="connsiteY1" fmla="*/ 342900 h 1651000"/>
              <a:gd name="connsiteX2" fmla="*/ 1701800 w 9169400"/>
              <a:gd name="connsiteY2" fmla="*/ 228600 h 1651000"/>
              <a:gd name="connsiteX3" fmla="*/ 2794000 w 9169400"/>
              <a:gd name="connsiteY3" fmla="*/ 355600 h 1651000"/>
              <a:gd name="connsiteX4" fmla="*/ 3873500 w 9169400"/>
              <a:gd name="connsiteY4" fmla="*/ 469900 h 1651000"/>
              <a:gd name="connsiteX5" fmla="*/ 5067300 w 9169400"/>
              <a:gd name="connsiteY5" fmla="*/ 622300 h 1651000"/>
              <a:gd name="connsiteX6" fmla="*/ 6197600 w 9169400"/>
              <a:gd name="connsiteY6" fmla="*/ 482600 h 1651000"/>
              <a:gd name="connsiteX7" fmla="*/ 7785100 w 9169400"/>
              <a:gd name="connsiteY7" fmla="*/ 63500 h 1651000"/>
              <a:gd name="connsiteX8" fmla="*/ 9156700 w 9169400"/>
              <a:gd name="connsiteY8" fmla="*/ 0 h 1651000"/>
              <a:gd name="connsiteX9" fmla="*/ 9169400 w 9169400"/>
              <a:gd name="connsiteY9" fmla="*/ 1651000 h 1651000"/>
              <a:gd name="connsiteX10" fmla="*/ 0 w 9169400"/>
              <a:gd name="connsiteY10" fmla="*/ 1651000 h 1651000"/>
              <a:gd name="connsiteX11" fmla="*/ 12700 w 9169400"/>
              <a:gd name="connsiteY11" fmla="*/ 571500 h 1651000"/>
              <a:gd name="connsiteX0" fmla="*/ 12700 w 9169400"/>
              <a:gd name="connsiteY0" fmla="*/ 571500 h 1651000"/>
              <a:gd name="connsiteX1" fmla="*/ 863600 w 9169400"/>
              <a:gd name="connsiteY1" fmla="*/ 342900 h 1651000"/>
              <a:gd name="connsiteX2" fmla="*/ 1879600 w 9169400"/>
              <a:gd name="connsiteY2" fmla="*/ 215900 h 1651000"/>
              <a:gd name="connsiteX3" fmla="*/ 2794000 w 9169400"/>
              <a:gd name="connsiteY3" fmla="*/ 355600 h 1651000"/>
              <a:gd name="connsiteX4" fmla="*/ 3873500 w 9169400"/>
              <a:gd name="connsiteY4" fmla="*/ 469900 h 1651000"/>
              <a:gd name="connsiteX5" fmla="*/ 5067300 w 9169400"/>
              <a:gd name="connsiteY5" fmla="*/ 622300 h 1651000"/>
              <a:gd name="connsiteX6" fmla="*/ 6197600 w 9169400"/>
              <a:gd name="connsiteY6" fmla="*/ 482600 h 1651000"/>
              <a:gd name="connsiteX7" fmla="*/ 7785100 w 9169400"/>
              <a:gd name="connsiteY7" fmla="*/ 63500 h 1651000"/>
              <a:gd name="connsiteX8" fmla="*/ 9156700 w 9169400"/>
              <a:gd name="connsiteY8" fmla="*/ 0 h 1651000"/>
              <a:gd name="connsiteX9" fmla="*/ 9169400 w 9169400"/>
              <a:gd name="connsiteY9" fmla="*/ 1651000 h 1651000"/>
              <a:gd name="connsiteX10" fmla="*/ 0 w 9169400"/>
              <a:gd name="connsiteY10" fmla="*/ 1651000 h 1651000"/>
              <a:gd name="connsiteX11" fmla="*/ 12700 w 9169400"/>
              <a:gd name="connsiteY11" fmla="*/ 571500 h 1651000"/>
              <a:gd name="connsiteX0" fmla="*/ 12700 w 9169400"/>
              <a:gd name="connsiteY0" fmla="*/ 571500 h 1651000"/>
              <a:gd name="connsiteX1" fmla="*/ 863600 w 9169400"/>
              <a:gd name="connsiteY1" fmla="*/ 342900 h 1651000"/>
              <a:gd name="connsiteX2" fmla="*/ 2794000 w 9169400"/>
              <a:gd name="connsiteY2" fmla="*/ 355600 h 1651000"/>
              <a:gd name="connsiteX3" fmla="*/ 3873500 w 9169400"/>
              <a:gd name="connsiteY3" fmla="*/ 469900 h 1651000"/>
              <a:gd name="connsiteX4" fmla="*/ 5067300 w 9169400"/>
              <a:gd name="connsiteY4" fmla="*/ 622300 h 1651000"/>
              <a:gd name="connsiteX5" fmla="*/ 6197600 w 9169400"/>
              <a:gd name="connsiteY5" fmla="*/ 482600 h 1651000"/>
              <a:gd name="connsiteX6" fmla="*/ 7785100 w 9169400"/>
              <a:gd name="connsiteY6" fmla="*/ 63500 h 1651000"/>
              <a:gd name="connsiteX7" fmla="*/ 9156700 w 9169400"/>
              <a:gd name="connsiteY7" fmla="*/ 0 h 1651000"/>
              <a:gd name="connsiteX8" fmla="*/ 9169400 w 9169400"/>
              <a:gd name="connsiteY8" fmla="*/ 1651000 h 1651000"/>
              <a:gd name="connsiteX9" fmla="*/ 0 w 9169400"/>
              <a:gd name="connsiteY9" fmla="*/ 1651000 h 1651000"/>
              <a:gd name="connsiteX10" fmla="*/ 12700 w 9169400"/>
              <a:gd name="connsiteY10" fmla="*/ 571500 h 1651000"/>
              <a:gd name="connsiteX0" fmla="*/ 12700 w 9169400"/>
              <a:gd name="connsiteY0" fmla="*/ 571500 h 1651000"/>
              <a:gd name="connsiteX1" fmla="*/ 863600 w 9169400"/>
              <a:gd name="connsiteY1" fmla="*/ 342900 h 1651000"/>
              <a:gd name="connsiteX2" fmla="*/ 2565400 w 9169400"/>
              <a:gd name="connsiteY2" fmla="*/ 317500 h 1651000"/>
              <a:gd name="connsiteX3" fmla="*/ 3873500 w 9169400"/>
              <a:gd name="connsiteY3" fmla="*/ 469900 h 1651000"/>
              <a:gd name="connsiteX4" fmla="*/ 5067300 w 9169400"/>
              <a:gd name="connsiteY4" fmla="*/ 622300 h 1651000"/>
              <a:gd name="connsiteX5" fmla="*/ 6197600 w 9169400"/>
              <a:gd name="connsiteY5" fmla="*/ 482600 h 1651000"/>
              <a:gd name="connsiteX6" fmla="*/ 7785100 w 9169400"/>
              <a:gd name="connsiteY6" fmla="*/ 63500 h 1651000"/>
              <a:gd name="connsiteX7" fmla="*/ 9156700 w 9169400"/>
              <a:gd name="connsiteY7" fmla="*/ 0 h 1651000"/>
              <a:gd name="connsiteX8" fmla="*/ 9169400 w 9169400"/>
              <a:gd name="connsiteY8" fmla="*/ 1651000 h 1651000"/>
              <a:gd name="connsiteX9" fmla="*/ 0 w 9169400"/>
              <a:gd name="connsiteY9" fmla="*/ 1651000 h 1651000"/>
              <a:gd name="connsiteX10" fmla="*/ 12700 w 9169400"/>
              <a:gd name="connsiteY10" fmla="*/ 571500 h 1651000"/>
              <a:gd name="connsiteX0" fmla="*/ 12700 w 9169400"/>
              <a:gd name="connsiteY0" fmla="*/ 571500 h 1651000"/>
              <a:gd name="connsiteX1" fmla="*/ 863600 w 9169400"/>
              <a:gd name="connsiteY1" fmla="*/ 342900 h 1651000"/>
              <a:gd name="connsiteX2" fmla="*/ 2565400 w 9169400"/>
              <a:gd name="connsiteY2" fmla="*/ 317500 h 1651000"/>
              <a:gd name="connsiteX3" fmla="*/ 3873500 w 9169400"/>
              <a:gd name="connsiteY3" fmla="*/ 469900 h 1651000"/>
              <a:gd name="connsiteX4" fmla="*/ 5067300 w 9169400"/>
              <a:gd name="connsiteY4" fmla="*/ 622300 h 1651000"/>
              <a:gd name="connsiteX5" fmla="*/ 6197600 w 9169400"/>
              <a:gd name="connsiteY5" fmla="*/ 482600 h 1651000"/>
              <a:gd name="connsiteX6" fmla="*/ 7785100 w 9169400"/>
              <a:gd name="connsiteY6" fmla="*/ 63500 h 1651000"/>
              <a:gd name="connsiteX7" fmla="*/ 9156700 w 9169400"/>
              <a:gd name="connsiteY7" fmla="*/ 0 h 1651000"/>
              <a:gd name="connsiteX8" fmla="*/ 9169400 w 9169400"/>
              <a:gd name="connsiteY8" fmla="*/ 1651000 h 1651000"/>
              <a:gd name="connsiteX9" fmla="*/ 0 w 9169400"/>
              <a:gd name="connsiteY9" fmla="*/ 1651000 h 1651000"/>
              <a:gd name="connsiteX10" fmla="*/ 12700 w 9169400"/>
              <a:gd name="connsiteY10" fmla="*/ 571500 h 1651000"/>
              <a:gd name="connsiteX0" fmla="*/ 12700 w 9169400"/>
              <a:gd name="connsiteY0" fmla="*/ 571500 h 1651000"/>
              <a:gd name="connsiteX1" fmla="*/ 1143000 w 9169400"/>
              <a:gd name="connsiteY1" fmla="*/ 431800 h 1651000"/>
              <a:gd name="connsiteX2" fmla="*/ 2565400 w 9169400"/>
              <a:gd name="connsiteY2" fmla="*/ 317500 h 1651000"/>
              <a:gd name="connsiteX3" fmla="*/ 3873500 w 9169400"/>
              <a:gd name="connsiteY3" fmla="*/ 469900 h 1651000"/>
              <a:gd name="connsiteX4" fmla="*/ 5067300 w 9169400"/>
              <a:gd name="connsiteY4" fmla="*/ 622300 h 1651000"/>
              <a:gd name="connsiteX5" fmla="*/ 6197600 w 9169400"/>
              <a:gd name="connsiteY5" fmla="*/ 482600 h 1651000"/>
              <a:gd name="connsiteX6" fmla="*/ 7785100 w 9169400"/>
              <a:gd name="connsiteY6" fmla="*/ 63500 h 1651000"/>
              <a:gd name="connsiteX7" fmla="*/ 9156700 w 9169400"/>
              <a:gd name="connsiteY7" fmla="*/ 0 h 1651000"/>
              <a:gd name="connsiteX8" fmla="*/ 9169400 w 9169400"/>
              <a:gd name="connsiteY8" fmla="*/ 1651000 h 1651000"/>
              <a:gd name="connsiteX9" fmla="*/ 0 w 9169400"/>
              <a:gd name="connsiteY9" fmla="*/ 1651000 h 1651000"/>
              <a:gd name="connsiteX10" fmla="*/ 12700 w 9169400"/>
              <a:gd name="connsiteY10" fmla="*/ 571500 h 1651000"/>
              <a:gd name="connsiteX0" fmla="*/ 12700 w 9169400"/>
              <a:gd name="connsiteY0" fmla="*/ 571500 h 1651000"/>
              <a:gd name="connsiteX1" fmla="*/ 1143000 w 9169400"/>
              <a:gd name="connsiteY1" fmla="*/ 431800 h 1651000"/>
              <a:gd name="connsiteX2" fmla="*/ 2565400 w 9169400"/>
              <a:gd name="connsiteY2" fmla="*/ 317500 h 1651000"/>
              <a:gd name="connsiteX3" fmla="*/ 3873500 w 9169400"/>
              <a:gd name="connsiteY3" fmla="*/ 469900 h 1651000"/>
              <a:gd name="connsiteX4" fmla="*/ 5067300 w 9169400"/>
              <a:gd name="connsiteY4" fmla="*/ 622300 h 1651000"/>
              <a:gd name="connsiteX5" fmla="*/ 6197600 w 9169400"/>
              <a:gd name="connsiteY5" fmla="*/ 482600 h 1651000"/>
              <a:gd name="connsiteX6" fmla="*/ 7785100 w 9169400"/>
              <a:gd name="connsiteY6" fmla="*/ 63500 h 1651000"/>
              <a:gd name="connsiteX7" fmla="*/ 9156700 w 9169400"/>
              <a:gd name="connsiteY7" fmla="*/ 0 h 1651000"/>
              <a:gd name="connsiteX8" fmla="*/ 9169400 w 9169400"/>
              <a:gd name="connsiteY8" fmla="*/ 1651000 h 1651000"/>
              <a:gd name="connsiteX9" fmla="*/ 0 w 9169400"/>
              <a:gd name="connsiteY9" fmla="*/ 1651000 h 1651000"/>
              <a:gd name="connsiteX10" fmla="*/ 12700 w 9169400"/>
              <a:gd name="connsiteY10" fmla="*/ 571500 h 1651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169400" h="1651000">
                <a:moveTo>
                  <a:pt x="12700" y="571500"/>
                </a:moveTo>
                <a:cubicBezTo>
                  <a:pt x="662517" y="469900"/>
                  <a:pt x="717550" y="474133"/>
                  <a:pt x="1143000" y="431800"/>
                </a:cubicBezTo>
                <a:cubicBezTo>
                  <a:pt x="1568450" y="389467"/>
                  <a:pt x="2110317" y="311150"/>
                  <a:pt x="2565400" y="317500"/>
                </a:cubicBezTo>
                <a:cubicBezTo>
                  <a:pt x="3020483" y="323850"/>
                  <a:pt x="3456517" y="419100"/>
                  <a:pt x="3873500" y="469900"/>
                </a:cubicBezTo>
                <a:cubicBezTo>
                  <a:pt x="4290483" y="520700"/>
                  <a:pt x="4679950" y="620183"/>
                  <a:pt x="5067300" y="622300"/>
                </a:cubicBezTo>
                <a:cubicBezTo>
                  <a:pt x="5454650" y="624417"/>
                  <a:pt x="5744633" y="575733"/>
                  <a:pt x="6197600" y="482600"/>
                </a:cubicBezTo>
                <a:cubicBezTo>
                  <a:pt x="6650567" y="389467"/>
                  <a:pt x="7253817" y="131233"/>
                  <a:pt x="7785100" y="63500"/>
                </a:cubicBezTo>
                <a:cubicBezTo>
                  <a:pt x="8316383" y="-4233"/>
                  <a:pt x="8453967" y="21167"/>
                  <a:pt x="9156700" y="0"/>
                </a:cubicBezTo>
                <a:cubicBezTo>
                  <a:pt x="9160933" y="550333"/>
                  <a:pt x="9165167" y="1100667"/>
                  <a:pt x="9169400" y="1651000"/>
                </a:cubicBezTo>
                <a:lnTo>
                  <a:pt x="0" y="1651000"/>
                </a:lnTo>
                <a:lnTo>
                  <a:pt x="12700" y="571500"/>
                </a:lnTo>
                <a:close/>
              </a:path>
            </a:pathLst>
          </a:cu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Sun 8"/>
          <p:cNvSpPr/>
          <p:nvPr/>
        </p:nvSpPr>
        <p:spPr>
          <a:xfrm>
            <a:off x="6400800" y="133350"/>
            <a:ext cx="1219200" cy="1219200"/>
          </a:xfrm>
          <a:prstGeom prst="sun">
            <a:avLst>
              <a:gd name="adj" fmla="val 32500"/>
            </a:avLst>
          </a:prstGeom>
          <a:solidFill>
            <a:srgbClr val="FFFF0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0" name="Cloud 9"/>
          <p:cNvSpPr/>
          <p:nvPr/>
        </p:nvSpPr>
        <p:spPr>
          <a:xfrm>
            <a:off x="5410200" y="742950"/>
            <a:ext cx="1447800" cy="914400"/>
          </a:xfrm>
          <a:prstGeom prst="cloud">
            <a:avLst/>
          </a:prstGeom>
          <a:solidFill>
            <a:schemeClr val="bg1"/>
          </a:solidFill>
          <a:ln>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55" name="Group 54"/>
          <p:cNvGrpSpPr/>
          <p:nvPr/>
        </p:nvGrpSpPr>
        <p:grpSpPr>
          <a:xfrm>
            <a:off x="5462584" y="3257550"/>
            <a:ext cx="988458" cy="1095124"/>
            <a:chOff x="3421617" y="3102270"/>
            <a:chExt cx="988458" cy="1095124"/>
          </a:xfrm>
          <a:effectLst>
            <a:outerShdw blurRad="76200" dir="13500000" sy="23000" kx="1200000" algn="br" rotWithShape="0">
              <a:prstClr val="black">
                <a:alpha val="20000"/>
              </a:prstClr>
            </a:outerShdw>
          </a:effectLst>
        </p:grpSpPr>
        <p:sp>
          <p:nvSpPr>
            <p:cNvPr id="39" name="Parallelogram 38"/>
            <p:cNvSpPr/>
            <p:nvPr/>
          </p:nvSpPr>
          <p:spPr>
            <a:xfrm flipH="1">
              <a:off x="3421617" y="3102270"/>
              <a:ext cx="988458" cy="1095124"/>
            </a:xfrm>
            <a:prstGeom prst="parallelogram">
              <a:avLst>
                <a:gd name="adj" fmla="val 27409"/>
              </a:avLst>
            </a:prstGeom>
            <a:solidFill>
              <a:schemeClr val="bg1"/>
            </a:solidFill>
            <a:ln>
              <a:no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grpSp>
          <p:nvGrpSpPr>
            <p:cNvPr id="44" name="Group 43"/>
            <p:cNvGrpSpPr/>
            <p:nvPr/>
          </p:nvGrpSpPr>
          <p:grpSpPr>
            <a:xfrm>
              <a:off x="3488531" y="3156897"/>
              <a:ext cx="685802" cy="307680"/>
              <a:chOff x="3505198" y="3156897"/>
              <a:chExt cx="588168" cy="307680"/>
            </a:xfrm>
          </p:grpSpPr>
          <p:sp>
            <p:nvSpPr>
              <p:cNvPr id="40" name="Parallelogram 39"/>
              <p:cNvSpPr/>
              <p:nvPr/>
            </p:nvSpPr>
            <p:spPr>
              <a:xfrm flipH="1">
                <a:off x="3505198" y="3156897"/>
                <a:ext cx="152401" cy="307680"/>
              </a:xfrm>
              <a:prstGeom prst="parallelogram">
                <a:avLst>
                  <a:gd name="adj" fmla="val 47819"/>
                </a:avLst>
              </a:prstGeom>
              <a:solidFill>
                <a:schemeClr val="bg1"/>
              </a:solidFill>
              <a:ln>
                <a:no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41" name="Parallelogram 40"/>
              <p:cNvSpPr/>
              <p:nvPr/>
            </p:nvSpPr>
            <p:spPr>
              <a:xfrm flipH="1">
                <a:off x="3650454" y="3156897"/>
                <a:ext cx="152401" cy="307680"/>
              </a:xfrm>
              <a:prstGeom prst="parallelogram">
                <a:avLst>
                  <a:gd name="adj" fmla="val 47819"/>
                </a:avLst>
              </a:prstGeom>
              <a:solidFill>
                <a:schemeClr val="bg1"/>
              </a:solidFill>
              <a:ln>
                <a:no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42" name="Parallelogram 41"/>
              <p:cNvSpPr/>
              <p:nvPr/>
            </p:nvSpPr>
            <p:spPr>
              <a:xfrm flipH="1">
                <a:off x="3795710" y="3156897"/>
                <a:ext cx="152401" cy="307680"/>
              </a:xfrm>
              <a:prstGeom prst="parallelogram">
                <a:avLst>
                  <a:gd name="adj" fmla="val 47819"/>
                </a:avLst>
              </a:prstGeom>
              <a:solidFill>
                <a:schemeClr val="bg1"/>
              </a:solidFill>
              <a:ln>
                <a:no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43" name="Parallelogram 42"/>
              <p:cNvSpPr/>
              <p:nvPr/>
            </p:nvSpPr>
            <p:spPr>
              <a:xfrm flipH="1">
                <a:off x="3940965" y="3156897"/>
                <a:ext cx="152401" cy="307680"/>
              </a:xfrm>
              <a:prstGeom prst="parallelogram">
                <a:avLst>
                  <a:gd name="adj" fmla="val 47819"/>
                </a:avLst>
              </a:prstGeom>
              <a:solidFill>
                <a:schemeClr val="bg1"/>
              </a:solidFill>
              <a:ln>
                <a:no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grpSp>
        <p:grpSp>
          <p:nvGrpSpPr>
            <p:cNvPr id="45" name="Group 44"/>
            <p:cNvGrpSpPr/>
            <p:nvPr/>
          </p:nvGrpSpPr>
          <p:grpSpPr>
            <a:xfrm>
              <a:off x="3581398" y="3508857"/>
              <a:ext cx="685802" cy="307680"/>
              <a:chOff x="3505198" y="3156897"/>
              <a:chExt cx="588168" cy="307680"/>
            </a:xfrm>
          </p:grpSpPr>
          <p:sp>
            <p:nvSpPr>
              <p:cNvPr id="46" name="Parallelogram 45"/>
              <p:cNvSpPr/>
              <p:nvPr/>
            </p:nvSpPr>
            <p:spPr>
              <a:xfrm flipH="1">
                <a:off x="3505198" y="3156897"/>
                <a:ext cx="152401" cy="307680"/>
              </a:xfrm>
              <a:prstGeom prst="parallelogram">
                <a:avLst>
                  <a:gd name="adj" fmla="val 47819"/>
                </a:avLst>
              </a:prstGeom>
              <a:solidFill>
                <a:schemeClr val="bg1"/>
              </a:solidFill>
              <a:ln>
                <a:no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47" name="Parallelogram 46"/>
              <p:cNvSpPr/>
              <p:nvPr/>
            </p:nvSpPr>
            <p:spPr>
              <a:xfrm flipH="1">
                <a:off x="3650454" y="3156897"/>
                <a:ext cx="152401" cy="307680"/>
              </a:xfrm>
              <a:prstGeom prst="parallelogram">
                <a:avLst>
                  <a:gd name="adj" fmla="val 47819"/>
                </a:avLst>
              </a:prstGeom>
              <a:solidFill>
                <a:schemeClr val="bg1"/>
              </a:solidFill>
              <a:ln>
                <a:no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48" name="Parallelogram 47"/>
              <p:cNvSpPr/>
              <p:nvPr/>
            </p:nvSpPr>
            <p:spPr>
              <a:xfrm flipH="1">
                <a:off x="3795710" y="3156897"/>
                <a:ext cx="152401" cy="307680"/>
              </a:xfrm>
              <a:prstGeom prst="parallelogram">
                <a:avLst>
                  <a:gd name="adj" fmla="val 47819"/>
                </a:avLst>
              </a:prstGeom>
              <a:solidFill>
                <a:schemeClr val="bg1"/>
              </a:solidFill>
              <a:ln>
                <a:no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49" name="Parallelogram 48"/>
              <p:cNvSpPr/>
              <p:nvPr/>
            </p:nvSpPr>
            <p:spPr>
              <a:xfrm flipH="1">
                <a:off x="3940965" y="3156897"/>
                <a:ext cx="152401" cy="307680"/>
              </a:xfrm>
              <a:prstGeom prst="parallelogram">
                <a:avLst>
                  <a:gd name="adj" fmla="val 47819"/>
                </a:avLst>
              </a:prstGeom>
              <a:solidFill>
                <a:schemeClr val="bg1"/>
              </a:solidFill>
              <a:ln>
                <a:no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grpSp>
        <p:grpSp>
          <p:nvGrpSpPr>
            <p:cNvPr id="50" name="Group 49"/>
            <p:cNvGrpSpPr/>
            <p:nvPr/>
          </p:nvGrpSpPr>
          <p:grpSpPr>
            <a:xfrm>
              <a:off x="3672838" y="3851910"/>
              <a:ext cx="685802" cy="307680"/>
              <a:chOff x="3505198" y="3156897"/>
              <a:chExt cx="588168" cy="307680"/>
            </a:xfrm>
          </p:grpSpPr>
          <p:sp>
            <p:nvSpPr>
              <p:cNvPr id="51" name="Parallelogram 50"/>
              <p:cNvSpPr/>
              <p:nvPr/>
            </p:nvSpPr>
            <p:spPr>
              <a:xfrm flipH="1">
                <a:off x="3505198" y="3156897"/>
                <a:ext cx="152401" cy="307680"/>
              </a:xfrm>
              <a:prstGeom prst="parallelogram">
                <a:avLst>
                  <a:gd name="adj" fmla="val 47819"/>
                </a:avLst>
              </a:prstGeom>
              <a:solidFill>
                <a:schemeClr val="bg1"/>
              </a:solidFill>
              <a:ln>
                <a:no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52" name="Parallelogram 51"/>
              <p:cNvSpPr/>
              <p:nvPr/>
            </p:nvSpPr>
            <p:spPr>
              <a:xfrm flipH="1">
                <a:off x="3650454" y="3156897"/>
                <a:ext cx="152401" cy="307680"/>
              </a:xfrm>
              <a:prstGeom prst="parallelogram">
                <a:avLst>
                  <a:gd name="adj" fmla="val 47819"/>
                </a:avLst>
              </a:prstGeom>
              <a:solidFill>
                <a:schemeClr val="bg1"/>
              </a:solidFill>
              <a:ln>
                <a:no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53" name="Parallelogram 52"/>
              <p:cNvSpPr/>
              <p:nvPr/>
            </p:nvSpPr>
            <p:spPr>
              <a:xfrm flipH="1">
                <a:off x="3795710" y="3156897"/>
                <a:ext cx="152401" cy="307680"/>
              </a:xfrm>
              <a:prstGeom prst="parallelogram">
                <a:avLst>
                  <a:gd name="adj" fmla="val 47819"/>
                </a:avLst>
              </a:prstGeom>
              <a:solidFill>
                <a:schemeClr val="bg1"/>
              </a:solidFill>
              <a:ln>
                <a:no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54" name="Parallelogram 53"/>
              <p:cNvSpPr/>
              <p:nvPr/>
            </p:nvSpPr>
            <p:spPr>
              <a:xfrm flipH="1">
                <a:off x="3940965" y="3156897"/>
                <a:ext cx="152401" cy="307680"/>
              </a:xfrm>
              <a:prstGeom prst="parallelogram">
                <a:avLst>
                  <a:gd name="adj" fmla="val 47819"/>
                </a:avLst>
              </a:prstGeom>
              <a:solidFill>
                <a:schemeClr val="bg1"/>
              </a:solidFill>
              <a:ln>
                <a:no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grpSp>
      </p:grpSp>
      <p:grpSp>
        <p:nvGrpSpPr>
          <p:cNvPr id="73" name="Group 72"/>
          <p:cNvGrpSpPr/>
          <p:nvPr/>
        </p:nvGrpSpPr>
        <p:grpSpPr>
          <a:xfrm>
            <a:off x="7469742" y="3286927"/>
            <a:ext cx="988458" cy="1095124"/>
            <a:chOff x="3421617" y="3102270"/>
            <a:chExt cx="988458" cy="1095124"/>
          </a:xfrm>
          <a:effectLst>
            <a:outerShdw blurRad="76200" dir="13500000" sy="23000" kx="1200000" algn="br" rotWithShape="0">
              <a:prstClr val="black">
                <a:alpha val="20000"/>
              </a:prstClr>
            </a:outerShdw>
          </a:effectLst>
        </p:grpSpPr>
        <p:sp>
          <p:nvSpPr>
            <p:cNvPr id="74" name="Parallelogram 73"/>
            <p:cNvSpPr/>
            <p:nvPr/>
          </p:nvSpPr>
          <p:spPr>
            <a:xfrm flipH="1">
              <a:off x="3421617" y="3102270"/>
              <a:ext cx="988458" cy="1095124"/>
            </a:xfrm>
            <a:prstGeom prst="parallelogram">
              <a:avLst>
                <a:gd name="adj" fmla="val 27409"/>
              </a:avLst>
            </a:prstGeom>
            <a:solidFill>
              <a:schemeClr val="bg1"/>
            </a:solidFill>
            <a:ln>
              <a:no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grpSp>
          <p:nvGrpSpPr>
            <p:cNvPr id="75" name="Group 74"/>
            <p:cNvGrpSpPr/>
            <p:nvPr/>
          </p:nvGrpSpPr>
          <p:grpSpPr>
            <a:xfrm>
              <a:off x="3488531" y="3156897"/>
              <a:ext cx="685802" cy="307680"/>
              <a:chOff x="3505198" y="3156897"/>
              <a:chExt cx="588168" cy="307680"/>
            </a:xfrm>
          </p:grpSpPr>
          <p:sp>
            <p:nvSpPr>
              <p:cNvPr id="86" name="Parallelogram 85"/>
              <p:cNvSpPr/>
              <p:nvPr/>
            </p:nvSpPr>
            <p:spPr>
              <a:xfrm flipH="1">
                <a:off x="3505198" y="3156897"/>
                <a:ext cx="152401" cy="307680"/>
              </a:xfrm>
              <a:prstGeom prst="parallelogram">
                <a:avLst>
                  <a:gd name="adj" fmla="val 47819"/>
                </a:avLst>
              </a:prstGeom>
              <a:solidFill>
                <a:schemeClr val="bg1"/>
              </a:solidFill>
              <a:ln>
                <a:no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87" name="Parallelogram 86"/>
              <p:cNvSpPr/>
              <p:nvPr/>
            </p:nvSpPr>
            <p:spPr>
              <a:xfrm flipH="1">
                <a:off x="3650454" y="3156897"/>
                <a:ext cx="152401" cy="307680"/>
              </a:xfrm>
              <a:prstGeom prst="parallelogram">
                <a:avLst>
                  <a:gd name="adj" fmla="val 47819"/>
                </a:avLst>
              </a:prstGeom>
              <a:solidFill>
                <a:schemeClr val="bg1"/>
              </a:solidFill>
              <a:ln>
                <a:no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88" name="Parallelogram 87"/>
              <p:cNvSpPr/>
              <p:nvPr/>
            </p:nvSpPr>
            <p:spPr>
              <a:xfrm flipH="1">
                <a:off x="3795710" y="3156897"/>
                <a:ext cx="152401" cy="307680"/>
              </a:xfrm>
              <a:prstGeom prst="parallelogram">
                <a:avLst>
                  <a:gd name="adj" fmla="val 47819"/>
                </a:avLst>
              </a:prstGeom>
              <a:solidFill>
                <a:schemeClr val="bg1"/>
              </a:solidFill>
              <a:ln>
                <a:no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89" name="Parallelogram 88"/>
              <p:cNvSpPr/>
              <p:nvPr/>
            </p:nvSpPr>
            <p:spPr>
              <a:xfrm flipH="1">
                <a:off x="3940965" y="3156897"/>
                <a:ext cx="152401" cy="307680"/>
              </a:xfrm>
              <a:prstGeom prst="parallelogram">
                <a:avLst>
                  <a:gd name="adj" fmla="val 47819"/>
                </a:avLst>
              </a:prstGeom>
              <a:solidFill>
                <a:schemeClr val="bg1"/>
              </a:solidFill>
              <a:ln>
                <a:no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grpSp>
        <p:grpSp>
          <p:nvGrpSpPr>
            <p:cNvPr id="76" name="Group 75"/>
            <p:cNvGrpSpPr/>
            <p:nvPr/>
          </p:nvGrpSpPr>
          <p:grpSpPr>
            <a:xfrm>
              <a:off x="3581398" y="3508857"/>
              <a:ext cx="685802" cy="307680"/>
              <a:chOff x="3505198" y="3156897"/>
              <a:chExt cx="588168" cy="307680"/>
            </a:xfrm>
          </p:grpSpPr>
          <p:sp>
            <p:nvSpPr>
              <p:cNvPr id="82" name="Parallelogram 81"/>
              <p:cNvSpPr/>
              <p:nvPr/>
            </p:nvSpPr>
            <p:spPr>
              <a:xfrm flipH="1">
                <a:off x="3505198" y="3156897"/>
                <a:ext cx="152401" cy="307680"/>
              </a:xfrm>
              <a:prstGeom prst="parallelogram">
                <a:avLst>
                  <a:gd name="adj" fmla="val 47819"/>
                </a:avLst>
              </a:prstGeom>
              <a:solidFill>
                <a:schemeClr val="bg1"/>
              </a:solidFill>
              <a:ln>
                <a:no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83" name="Parallelogram 82"/>
              <p:cNvSpPr/>
              <p:nvPr/>
            </p:nvSpPr>
            <p:spPr>
              <a:xfrm flipH="1">
                <a:off x="3650454" y="3156897"/>
                <a:ext cx="152401" cy="307680"/>
              </a:xfrm>
              <a:prstGeom prst="parallelogram">
                <a:avLst>
                  <a:gd name="adj" fmla="val 47819"/>
                </a:avLst>
              </a:prstGeom>
              <a:solidFill>
                <a:schemeClr val="bg1"/>
              </a:solidFill>
              <a:ln>
                <a:no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84" name="Parallelogram 83"/>
              <p:cNvSpPr/>
              <p:nvPr/>
            </p:nvSpPr>
            <p:spPr>
              <a:xfrm flipH="1">
                <a:off x="3795710" y="3156897"/>
                <a:ext cx="152401" cy="307680"/>
              </a:xfrm>
              <a:prstGeom prst="parallelogram">
                <a:avLst>
                  <a:gd name="adj" fmla="val 47819"/>
                </a:avLst>
              </a:prstGeom>
              <a:solidFill>
                <a:schemeClr val="bg1"/>
              </a:solidFill>
              <a:ln>
                <a:no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85" name="Parallelogram 84"/>
              <p:cNvSpPr/>
              <p:nvPr/>
            </p:nvSpPr>
            <p:spPr>
              <a:xfrm flipH="1">
                <a:off x="3940965" y="3156897"/>
                <a:ext cx="152401" cy="307680"/>
              </a:xfrm>
              <a:prstGeom prst="parallelogram">
                <a:avLst>
                  <a:gd name="adj" fmla="val 47819"/>
                </a:avLst>
              </a:prstGeom>
              <a:solidFill>
                <a:schemeClr val="bg1"/>
              </a:solidFill>
              <a:ln>
                <a:no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grpSp>
        <p:grpSp>
          <p:nvGrpSpPr>
            <p:cNvPr id="77" name="Group 76"/>
            <p:cNvGrpSpPr/>
            <p:nvPr/>
          </p:nvGrpSpPr>
          <p:grpSpPr>
            <a:xfrm>
              <a:off x="3672838" y="3851910"/>
              <a:ext cx="685802" cy="307680"/>
              <a:chOff x="3505198" y="3156897"/>
              <a:chExt cx="588168" cy="307680"/>
            </a:xfrm>
          </p:grpSpPr>
          <p:sp>
            <p:nvSpPr>
              <p:cNvPr id="78" name="Parallelogram 77"/>
              <p:cNvSpPr/>
              <p:nvPr/>
            </p:nvSpPr>
            <p:spPr>
              <a:xfrm flipH="1">
                <a:off x="3505198" y="3156897"/>
                <a:ext cx="152401" cy="307680"/>
              </a:xfrm>
              <a:prstGeom prst="parallelogram">
                <a:avLst>
                  <a:gd name="adj" fmla="val 47819"/>
                </a:avLst>
              </a:prstGeom>
              <a:solidFill>
                <a:schemeClr val="bg1"/>
              </a:solidFill>
              <a:ln>
                <a:no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79" name="Parallelogram 78"/>
              <p:cNvSpPr/>
              <p:nvPr/>
            </p:nvSpPr>
            <p:spPr>
              <a:xfrm flipH="1">
                <a:off x="3650454" y="3156897"/>
                <a:ext cx="152401" cy="307680"/>
              </a:xfrm>
              <a:prstGeom prst="parallelogram">
                <a:avLst>
                  <a:gd name="adj" fmla="val 47819"/>
                </a:avLst>
              </a:prstGeom>
              <a:solidFill>
                <a:schemeClr val="bg1"/>
              </a:solidFill>
              <a:ln>
                <a:no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80" name="Parallelogram 79"/>
              <p:cNvSpPr/>
              <p:nvPr/>
            </p:nvSpPr>
            <p:spPr>
              <a:xfrm flipH="1">
                <a:off x="3795710" y="3156897"/>
                <a:ext cx="152401" cy="307680"/>
              </a:xfrm>
              <a:prstGeom prst="parallelogram">
                <a:avLst>
                  <a:gd name="adj" fmla="val 47819"/>
                </a:avLst>
              </a:prstGeom>
              <a:solidFill>
                <a:schemeClr val="bg1"/>
              </a:solidFill>
              <a:ln>
                <a:no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81" name="Parallelogram 80"/>
              <p:cNvSpPr/>
              <p:nvPr/>
            </p:nvSpPr>
            <p:spPr>
              <a:xfrm flipH="1">
                <a:off x="3940965" y="3156897"/>
                <a:ext cx="152401" cy="307680"/>
              </a:xfrm>
              <a:prstGeom prst="parallelogram">
                <a:avLst>
                  <a:gd name="adj" fmla="val 47819"/>
                </a:avLst>
              </a:prstGeom>
              <a:solidFill>
                <a:schemeClr val="bg1"/>
              </a:solidFill>
              <a:ln>
                <a:no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grpSp>
      </p:grpSp>
      <p:grpSp>
        <p:nvGrpSpPr>
          <p:cNvPr id="56" name="Group 55"/>
          <p:cNvGrpSpPr/>
          <p:nvPr/>
        </p:nvGrpSpPr>
        <p:grpSpPr>
          <a:xfrm>
            <a:off x="6555342" y="3534026"/>
            <a:ext cx="988458" cy="1095124"/>
            <a:chOff x="3421617" y="3102270"/>
            <a:chExt cx="988458" cy="1095124"/>
          </a:xfrm>
          <a:effectLst>
            <a:outerShdw blurRad="76200" dir="13500000" sy="23000" kx="1200000" algn="br" rotWithShape="0">
              <a:prstClr val="black">
                <a:alpha val="20000"/>
              </a:prstClr>
            </a:outerShdw>
          </a:effectLst>
        </p:grpSpPr>
        <p:sp>
          <p:nvSpPr>
            <p:cNvPr id="57" name="Parallelogram 56"/>
            <p:cNvSpPr/>
            <p:nvPr/>
          </p:nvSpPr>
          <p:spPr>
            <a:xfrm flipH="1">
              <a:off x="3421617" y="3102270"/>
              <a:ext cx="988458" cy="1095124"/>
            </a:xfrm>
            <a:prstGeom prst="parallelogram">
              <a:avLst>
                <a:gd name="adj" fmla="val 27409"/>
              </a:avLst>
            </a:prstGeom>
            <a:solidFill>
              <a:schemeClr val="bg1"/>
            </a:solidFill>
            <a:ln>
              <a:no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grpSp>
          <p:nvGrpSpPr>
            <p:cNvPr id="58" name="Group 57"/>
            <p:cNvGrpSpPr/>
            <p:nvPr/>
          </p:nvGrpSpPr>
          <p:grpSpPr>
            <a:xfrm>
              <a:off x="3488531" y="3156897"/>
              <a:ext cx="685802" cy="307680"/>
              <a:chOff x="3505198" y="3156897"/>
              <a:chExt cx="588168" cy="307680"/>
            </a:xfrm>
          </p:grpSpPr>
          <p:sp>
            <p:nvSpPr>
              <p:cNvPr id="69" name="Parallelogram 68"/>
              <p:cNvSpPr/>
              <p:nvPr/>
            </p:nvSpPr>
            <p:spPr>
              <a:xfrm flipH="1">
                <a:off x="3505198" y="3156897"/>
                <a:ext cx="152401" cy="307680"/>
              </a:xfrm>
              <a:prstGeom prst="parallelogram">
                <a:avLst>
                  <a:gd name="adj" fmla="val 47819"/>
                </a:avLst>
              </a:prstGeom>
              <a:solidFill>
                <a:schemeClr val="bg1"/>
              </a:solidFill>
              <a:ln>
                <a:no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70" name="Parallelogram 69"/>
              <p:cNvSpPr/>
              <p:nvPr/>
            </p:nvSpPr>
            <p:spPr>
              <a:xfrm flipH="1">
                <a:off x="3650454" y="3156897"/>
                <a:ext cx="152401" cy="307680"/>
              </a:xfrm>
              <a:prstGeom prst="parallelogram">
                <a:avLst>
                  <a:gd name="adj" fmla="val 47819"/>
                </a:avLst>
              </a:prstGeom>
              <a:solidFill>
                <a:schemeClr val="bg1"/>
              </a:solidFill>
              <a:ln>
                <a:no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71" name="Parallelogram 70"/>
              <p:cNvSpPr/>
              <p:nvPr/>
            </p:nvSpPr>
            <p:spPr>
              <a:xfrm flipH="1">
                <a:off x="3795710" y="3156897"/>
                <a:ext cx="152401" cy="307680"/>
              </a:xfrm>
              <a:prstGeom prst="parallelogram">
                <a:avLst>
                  <a:gd name="adj" fmla="val 47819"/>
                </a:avLst>
              </a:prstGeom>
              <a:solidFill>
                <a:schemeClr val="bg1"/>
              </a:solidFill>
              <a:ln>
                <a:no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72" name="Parallelogram 71"/>
              <p:cNvSpPr/>
              <p:nvPr/>
            </p:nvSpPr>
            <p:spPr>
              <a:xfrm flipH="1">
                <a:off x="3940965" y="3156897"/>
                <a:ext cx="152401" cy="307680"/>
              </a:xfrm>
              <a:prstGeom prst="parallelogram">
                <a:avLst>
                  <a:gd name="adj" fmla="val 47819"/>
                </a:avLst>
              </a:prstGeom>
              <a:solidFill>
                <a:schemeClr val="bg1"/>
              </a:solidFill>
              <a:ln>
                <a:no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grpSp>
        <p:grpSp>
          <p:nvGrpSpPr>
            <p:cNvPr id="59" name="Group 58"/>
            <p:cNvGrpSpPr/>
            <p:nvPr/>
          </p:nvGrpSpPr>
          <p:grpSpPr>
            <a:xfrm>
              <a:off x="3581398" y="3508857"/>
              <a:ext cx="685802" cy="307680"/>
              <a:chOff x="3505198" y="3156897"/>
              <a:chExt cx="588168" cy="307680"/>
            </a:xfrm>
          </p:grpSpPr>
          <p:sp>
            <p:nvSpPr>
              <p:cNvPr id="65" name="Parallelogram 64"/>
              <p:cNvSpPr/>
              <p:nvPr/>
            </p:nvSpPr>
            <p:spPr>
              <a:xfrm flipH="1">
                <a:off x="3505198" y="3156897"/>
                <a:ext cx="152401" cy="307680"/>
              </a:xfrm>
              <a:prstGeom prst="parallelogram">
                <a:avLst>
                  <a:gd name="adj" fmla="val 47819"/>
                </a:avLst>
              </a:prstGeom>
              <a:solidFill>
                <a:schemeClr val="bg1"/>
              </a:solidFill>
              <a:ln>
                <a:no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66" name="Parallelogram 65"/>
              <p:cNvSpPr/>
              <p:nvPr/>
            </p:nvSpPr>
            <p:spPr>
              <a:xfrm flipH="1">
                <a:off x="3650454" y="3156897"/>
                <a:ext cx="152401" cy="307680"/>
              </a:xfrm>
              <a:prstGeom prst="parallelogram">
                <a:avLst>
                  <a:gd name="adj" fmla="val 47819"/>
                </a:avLst>
              </a:prstGeom>
              <a:solidFill>
                <a:schemeClr val="bg1"/>
              </a:solidFill>
              <a:ln>
                <a:no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67" name="Parallelogram 66"/>
              <p:cNvSpPr/>
              <p:nvPr/>
            </p:nvSpPr>
            <p:spPr>
              <a:xfrm flipH="1">
                <a:off x="3795710" y="3156897"/>
                <a:ext cx="152401" cy="307680"/>
              </a:xfrm>
              <a:prstGeom prst="parallelogram">
                <a:avLst>
                  <a:gd name="adj" fmla="val 47819"/>
                </a:avLst>
              </a:prstGeom>
              <a:solidFill>
                <a:schemeClr val="bg1"/>
              </a:solidFill>
              <a:ln>
                <a:no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68" name="Parallelogram 67"/>
              <p:cNvSpPr/>
              <p:nvPr/>
            </p:nvSpPr>
            <p:spPr>
              <a:xfrm flipH="1">
                <a:off x="3940965" y="3156897"/>
                <a:ext cx="152401" cy="307680"/>
              </a:xfrm>
              <a:prstGeom prst="parallelogram">
                <a:avLst>
                  <a:gd name="adj" fmla="val 47819"/>
                </a:avLst>
              </a:prstGeom>
              <a:solidFill>
                <a:schemeClr val="bg1"/>
              </a:solidFill>
              <a:ln>
                <a:no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grpSp>
        <p:grpSp>
          <p:nvGrpSpPr>
            <p:cNvPr id="60" name="Group 59"/>
            <p:cNvGrpSpPr/>
            <p:nvPr/>
          </p:nvGrpSpPr>
          <p:grpSpPr>
            <a:xfrm>
              <a:off x="3672838" y="3851910"/>
              <a:ext cx="685802" cy="307680"/>
              <a:chOff x="3505198" y="3156897"/>
              <a:chExt cx="588168" cy="307680"/>
            </a:xfrm>
          </p:grpSpPr>
          <p:sp>
            <p:nvSpPr>
              <p:cNvPr id="61" name="Parallelogram 60"/>
              <p:cNvSpPr/>
              <p:nvPr/>
            </p:nvSpPr>
            <p:spPr>
              <a:xfrm flipH="1">
                <a:off x="3505198" y="3156897"/>
                <a:ext cx="152401" cy="307680"/>
              </a:xfrm>
              <a:prstGeom prst="parallelogram">
                <a:avLst>
                  <a:gd name="adj" fmla="val 47819"/>
                </a:avLst>
              </a:prstGeom>
              <a:solidFill>
                <a:schemeClr val="bg1"/>
              </a:solidFill>
              <a:ln>
                <a:no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62" name="Parallelogram 61"/>
              <p:cNvSpPr/>
              <p:nvPr/>
            </p:nvSpPr>
            <p:spPr>
              <a:xfrm flipH="1">
                <a:off x="3650454" y="3156897"/>
                <a:ext cx="152401" cy="307680"/>
              </a:xfrm>
              <a:prstGeom prst="parallelogram">
                <a:avLst>
                  <a:gd name="adj" fmla="val 47819"/>
                </a:avLst>
              </a:prstGeom>
              <a:solidFill>
                <a:schemeClr val="bg1"/>
              </a:solidFill>
              <a:ln>
                <a:no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63" name="Parallelogram 62"/>
              <p:cNvSpPr/>
              <p:nvPr/>
            </p:nvSpPr>
            <p:spPr>
              <a:xfrm flipH="1">
                <a:off x="3795710" y="3156897"/>
                <a:ext cx="152401" cy="307680"/>
              </a:xfrm>
              <a:prstGeom prst="parallelogram">
                <a:avLst>
                  <a:gd name="adj" fmla="val 47819"/>
                </a:avLst>
              </a:prstGeom>
              <a:solidFill>
                <a:schemeClr val="bg1"/>
              </a:solidFill>
              <a:ln>
                <a:no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64" name="Parallelogram 63"/>
              <p:cNvSpPr/>
              <p:nvPr/>
            </p:nvSpPr>
            <p:spPr>
              <a:xfrm flipH="1">
                <a:off x="3940965" y="3156897"/>
                <a:ext cx="152401" cy="307680"/>
              </a:xfrm>
              <a:prstGeom prst="parallelogram">
                <a:avLst>
                  <a:gd name="adj" fmla="val 47819"/>
                </a:avLst>
              </a:prstGeom>
              <a:solidFill>
                <a:schemeClr val="bg1"/>
              </a:solidFill>
              <a:ln>
                <a:no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grpSp>
      </p:grpSp>
      <p:pic>
        <p:nvPicPr>
          <p:cNvPr id="90" name="Picture 89"/>
          <p:cNvPicPr>
            <a:picLocks noChangeAspect="1"/>
          </p:cNvPicPr>
          <p:nvPr/>
        </p:nvPicPr>
        <p:blipFill>
          <a:blip r:embed="rId7" cstate="print">
            <a:extLst>
              <a:ext uri="{BEBA8EAE-BF5A-486C-A8C5-ECC9F3942E4B}">
                <a14:imgProps xmlns:a14="http://schemas.microsoft.com/office/drawing/2010/main">
                  <a14:imgLayer r:embed="rId8">
                    <a14:imgEffect>
                      <a14:artisticBlur/>
                    </a14:imgEffect>
                  </a14:imgLayer>
                </a14:imgProps>
              </a:ext>
              <a:ext uri="{28A0092B-C50C-407E-A947-70E740481C1C}">
                <a14:useLocalDpi xmlns:a14="http://schemas.microsoft.com/office/drawing/2010/main" val="0"/>
              </a:ext>
            </a:extLst>
          </a:blip>
          <a:stretch>
            <a:fillRect/>
          </a:stretch>
        </p:blipFill>
        <p:spPr>
          <a:xfrm>
            <a:off x="2025986" y="3871122"/>
            <a:ext cx="986628" cy="986628"/>
          </a:xfrm>
          <a:prstGeom prst="rect">
            <a:avLst/>
          </a:prstGeom>
          <a:noFill/>
          <a:ln>
            <a:noFill/>
          </a:ln>
          <a:effectLst>
            <a:softEdge rad="63500"/>
          </a:effectLst>
        </p:spPr>
      </p:pic>
      <p:sp>
        <p:nvSpPr>
          <p:cNvPr id="91" name="Isosceles Triangle 90"/>
          <p:cNvSpPr/>
          <p:nvPr/>
        </p:nvSpPr>
        <p:spPr>
          <a:xfrm flipH="1">
            <a:off x="2974605" y="2938379"/>
            <a:ext cx="172867" cy="1770943"/>
          </a:xfrm>
          <a:prstGeom prst="triangle">
            <a:avLst>
              <a:gd name="adj" fmla="val 53309"/>
            </a:avLst>
          </a:prstGeom>
          <a:solidFill>
            <a:schemeClr val="bg1"/>
          </a:solidFill>
          <a:ln>
            <a:noFill/>
          </a:ln>
          <a:effectLst>
            <a:outerShdw blurRad="76200" dir="13500000" sy="23000" kx="1200000" algn="br" rotWithShape="0">
              <a:prstClr val="black">
                <a:alpha val="5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92" name="Group 91"/>
          <p:cNvGrpSpPr/>
          <p:nvPr/>
        </p:nvGrpSpPr>
        <p:grpSpPr>
          <a:xfrm>
            <a:off x="2005961" y="1967050"/>
            <a:ext cx="2108839" cy="2108839"/>
            <a:chOff x="6430508" y="1810678"/>
            <a:chExt cx="2108839" cy="2108839"/>
          </a:xfrm>
        </p:grpSpPr>
        <p:grpSp>
          <p:nvGrpSpPr>
            <p:cNvPr id="93" name="Group 92"/>
            <p:cNvGrpSpPr/>
            <p:nvPr/>
          </p:nvGrpSpPr>
          <p:grpSpPr>
            <a:xfrm rot="900000">
              <a:off x="6430508" y="2814389"/>
              <a:ext cx="2108839" cy="101418"/>
              <a:chOff x="6437694" y="2814389"/>
              <a:chExt cx="2108839" cy="101418"/>
            </a:xfrm>
          </p:grpSpPr>
          <p:sp>
            <p:nvSpPr>
              <p:cNvPr id="101" name="Round Same Side Corner Rectangle 11"/>
              <p:cNvSpPr/>
              <p:nvPr/>
            </p:nvSpPr>
            <p:spPr>
              <a:xfrm rot="5400000" flipH="1">
                <a:off x="7969911" y="2339184"/>
                <a:ext cx="101418" cy="1051827"/>
              </a:xfrm>
              <a:custGeom>
                <a:avLst/>
                <a:gdLst>
                  <a:gd name="connsiteX0" fmla="*/ 192704 w 474348"/>
                  <a:gd name="connsiteY0" fmla="*/ 0 h 645319"/>
                  <a:gd name="connsiteX1" fmla="*/ 281644 w 474348"/>
                  <a:gd name="connsiteY1" fmla="*/ 0 h 645319"/>
                  <a:gd name="connsiteX2" fmla="*/ 474348 w 474348"/>
                  <a:gd name="connsiteY2" fmla="*/ 192704 h 645319"/>
                  <a:gd name="connsiteX3" fmla="*/ 474348 w 474348"/>
                  <a:gd name="connsiteY3" fmla="*/ 645319 h 645319"/>
                  <a:gd name="connsiteX4" fmla="*/ 474348 w 474348"/>
                  <a:gd name="connsiteY4" fmla="*/ 645319 h 645319"/>
                  <a:gd name="connsiteX5" fmla="*/ 0 w 474348"/>
                  <a:gd name="connsiteY5" fmla="*/ 645319 h 645319"/>
                  <a:gd name="connsiteX6" fmla="*/ 0 w 474348"/>
                  <a:gd name="connsiteY6" fmla="*/ 645319 h 645319"/>
                  <a:gd name="connsiteX7" fmla="*/ 0 w 474348"/>
                  <a:gd name="connsiteY7" fmla="*/ 192704 h 645319"/>
                  <a:gd name="connsiteX8" fmla="*/ 192704 w 474348"/>
                  <a:gd name="connsiteY8" fmla="*/ 0 h 645319"/>
                  <a:gd name="connsiteX0" fmla="*/ 192704 w 474348"/>
                  <a:gd name="connsiteY0" fmla="*/ 0 h 645319"/>
                  <a:gd name="connsiteX1" fmla="*/ 281644 w 474348"/>
                  <a:gd name="connsiteY1" fmla="*/ 0 h 645319"/>
                  <a:gd name="connsiteX2" fmla="*/ 474348 w 474348"/>
                  <a:gd name="connsiteY2" fmla="*/ 192704 h 645319"/>
                  <a:gd name="connsiteX3" fmla="*/ 474348 w 474348"/>
                  <a:gd name="connsiteY3" fmla="*/ 645319 h 645319"/>
                  <a:gd name="connsiteX4" fmla="*/ 474348 w 474348"/>
                  <a:gd name="connsiteY4" fmla="*/ 645319 h 645319"/>
                  <a:gd name="connsiteX5" fmla="*/ 248129 w 474348"/>
                  <a:gd name="connsiteY5" fmla="*/ 645319 h 645319"/>
                  <a:gd name="connsiteX6" fmla="*/ 0 w 474348"/>
                  <a:gd name="connsiteY6" fmla="*/ 645319 h 645319"/>
                  <a:gd name="connsiteX7" fmla="*/ 0 w 474348"/>
                  <a:gd name="connsiteY7" fmla="*/ 645319 h 645319"/>
                  <a:gd name="connsiteX8" fmla="*/ 0 w 474348"/>
                  <a:gd name="connsiteY8" fmla="*/ 192704 h 645319"/>
                  <a:gd name="connsiteX9" fmla="*/ 192704 w 474348"/>
                  <a:gd name="connsiteY9" fmla="*/ 0 h 645319"/>
                  <a:gd name="connsiteX0" fmla="*/ 192704 w 474348"/>
                  <a:gd name="connsiteY0" fmla="*/ 2381 h 647700"/>
                  <a:gd name="connsiteX1" fmla="*/ 240986 w 474348"/>
                  <a:gd name="connsiteY1" fmla="*/ 0 h 647700"/>
                  <a:gd name="connsiteX2" fmla="*/ 281644 w 474348"/>
                  <a:gd name="connsiteY2" fmla="*/ 2381 h 647700"/>
                  <a:gd name="connsiteX3" fmla="*/ 474348 w 474348"/>
                  <a:gd name="connsiteY3" fmla="*/ 195085 h 647700"/>
                  <a:gd name="connsiteX4" fmla="*/ 474348 w 474348"/>
                  <a:gd name="connsiteY4" fmla="*/ 647700 h 647700"/>
                  <a:gd name="connsiteX5" fmla="*/ 474348 w 474348"/>
                  <a:gd name="connsiteY5" fmla="*/ 647700 h 647700"/>
                  <a:gd name="connsiteX6" fmla="*/ 248129 w 474348"/>
                  <a:gd name="connsiteY6" fmla="*/ 647700 h 647700"/>
                  <a:gd name="connsiteX7" fmla="*/ 0 w 474348"/>
                  <a:gd name="connsiteY7" fmla="*/ 647700 h 647700"/>
                  <a:gd name="connsiteX8" fmla="*/ 0 w 474348"/>
                  <a:gd name="connsiteY8" fmla="*/ 647700 h 647700"/>
                  <a:gd name="connsiteX9" fmla="*/ 0 w 474348"/>
                  <a:gd name="connsiteY9" fmla="*/ 195085 h 647700"/>
                  <a:gd name="connsiteX10" fmla="*/ 192704 w 474348"/>
                  <a:gd name="connsiteY10" fmla="*/ 2381 h 647700"/>
                  <a:gd name="connsiteX0" fmla="*/ 192704 w 474348"/>
                  <a:gd name="connsiteY0" fmla="*/ 42862 h 688181"/>
                  <a:gd name="connsiteX1" fmla="*/ 240986 w 474348"/>
                  <a:gd name="connsiteY1" fmla="*/ 0 h 688181"/>
                  <a:gd name="connsiteX2" fmla="*/ 281644 w 474348"/>
                  <a:gd name="connsiteY2" fmla="*/ 42862 h 688181"/>
                  <a:gd name="connsiteX3" fmla="*/ 474348 w 474348"/>
                  <a:gd name="connsiteY3" fmla="*/ 235566 h 688181"/>
                  <a:gd name="connsiteX4" fmla="*/ 474348 w 474348"/>
                  <a:gd name="connsiteY4" fmla="*/ 688181 h 688181"/>
                  <a:gd name="connsiteX5" fmla="*/ 474348 w 474348"/>
                  <a:gd name="connsiteY5" fmla="*/ 688181 h 688181"/>
                  <a:gd name="connsiteX6" fmla="*/ 248129 w 474348"/>
                  <a:gd name="connsiteY6" fmla="*/ 688181 h 688181"/>
                  <a:gd name="connsiteX7" fmla="*/ 0 w 474348"/>
                  <a:gd name="connsiteY7" fmla="*/ 688181 h 688181"/>
                  <a:gd name="connsiteX8" fmla="*/ 0 w 474348"/>
                  <a:gd name="connsiteY8" fmla="*/ 688181 h 688181"/>
                  <a:gd name="connsiteX9" fmla="*/ 0 w 474348"/>
                  <a:gd name="connsiteY9" fmla="*/ 235566 h 688181"/>
                  <a:gd name="connsiteX10" fmla="*/ 192704 w 474348"/>
                  <a:gd name="connsiteY10" fmla="*/ 42862 h 688181"/>
                  <a:gd name="connsiteX0" fmla="*/ 192704 w 474348"/>
                  <a:gd name="connsiteY0" fmla="*/ 23812 h 669131"/>
                  <a:gd name="connsiteX1" fmla="*/ 265690 w 474348"/>
                  <a:gd name="connsiteY1" fmla="*/ 0 h 669131"/>
                  <a:gd name="connsiteX2" fmla="*/ 281644 w 474348"/>
                  <a:gd name="connsiteY2" fmla="*/ 23812 h 669131"/>
                  <a:gd name="connsiteX3" fmla="*/ 474348 w 474348"/>
                  <a:gd name="connsiteY3" fmla="*/ 216516 h 669131"/>
                  <a:gd name="connsiteX4" fmla="*/ 474348 w 474348"/>
                  <a:gd name="connsiteY4" fmla="*/ 669131 h 669131"/>
                  <a:gd name="connsiteX5" fmla="*/ 474348 w 474348"/>
                  <a:gd name="connsiteY5" fmla="*/ 669131 h 669131"/>
                  <a:gd name="connsiteX6" fmla="*/ 248129 w 474348"/>
                  <a:gd name="connsiteY6" fmla="*/ 669131 h 669131"/>
                  <a:gd name="connsiteX7" fmla="*/ 0 w 474348"/>
                  <a:gd name="connsiteY7" fmla="*/ 669131 h 669131"/>
                  <a:gd name="connsiteX8" fmla="*/ 0 w 474348"/>
                  <a:gd name="connsiteY8" fmla="*/ 669131 h 669131"/>
                  <a:gd name="connsiteX9" fmla="*/ 0 w 474348"/>
                  <a:gd name="connsiteY9" fmla="*/ 216516 h 669131"/>
                  <a:gd name="connsiteX10" fmla="*/ 192704 w 474348"/>
                  <a:gd name="connsiteY10" fmla="*/ 23812 h 669131"/>
                  <a:gd name="connsiteX0" fmla="*/ 192704 w 474348"/>
                  <a:gd name="connsiteY0" fmla="*/ 23812 h 669131"/>
                  <a:gd name="connsiteX1" fmla="*/ 265690 w 474348"/>
                  <a:gd name="connsiteY1" fmla="*/ 0 h 669131"/>
                  <a:gd name="connsiteX2" fmla="*/ 281644 w 474348"/>
                  <a:gd name="connsiteY2" fmla="*/ 23812 h 669131"/>
                  <a:gd name="connsiteX3" fmla="*/ 474348 w 474348"/>
                  <a:gd name="connsiteY3" fmla="*/ 216516 h 669131"/>
                  <a:gd name="connsiteX4" fmla="*/ 474348 w 474348"/>
                  <a:gd name="connsiteY4" fmla="*/ 669131 h 669131"/>
                  <a:gd name="connsiteX5" fmla="*/ 474348 w 474348"/>
                  <a:gd name="connsiteY5" fmla="*/ 669131 h 669131"/>
                  <a:gd name="connsiteX6" fmla="*/ 248129 w 474348"/>
                  <a:gd name="connsiteY6" fmla="*/ 669131 h 669131"/>
                  <a:gd name="connsiteX7" fmla="*/ 0 w 474348"/>
                  <a:gd name="connsiteY7" fmla="*/ 669131 h 669131"/>
                  <a:gd name="connsiteX8" fmla="*/ 0 w 474348"/>
                  <a:gd name="connsiteY8" fmla="*/ 669131 h 669131"/>
                  <a:gd name="connsiteX9" fmla="*/ 0 w 474348"/>
                  <a:gd name="connsiteY9" fmla="*/ 216516 h 669131"/>
                  <a:gd name="connsiteX10" fmla="*/ 192704 w 474348"/>
                  <a:gd name="connsiteY10" fmla="*/ 23812 h 669131"/>
                  <a:gd name="connsiteX0" fmla="*/ 192704 w 474348"/>
                  <a:gd name="connsiteY0" fmla="*/ 23812 h 669131"/>
                  <a:gd name="connsiteX1" fmla="*/ 265690 w 474348"/>
                  <a:gd name="connsiteY1" fmla="*/ 0 h 669131"/>
                  <a:gd name="connsiteX2" fmla="*/ 281644 w 474348"/>
                  <a:gd name="connsiteY2" fmla="*/ 23812 h 669131"/>
                  <a:gd name="connsiteX3" fmla="*/ 474348 w 474348"/>
                  <a:gd name="connsiteY3" fmla="*/ 216516 h 669131"/>
                  <a:gd name="connsiteX4" fmla="*/ 474348 w 474348"/>
                  <a:gd name="connsiteY4" fmla="*/ 669131 h 669131"/>
                  <a:gd name="connsiteX5" fmla="*/ 474348 w 474348"/>
                  <a:gd name="connsiteY5" fmla="*/ 669131 h 669131"/>
                  <a:gd name="connsiteX6" fmla="*/ 248129 w 474348"/>
                  <a:gd name="connsiteY6" fmla="*/ 669131 h 669131"/>
                  <a:gd name="connsiteX7" fmla="*/ 0 w 474348"/>
                  <a:gd name="connsiteY7" fmla="*/ 669131 h 669131"/>
                  <a:gd name="connsiteX8" fmla="*/ 0 w 474348"/>
                  <a:gd name="connsiteY8" fmla="*/ 669131 h 669131"/>
                  <a:gd name="connsiteX9" fmla="*/ 0 w 474348"/>
                  <a:gd name="connsiteY9" fmla="*/ 216516 h 669131"/>
                  <a:gd name="connsiteX10" fmla="*/ 192704 w 474348"/>
                  <a:gd name="connsiteY10" fmla="*/ 23812 h 669131"/>
                  <a:gd name="connsiteX0" fmla="*/ 192704 w 474348"/>
                  <a:gd name="connsiteY0" fmla="*/ 23812 h 669131"/>
                  <a:gd name="connsiteX1" fmla="*/ 265690 w 474348"/>
                  <a:gd name="connsiteY1" fmla="*/ 0 h 669131"/>
                  <a:gd name="connsiteX2" fmla="*/ 314250 w 474348"/>
                  <a:gd name="connsiteY2" fmla="*/ 24047 h 669131"/>
                  <a:gd name="connsiteX3" fmla="*/ 474348 w 474348"/>
                  <a:gd name="connsiteY3" fmla="*/ 216516 h 669131"/>
                  <a:gd name="connsiteX4" fmla="*/ 474348 w 474348"/>
                  <a:gd name="connsiteY4" fmla="*/ 669131 h 669131"/>
                  <a:gd name="connsiteX5" fmla="*/ 474348 w 474348"/>
                  <a:gd name="connsiteY5" fmla="*/ 669131 h 669131"/>
                  <a:gd name="connsiteX6" fmla="*/ 248129 w 474348"/>
                  <a:gd name="connsiteY6" fmla="*/ 669131 h 669131"/>
                  <a:gd name="connsiteX7" fmla="*/ 0 w 474348"/>
                  <a:gd name="connsiteY7" fmla="*/ 669131 h 669131"/>
                  <a:gd name="connsiteX8" fmla="*/ 0 w 474348"/>
                  <a:gd name="connsiteY8" fmla="*/ 669131 h 669131"/>
                  <a:gd name="connsiteX9" fmla="*/ 0 w 474348"/>
                  <a:gd name="connsiteY9" fmla="*/ 216516 h 669131"/>
                  <a:gd name="connsiteX10" fmla="*/ 192704 w 474348"/>
                  <a:gd name="connsiteY10" fmla="*/ 23812 h 669131"/>
                  <a:gd name="connsiteX0" fmla="*/ 192704 w 474348"/>
                  <a:gd name="connsiteY0" fmla="*/ 23812 h 669131"/>
                  <a:gd name="connsiteX1" fmla="*/ 265690 w 474348"/>
                  <a:gd name="connsiteY1" fmla="*/ 0 h 669131"/>
                  <a:gd name="connsiteX2" fmla="*/ 314250 w 474348"/>
                  <a:gd name="connsiteY2" fmla="*/ 24047 h 669131"/>
                  <a:gd name="connsiteX3" fmla="*/ 474348 w 474348"/>
                  <a:gd name="connsiteY3" fmla="*/ 216516 h 669131"/>
                  <a:gd name="connsiteX4" fmla="*/ 474348 w 474348"/>
                  <a:gd name="connsiteY4" fmla="*/ 669131 h 669131"/>
                  <a:gd name="connsiteX5" fmla="*/ 474348 w 474348"/>
                  <a:gd name="connsiteY5" fmla="*/ 669131 h 669131"/>
                  <a:gd name="connsiteX6" fmla="*/ 248129 w 474348"/>
                  <a:gd name="connsiteY6" fmla="*/ 669131 h 669131"/>
                  <a:gd name="connsiteX7" fmla="*/ 0 w 474348"/>
                  <a:gd name="connsiteY7" fmla="*/ 669131 h 669131"/>
                  <a:gd name="connsiteX8" fmla="*/ 0 w 474348"/>
                  <a:gd name="connsiteY8" fmla="*/ 669131 h 669131"/>
                  <a:gd name="connsiteX9" fmla="*/ 0 w 474348"/>
                  <a:gd name="connsiteY9" fmla="*/ 216516 h 669131"/>
                  <a:gd name="connsiteX10" fmla="*/ 192704 w 474348"/>
                  <a:gd name="connsiteY10" fmla="*/ 23812 h 669131"/>
                  <a:gd name="connsiteX0" fmla="*/ 192704 w 474348"/>
                  <a:gd name="connsiteY0" fmla="*/ 23812 h 669131"/>
                  <a:gd name="connsiteX1" fmla="*/ 265690 w 474348"/>
                  <a:gd name="connsiteY1" fmla="*/ 0 h 669131"/>
                  <a:gd name="connsiteX2" fmla="*/ 314250 w 474348"/>
                  <a:gd name="connsiteY2" fmla="*/ 24047 h 669131"/>
                  <a:gd name="connsiteX3" fmla="*/ 474348 w 474348"/>
                  <a:gd name="connsiteY3" fmla="*/ 216516 h 669131"/>
                  <a:gd name="connsiteX4" fmla="*/ 474348 w 474348"/>
                  <a:gd name="connsiteY4" fmla="*/ 669131 h 669131"/>
                  <a:gd name="connsiteX5" fmla="*/ 474348 w 474348"/>
                  <a:gd name="connsiteY5" fmla="*/ 669131 h 669131"/>
                  <a:gd name="connsiteX6" fmla="*/ 248129 w 474348"/>
                  <a:gd name="connsiteY6" fmla="*/ 669131 h 669131"/>
                  <a:gd name="connsiteX7" fmla="*/ 0 w 474348"/>
                  <a:gd name="connsiteY7" fmla="*/ 669131 h 669131"/>
                  <a:gd name="connsiteX8" fmla="*/ 0 w 474348"/>
                  <a:gd name="connsiteY8" fmla="*/ 669131 h 669131"/>
                  <a:gd name="connsiteX9" fmla="*/ 0 w 474348"/>
                  <a:gd name="connsiteY9" fmla="*/ 216516 h 669131"/>
                  <a:gd name="connsiteX10" fmla="*/ 192704 w 474348"/>
                  <a:gd name="connsiteY10" fmla="*/ 23812 h 669131"/>
                  <a:gd name="connsiteX0" fmla="*/ 174282 w 474348"/>
                  <a:gd name="connsiteY0" fmla="*/ 23596 h 669131"/>
                  <a:gd name="connsiteX1" fmla="*/ 265690 w 474348"/>
                  <a:gd name="connsiteY1" fmla="*/ 0 h 669131"/>
                  <a:gd name="connsiteX2" fmla="*/ 314250 w 474348"/>
                  <a:gd name="connsiteY2" fmla="*/ 24047 h 669131"/>
                  <a:gd name="connsiteX3" fmla="*/ 474348 w 474348"/>
                  <a:gd name="connsiteY3" fmla="*/ 216516 h 669131"/>
                  <a:gd name="connsiteX4" fmla="*/ 474348 w 474348"/>
                  <a:gd name="connsiteY4" fmla="*/ 669131 h 669131"/>
                  <a:gd name="connsiteX5" fmla="*/ 474348 w 474348"/>
                  <a:gd name="connsiteY5" fmla="*/ 669131 h 669131"/>
                  <a:gd name="connsiteX6" fmla="*/ 248129 w 474348"/>
                  <a:gd name="connsiteY6" fmla="*/ 669131 h 669131"/>
                  <a:gd name="connsiteX7" fmla="*/ 0 w 474348"/>
                  <a:gd name="connsiteY7" fmla="*/ 669131 h 669131"/>
                  <a:gd name="connsiteX8" fmla="*/ 0 w 474348"/>
                  <a:gd name="connsiteY8" fmla="*/ 669131 h 669131"/>
                  <a:gd name="connsiteX9" fmla="*/ 0 w 474348"/>
                  <a:gd name="connsiteY9" fmla="*/ 216516 h 669131"/>
                  <a:gd name="connsiteX10" fmla="*/ 174282 w 474348"/>
                  <a:gd name="connsiteY10" fmla="*/ 23596 h 669131"/>
                  <a:gd name="connsiteX0" fmla="*/ 174282 w 474348"/>
                  <a:gd name="connsiteY0" fmla="*/ 24619 h 670154"/>
                  <a:gd name="connsiteX1" fmla="*/ 216121 w 474348"/>
                  <a:gd name="connsiteY1" fmla="*/ 0 h 670154"/>
                  <a:gd name="connsiteX2" fmla="*/ 314250 w 474348"/>
                  <a:gd name="connsiteY2" fmla="*/ 25070 h 670154"/>
                  <a:gd name="connsiteX3" fmla="*/ 474348 w 474348"/>
                  <a:gd name="connsiteY3" fmla="*/ 217539 h 670154"/>
                  <a:gd name="connsiteX4" fmla="*/ 474348 w 474348"/>
                  <a:gd name="connsiteY4" fmla="*/ 670154 h 670154"/>
                  <a:gd name="connsiteX5" fmla="*/ 474348 w 474348"/>
                  <a:gd name="connsiteY5" fmla="*/ 670154 h 670154"/>
                  <a:gd name="connsiteX6" fmla="*/ 248129 w 474348"/>
                  <a:gd name="connsiteY6" fmla="*/ 670154 h 670154"/>
                  <a:gd name="connsiteX7" fmla="*/ 0 w 474348"/>
                  <a:gd name="connsiteY7" fmla="*/ 670154 h 670154"/>
                  <a:gd name="connsiteX8" fmla="*/ 0 w 474348"/>
                  <a:gd name="connsiteY8" fmla="*/ 670154 h 670154"/>
                  <a:gd name="connsiteX9" fmla="*/ 0 w 474348"/>
                  <a:gd name="connsiteY9" fmla="*/ 217539 h 670154"/>
                  <a:gd name="connsiteX10" fmla="*/ 174282 w 474348"/>
                  <a:gd name="connsiteY10" fmla="*/ 24619 h 670154"/>
                  <a:gd name="connsiteX0" fmla="*/ 174282 w 474348"/>
                  <a:gd name="connsiteY0" fmla="*/ 24619 h 670154"/>
                  <a:gd name="connsiteX1" fmla="*/ 216121 w 474348"/>
                  <a:gd name="connsiteY1" fmla="*/ 0 h 670154"/>
                  <a:gd name="connsiteX2" fmla="*/ 314250 w 474348"/>
                  <a:gd name="connsiteY2" fmla="*/ 25070 h 670154"/>
                  <a:gd name="connsiteX3" fmla="*/ 474348 w 474348"/>
                  <a:gd name="connsiteY3" fmla="*/ 217539 h 670154"/>
                  <a:gd name="connsiteX4" fmla="*/ 474348 w 474348"/>
                  <a:gd name="connsiteY4" fmla="*/ 670154 h 670154"/>
                  <a:gd name="connsiteX5" fmla="*/ 474348 w 474348"/>
                  <a:gd name="connsiteY5" fmla="*/ 670154 h 670154"/>
                  <a:gd name="connsiteX6" fmla="*/ 248129 w 474348"/>
                  <a:gd name="connsiteY6" fmla="*/ 670154 h 670154"/>
                  <a:gd name="connsiteX7" fmla="*/ 0 w 474348"/>
                  <a:gd name="connsiteY7" fmla="*/ 670154 h 670154"/>
                  <a:gd name="connsiteX8" fmla="*/ 0 w 474348"/>
                  <a:gd name="connsiteY8" fmla="*/ 670154 h 670154"/>
                  <a:gd name="connsiteX9" fmla="*/ 0 w 474348"/>
                  <a:gd name="connsiteY9" fmla="*/ 217539 h 670154"/>
                  <a:gd name="connsiteX10" fmla="*/ 174282 w 474348"/>
                  <a:gd name="connsiteY10" fmla="*/ 24619 h 670154"/>
                  <a:gd name="connsiteX0" fmla="*/ 174282 w 474348"/>
                  <a:gd name="connsiteY0" fmla="*/ 24619 h 670154"/>
                  <a:gd name="connsiteX1" fmla="*/ 216121 w 474348"/>
                  <a:gd name="connsiteY1" fmla="*/ 0 h 670154"/>
                  <a:gd name="connsiteX2" fmla="*/ 314250 w 474348"/>
                  <a:gd name="connsiteY2" fmla="*/ 25070 h 670154"/>
                  <a:gd name="connsiteX3" fmla="*/ 474348 w 474348"/>
                  <a:gd name="connsiteY3" fmla="*/ 217539 h 670154"/>
                  <a:gd name="connsiteX4" fmla="*/ 474348 w 474348"/>
                  <a:gd name="connsiteY4" fmla="*/ 670154 h 670154"/>
                  <a:gd name="connsiteX5" fmla="*/ 474348 w 474348"/>
                  <a:gd name="connsiteY5" fmla="*/ 670154 h 670154"/>
                  <a:gd name="connsiteX6" fmla="*/ 248129 w 474348"/>
                  <a:gd name="connsiteY6" fmla="*/ 670154 h 670154"/>
                  <a:gd name="connsiteX7" fmla="*/ 0 w 474348"/>
                  <a:gd name="connsiteY7" fmla="*/ 670154 h 670154"/>
                  <a:gd name="connsiteX8" fmla="*/ 0 w 474348"/>
                  <a:gd name="connsiteY8" fmla="*/ 670154 h 670154"/>
                  <a:gd name="connsiteX9" fmla="*/ 0 w 474348"/>
                  <a:gd name="connsiteY9" fmla="*/ 217539 h 670154"/>
                  <a:gd name="connsiteX10" fmla="*/ 174282 w 474348"/>
                  <a:gd name="connsiteY10" fmla="*/ 24619 h 670154"/>
                  <a:gd name="connsiteX0" fmla="*/ 174282 w 474348"/>
                  <a:gd name="connsiteY0" fmla="*/ 24619 h 670154"/>
                  <a:gd name="connsiteX1" fmla="*/ 216121 w 474348"/>
                  <a:gd name="connsiteY1" fmla="*/ 0 h 670154"/>
                  <a:gd name="connsiteX2" fmla="*/ 314250 w 474348"/>
                  <a:gd name="connsiteY2" fmla="*/ 25070 h 670154"/>
                  <a:gd name="connsiteX3" fmla="*/ 474348 w 474348"/>
                  <a:gd name="connsiteY3" fmla="*/ 217539 h 670154"/>
                  <a:gd name="connsiteX4" fmla="*/ 474348 w 474348"/>
                  <a:gd name="connsiteY4" fmla="*/ 670154 h 670154"/>
                  <a:gd name="connsiteX5" fmla="*/ 474348 w 474348"/>
                  <a:gd name="connsiteY5" fmla="*/ 670154 h 670154"/>
                  <a:gd name="connsiteX6" fmla="*/ 248129 w 474348"/>
                  <a:gd name="connsiteY6" fmla="*/ 670154 h 670154"/>
                  <a:gd name="connsiteX7" fmla="*/ 0 w 474348"/>
                  <a:gd name="connsiteY7" fmla="*/ 670154 h 670154"/>
                  <a:gd name="connsiteX8" fmla="*/ 0 w 474348"/>
                  <a:gd name="connsiteY8" fmla="*/ 670154 h 670154"/>
                  <a:gd name="connsiteX9" fmla="*/ 0 w 474348"/>
                  <a:gd name="connsiteY9" fmla="*/ 217539 h 670154"/>
                  <a:gd name="connsiteX10" fmla="*/ 174282 w 474348"/>
                  <a:gd name="connsiteY10" fmla="*/ 24619 h 670154"/>
                  <a:gd name="connsiteX0" fmla="*/ 148557 w 474348"/>
                  <a:gd name="connsiteY0" fmla="*/ 27264 h 670154"/>
                  <a:gd name="connsiteX1" fmla="*/ 216121 w 474348"/>
                  <a:gd name="connsiteY1" fmla="*/ 0 h 670154"/>
                  <a:gd name="connsiteX2" fmla="*/ 314250 w 474348"/>
                  <a:gd name="connsiteY2" fmla="*/ 25070 h 670154"/>
                  <a:gd name="connsiteX3" fmla="*/ 474348 w 474348"/>
                  <a:gd name="connsiteY3" fmla="*/ 217539 h 670154"/>
                  <a:gd name="connsiteX4" fmla="*/ 474348 w 474348"/>
                  <a:gd name="connsiteY4" fmla="*/ 670154 h 670154"/>
                  <a:gd name="connsiteX5" fmla="*/ 474348 w 474348"/>
                  <a:gd name="connsiteY5" fmla="*/ 670154 h 670154"/>
                  <a:gd name="connsiteX6" fmla="*/ 248129 w 474348"/>
                  <a:gd name="connsiteY6" fmla="*/ 670154 h 670154"/>
                  <a:gd name="connsiteX7" fmla="*/ 0 w 474348"/>
                  <a:gd name="connsiteY7" fmla="*/ 670154 h 670154"/>
                  <a:gd name="connsiteX8" fmla="*/ 0 w 474348"/>
                  <a:gd name="connsiteY8" fmla="*/ 670154 h 670154"/>
                  <a:gd name="connsiteX9" fmla="*/ 0 w 474348"/>
                  <a:gd name="connsiteY9" fmla="*/ 217539 h 670154"/>
                  <a:gd name="connsiteX10" fmla="*/ 148557 w 474348"/>
                  <a:gd name="connsiteY10" fmla="*/ 27264 h 670154"/>
                  <a:gd name="connsiteX0" fmla="*/ 148557 w 474348"/>
                  <a:gd name="connsiteY0" fmla="*/ 20950 h 663840"/>
                  <a:gd name="connsiteX1" fmla="*/ 214238 w 474348"/>
                  <a:gd name="connsiteY1" fmla="*/ 0 h 663840"/>
                  <a:gd name="connsiteX2" fmla="*/ 314250 w 474348"/>
                  <a:gd name="connsiteY2" fmla="*/ 18756 h 663840"/>
                  <a:gd name="connsiteX3" fmla="*/ 474348 w 474348"/>
                  <a:gd name="connsiteY3" fmla="*/ 211225 h 663840"/>
                  <a:gd name="connsiteX4" fmla="*/ 474348 w 474348"/>
                  <a:gd name="connsiteY4" fmla="*/ 663840 h 663840"/>
                  <a:gd name="connsiteX5" fmla="*/ 474348 w 474348"/>
                  <a:gd name="connsiteY5" fmla="*/ 663840 h 663840"/>
                  <a:gd name="connsiteX6" fmla="*/ 248129 w 474348"/>
                  <a:gd name="connsiteY6" fmla="*/ 663840 h 663840"/>
                  <a:gd name="connsiteX7" fmla="*/ 0 w 474348"/>
                  <a:gd name="connsiteY7" fmla="*/ 663840 h 663840"/>
                  <a:gd name="connsiteX8" fmla="*/ 0 w 474348"/>
                  <a:gd name="connsiteY8" fmla="*/ 663840 h 663840"/>
                  <a:gd name="connsiteX9" fmla="*/ 0 w 474348"/>
                  <a:gd name="connsiteY9" fmla="*/ 211225 h 663840"/>
                  <a:gd name="connsiteX10" fmla="*/ 148557 w 474348"/>
                  <a:gd name="connsiteY10" fmla="*/ 20950 h 663840"/>
                  <a:gd name="connsiteX0" fmla="*/ 148557 w 474348"/>
                  <a:gd name="connsiteY0" fmla="*/ 20950 h 663840"/>
                  <a:gd name="connsiteX1" fmla="*/ 214238 w 474348"/>
                  <a:gd name="connsiteY1" fmla="*/ 0 h 663840"/>
                  <a:gd name="connsiteX2" fmla="*/ 314250 w 474348"/>
                  <a:gd name="connsiteY2" fmla="*/ 18756 h 663840"/>
                  <a:gd name="connsiteX3" fmla="*/ 474348 w 474348"/>
                  <a:gd name="connsiteY3" fmla="*/ 211225 h 663840"/>
                  <a:gd name="connsiteX4" fmla="*/ 474348 w 474348"/>
                  <a:gd name="connsiteY4" fmla="*/ 663840 h 663840"/>
                  <a:gd name="connsiteX5" fmla="*/ 474348 w 474348"/>
                  <a:gd name="connsiteY5" fmla="*/ 663840 h 663840"/>
                  <a:gd name="connsiteX6" fmla="*/ 248129 w 474348"/>
                  <a:gd name="connsiteY6" fmla="*/ 663840 h 663840"/>
                  <a:gd name="connsiteX7" fmla="*/ 0 w 474348"/>
                  <a:gd name="connsiteY7" fmla="*/ 663840 h 663840"/>
                  <a:gd name="connsiteX8" fmla="*/ 0 w 474348"/>
                  <a:gd name="connsiteY8" fmla="*/ 663840 h 663840"/>
                  <a:gd name="connsiteX9" fmla="*/ 0 w 474348"/>
                  <a:gd name="connsiteY9" fmla="*/ 211225 h 663840"/>
                  <a:gd name="connsiteX10" fmla="*/ 148557 w 474348"/>
                  <a:gd name="connsiteY10" fmla="*/ 20950 h 663840"/>
                  <a:gd name="connsiteX0" fmla="*/ 148557 w 474348"/>
                  <a:gd name="connsiteY0" fmla="*/ 20950 h 663840"/>
                  <a:gd name="connsiteX1" fmla="*/ 214238 w 474348"/>
                  <a:gd name="connsiteY1" fmla="*/ 0 h 663840"/>
                  <a:gd name="connsiteX2" fmla="*/ 314250 w 474348"/>
                  <a:gd name="connsiteY2" fmla="*/ 18756 h 663840"/>
                  <a:gd name="connsiteX3" fmla="*/ 474348 w 474348"/>
                  <a:gd name="connsiteY3" fmla="*/ 211225 h 663840"/>
                  <a:gd name="connsiteX4" fmla="*/ 474348 w 474348"/>
                  <a:gd name="connsiteY4" fmla="*/ 663840 h 663840"/>
                  <a:gd name="connsiteX5" fmla="*/ 474348 w 474348"/>
                  <a:gd name="connsiteY5" fmla="*/ 663840 h 663840"/>
                  <a:gd name="connsiteX6" fmla="*/ 248129 w 474348"/>
                  <a:gd name="connsiteY6" fmla="*/ 663840 h 663840"/>
                  <a:gd name="connsiteX7" fmla="*/ 0 w 474348"/>
                  <a:gd name="connsiteY7" fmla="*/ 663840 h 663840"/>
                  <a:gd name="connsiteX8" fmla="*/ 0 w 474348"/>
                  <a:gd name="connsiteY8" fmla="*/ 663840 h 663840"/>
                  <a:gd name="connsiteX9" fmla="*/ 0 w 474348"/>
                  <a:gd name="connsiteY9" fmla="*/ 211225 h 663840"/>
                  <a:gd name="connsiteX10" fmla="*/ 148557 w 474348"/>
                  <a:gd name="connsiteY10" fmla="*/ 20950 h 663840"/>
                  <a:gd name="connsiteX0" fmla="*/ 144178 w 474348"/>
                  <a:gd name="connsiteY0" fmla="*/ 22667 h 663840"/>
                  <a:gd name="connsiteX1" fmla="*/ 214238 w 474348"/>
                  <a:gd name="connsiteY1" fmla="*/ 0 h 663840"/>
                  <a:gd name="connsiteX2" fmla="*/ 314250 w 474348"/>
                  <a:gd name="connsiteY2" fmla="*/ 18756 h 663840"/>
                  <a:gd name="connsiteX3" fmla="*/ 474348 w 474348"/>
                  <a:gd name="connsiteY3" fmla="*/ 211225 h 663840"/>
                  <a:gd name="connsiteX4" fmla="*/ 474348 w 474348"/>
                  <a:gd name="connsiteY4" fmla="*/ 663840 h 663840"/>
                  <a:gd name="connsiteX5" fmla="*/ 474348 w 474348"/>
                  <a:gd name="connsiteY5" fmla="*/ 663840 h 663840"/>
                  <a:gd name="connsiteX6" fmla="*/ 248129 w 474348"/>
                  <a:gd name="connsiteY6" fmla="*/ 663840 h 663840"/>
                  <a:gd name="connsiteX7" fmla="*/ 0 w 474348"/>
                  <a:gd name="connsiteY7" fmla="*/ 663840 h 663840"/>
                  <a:gd name="connsiteX8" fmla="*/ 0 w 474348"/>
                  <a:gd name="connsiteY8" fmla="*/ 663840 h 663840"/>
                  <a:gd name="connsiteX9" fmla="*/ 0 w 474348"/>
                  <a:gd name="connsiteY9" fmla="*/ 211225 h 663840"/>
                  <a:gd name="connsiteX10" fmla="*/ 144178 w 474348"/>
                  <a:gd name="connsiteY10" fmla="*/ 22667 h 663840"/>
                  <a:gd name="connsiteX0" fmla="*/ 144178 w 474348"/>
                  <a:gd name="connsiteY0" fmla="*/ 22667 h 663840"/>
                  <a:gd name="connsiteX1" fmla="*/ 214238 w 474348"/>
                  <a:gd name="connsiteY1" fmla="*/ 0 h 663840"/>
                  <a:gd name="connsiteX2" fmla="*/ 314250 w 474348"/>
                  <a:gd name="connsiteY2" fmla="*/ 18756 h 663840"/>
                  <a:gd name="connsiteX3" fmla="*/ 474348 w 474348"/>
                  <a:gd name="connsiteY3" fmla="*/ 211225 h 663840"/>
                  <a:gd name="connsiteX4" fmla="*/ 474348 w 474348"/>
                  <a:gd name="connsiteY4" fmla="*/ 663840 h 663840"/>
                  <a:gd name="connsiteX5" fmla="*/ 474348 w 474348"/>
                  <a:gd name="connsiteY5" fmla="*/ 663840 h 663840"/>
                  <a:gd name="connsiteX6" fmla="*/ 248129 w 474348"/>
                  <a:gd name="connsiteY6" fmla="*/ 663840 h 663840"/>
                  <a:gd name="connsiteX7" fmla="*/ 0 w 474348"/>
                  <a:gd name="connsiteY7" fmla="*/ 663840 h 663840"/>
                  <a:gd name="connsiteX8" fmla="*/ 0 w 474348"/>
                  <a:gd name="connsiteY8" fmla="*/ 663840 h 663840"/>
                  <a:gd name="connsiteX9" fmla="*/ 0 w 474348"/>
                  <a:gd name="connsiteY9" fmla="*/ 211225 h 663840"/>
                  <a:gd name="connsiteX10" fmla="*/ 144178 w 474348"/>
                  <a:gd name="connsiteY10" fmla="*/ 22667 h 663840"/>
                  <a:gd name="connsiteX0" fmla="*/ 144178 w 474348"/>
                  <a:gd name="connsiteY0" fmla="*/ 22667 h 663840"/>
                  <a:gd name="connsiteX1" fmla="*/ 214238 w 474348"/>
                  <a:gd name="connsiteY1" fmla="*/ 0 h 663840"/>
                  <a:gd name="connsiteX2" fmla="*/ 314250 w 474348"/>
                  <a:gd name="connsiteY2" fmla="*/ 18756 h 663840"/>
                  <a:gd name="connsiteX3" fmla="*/ 474348 w 474348"/>
                  <a:gd name="connsiteY3" fmla="*/ 211225 h 663840"/>
                  <a:gd name="connsiteX4" fmla="*/ 474348 w 474348"/>
                  <a:gd name="connsiteY4" fmla="*/ 663840 h 663840"/>
                  <a:gd name="connsiteX5" fmla="*/ 474348 w 474348"/>
                  <a:gd name="connsiteY5" fmla="*/ 663840 h 663840"/>
                  <a:gd name="connsiteX6" fmla="*/ 248129 w 474348"/>
                  <a:gd name="connsiteY6" fmla="*/ 663840 h 663840"/>
                  <a:gd name="connsiteX7" fmla="*/ 0 w 474348"/>
                  <a:gd name="connsiteY7" fmla="*/ 663840 h 663840"/>
                  <a:gd name="connsiteX8" fmla="*/ 0 w 474348"/>
                  <a:gd name="connsiteY8" fmla="*/ 663840 h 663840"/>
                  <a:gd name="connsiteX9" fmla="*/ 0 w 474348"/>
                  <a:gd name="connsiteY9" fmla="*/ 211225 h 663840"/>
                  <a:gd name="connsiteX10" fmla="*/ 144178 w 474348"/>
                  <a:gd name="connsiteY10" fmla="*/ 22667 h 663840"/>
                  <a:gd name="connsiteX0" fmla="*/ 144178 w 474348"/>
                  <a:gd name="connsiteY0" fmla="*/ 22667 h 663840"/>
                  <a:gd name="connsiteX1" fmla="*/ 214238 w 474348"/>
                  <a:gd name="connsiteY1" fmla="*/ 0 h 663840"/>
                  <a:gd name="connsiteX2" fmla="*/ 314250 w 474348"/>
                  <a:gd name="connsiteY2" fmla="*/ 18756 h 663840"/>
                  <a:gd name="connsiteX3" fmla="*/ 474348 w 474348"/>
                  <a:gd name="connsiteY3" fmla="*/ 211225 h 663840"/>
                  <a:gd name="connsiteX4" fmla="*/ 474348 w 474348"/>
                  <a:gd name="connsiteY4" fmla="*/ 663840 h 663840"/>
                  <a:gd name="connsiteX5" fmla="*/ 474348 w 474348"/>
                  <a:gd name="connsiteY5" fmla="*/ 663840 h 663840"/>
                  <a:gd name="connsiteX6" fmla="*/ 248129 w 474348"/>
                  <a:gd name="connsiteY6" fmla="*/ 663840 h 663840"/>
                  <a:gd name="connsiteX7" fmla="*/ 0 w 474348"/>
                  <a:gd name="connsiteY7" fmla="*/ 663840 h 663840"/>
                  <a:gd name="connsiteX8" fmla="*/ 0 w 474348"/>
                  <a:gd name="connsiteY8" fmla="*/ 663840 h 663840"/>
                  <a:gd name="connsiteX9" fmla="*/ 0 w 474348"/>
                  <a:gd name="connsiteY9" fmla="*/ 211225 h 663840"/>
                  <a:gd name="connsiteX10" fmla="*/ 144178 w 474348"/>
                  <a:gd name="connsiteY10" fmla="*/ 22667 h 6638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74348" h="663840">
                    <a:moveTo>
                      <a:pt x="144178" y="22667"/>
                    </a:moveTo>
                    <a:cubicBezTo>
                      <a:pt x="211732" y="-970"/>
                      <a:pt x="181869" y="7990"/>
                      <a:pt x="214238" y="0"/>
                    </a:cubicBezTo>
                    <a:cubicBezTo>
                      <a:pt x="259321" y="7224"/>
                      <a:pt x="221757" y="369"/>
                      <a:pt x="314250" y="18756"/>
                    </a:cubicBezTo>
                    <a:cubicBezTo>
                      <a:pt x="399877" y="51074"/>
                      <a:pt x="474348" y="104798"/>
                      <a:pt x="474348" y="211225"/>
                    </a:cubicBezTo>
                    <a:lnTo>
                      <a:pt x="474348" y="663840"/>
                    </a:lnTo>
                    <a:lnTo>
                      <a:pt x="474348" y="663840"/>
                    </a:lnTo>
                    <a:lnTo>
                      <a:pt x="248129" y="663840"/>
                    </a:lnTo>
                    <a:lnTo>
                      <a:pt x="0" y="663840"/>
                    </a:lnTo>
                    <a:lnTo>
                      <a:pt x="0" y="663840"/>
                    </a:lnTo>
                    <a:lnTo>
                      <a:pt x="0" y="211225"/>
                    </a:lnTo>
                    <a:cubicBezTo>
                      <a:pt x="0" y="104798"/>
                      <a:pt x="80700" y="56026"/>
                      <a:pt x="144178" y="22667"/>
                    </a:cubicBezTo>
                    <a:close/>
                  </a:path>
                </a:pathLst>
              </a:cu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02" name="Round Same Side Corner Rectangle 11"/>
              <p:cNvSpPr/>
              <p:nvPr/>
            </p:nvSpPr>
            <p:spPr>
              <a:xfrm rot="16200000">
                <a:off x="6912899" y="2339184"/>
                <a:ext cx="101418" cy="1051827"/>
              </a:xfrm>
              <a:custGeom>
                <a:avLst/>
                <a:gdLst>
                  <a:gd name="connsiteX0" fmla="*/ 192704 w 474348"/>
                  <a:gd name="connsiteY0" fmla="*/ 0 h 645319"/>
                  <a:gd name="connsiteX1" fmla="*/ 281644 w 474348"/>
                  <a:gd name="connsiteY1" fmla="*/ 0 h 645319"/>
                  <a:gd name="connsiteX2" fmla="*/ 474348 w 474348"/>
                  <a:gd name="connsiteY2" fmla="*/ 192704 h 645319"/>
                  <a:gd name="connsiteX3" fmla="*/ 474348 w 474348"/>
                  <a:gd name="connsiteY3" fmla="*/ 645319 h 645319"/>
                  <a:gd name="connsiteX4" fmla="*/ 474348 w 474348"/>
                  <a:gd name="connsiteY4" fmla="*/ 645319 h 645319"/>
                  <a:gd name="connsiteX5" fmla="*/ 0 w 474348"/>
                  <a:gd name="connsiteY5" fmla="*/ 645319 h 645319"/>
                  <a:gd name="connsiteX6" fmla="*/ 0 w 474348"/>
                  <a:gd name="connsiteY6" fmla="*/ 645319 h 645319"/>
                  <a:gd name="connsiteX7" fmla="*/ 0 w 474348"/>
                  <a:gd name="connsiteY7" fmla="*/ 192704 h 645319"/>
                  <a:gd name="connsiteX8" fmla="*/ 192704 w 474348"/>
                  <a:gd name="connsiteY8" fmla="*/ 0 h 645319"/>
                  <a:gd name="connsiteX0" fmla="*/ 192704 w 474348"/>
                  <a:gd name="connsiteY0" fmla="*/ 0 h 645319"/>
                  <a:gd name="connsiteX1" fmla="*/ 281644 w 474348"/>
                  <a:gd name="connsiteY1" fmla="*/ 0 h 645319"/>
                  <a:gd name="connsiteX2" fmla="*/ 474348 w 474348"/>
                  <a:gd name="connsiteY2" fmla="*/ 192704 h 645319"/>
                  <a:gd name="connsiteX3" fmla="*/ 474348 w 474348"/>
                  <a:gd name="connsiteY3" fmla="*/ 645319 h 645319"/>
                  <a:gd name="connsiteX4" fmla="*/ 474348 w 474348"/>
                  <a:gd name="connsiteY4" fmla="*/ 645319 h 645319"/>
                  <a:gd name="connsiteX5" fmla="*/ 248129 w 474348"/>
                  <a:gd name="connsiteY5" fmla="*/ 645319 h 645319"/>
                  <a:gd name="connsiteX6" fmla="*/ 0 w 474348"/>
                  <a:gd name="connsiteY6" fmla="*/ 645319 h 645319"/>
                  <a:gd name="connsiteX7" fmla="*/ 0 w 474348"/>
                  <a:gd name="connsiteY7" fmla="*/ 645319 h 645319"/>
                  <a:gd name="connsiteX8" fmla="*/ 0 w 474348"/>
                  <a:gd name="connsiteY8" fmla="*/ 192704 h 645319"/>
                  <a:gd name="connsiteX9" fmla="*/ 192704 w 474348"/>
                  <a:gd name="connsiteY9" fmla="*/ 0 h 645319"/>
                  <a:gd name="connsiteX0" fmla="*/ 192704 w 474348"/>
                  <a:gd name="connsiteY0" fmla="*/ 2381 h 647700"/>
                  <a:gd name="connsiteX1" fmla="*/ 240986 w 474348"/>
                  <a:gd name="connsiteY1" fmla="*/ 0 h 647700"/>
                  <a:gd name="connsiteX2" fmla="*/ 281644 w 474348"/>
                  <a:gd name="connsiteY2" fmla="*/ 2381 h 647700"/>
                  <a:gd name="connsiteX3" fmla="*/ 474348 w 474348"/>
                  <a:gd name="connsiteY3" fmla="*/ 195085 h 647700"/>
                  <a:gd name="connsiteX4" fmla="*/ 474348 w 474348"/>
                  <a:gd name="connsiteY4" fmla="*/ 647700 h 647700"/>
                  <a:gd name="connsiteX5" fmla="*/ 474348 w 474348"/>
                  <a:gd name="connsiteY5" fmla="*/ 647700 h 647700"/>
                  <a:gd name="connsiteX6" fmla="*/ 248129 w 474348"/>
                  <a:gd name="connsiteY6" fmla="*/ 647700 h 647700"/>
                  <a:gd name="connsiteX7" fmla="*/ 0 w 474348"/>
                  <a:gd name="connsiteY7" fmla="*/ 647700 h 647700"/>
                  <a:gd name="connsiteX8" fmla="*/ 0 w 474348"/>
                  <a:gd name="connsiteY8" fmla="*/ 647700 h 647700"/>
                  <a:gd name="connsiteX9" fmla="*/ 0 w 474348"/>
                  <a:gd name="connsiteY9" fmla="*/ 195085 h 647700"/>
                  <a:gd name="connsiteX10" fmla="*/ 192704 w 474348"/>
                  <a:gd name="connsiteY10" fmla="*/ 2381 h 647700"/>
                  <a:gd name="connsiteX0" fmla="*/ 192704 w 474348"/>
                  <a:gd name="connsiteY0" fmla="*/ 42862 h 688181"/>
                  <a:gd name="connsiteX1" fmla="*/ 240986 w 474348"/>
                  <a:gd name="connsiteY1" fmla="*/ 0 h 688181"/>
                  <a:gd name="connsiteX2" fmla="*/ 281644 w 474348"/>
                  <a:gd name="connsiteY2" fmla="*/ 42862 h 688181"/>
                  <a:gd name="connsiteX3" fmla="*/ 474348 w 474348"/>
                  <a:gd name="connsiteY3" fmla="*/ 235566 h 688181"/>
                  <a:gd name="connsiteX4" fmla="*/ 474348 w 474348"/>
                  <a:gd name="connsiteY4" fmla="*/ 688181 h 688181"/>
                  <a:gd name="connsiteX5" fmla="*/ 474348 w 474348"/>
                  <a:gd name="connsiteY5" fmla="*/ 688181 h 688181"/>
                  <a:gd name="connsiteX6" fmla="*/ 248129 w 474348"/>
                  <a:gd name="connsiteY6" fmla="*/ 688181 h 688181"/>
                  <a:gd name="connsiteX7" fmla="*/ 0 w 474348"/>
                  <a:gd name="connsiteY7" fmla="*/ 688181 h 688181"/>
                  <a:gd name="connsiteX8" fmla="*/ 0 w 474348"/>
                  <a:gd name="connsiteY8" fmla="*/ 688181 h 688181"/>
                  <a:gd name="connsiteX9" fmla="*/ 0 w 474348"/>
                  <a:gd name="connsiteY9" fmla="*/ 235566 h 688181"/>
                  <a:gd name="connsiteX10" fmla="*/ 192704 w 474348"/>
                  <a:gd name="connsiteY10" fmla="*/ 42862 h 688181"/>
                  <a:gd name="connsiteX0" fmla="*/ 192704 w 474348"/>
                  <a:gd name="connsiteY0" fmla="*/ 23812 h 669131"/>
                  <a:gd name="connsiteX1" fmla="*/ 265690 w 474348"/>
                  <a:gd name="connsiteY1" fmla="*/ 0 h 669131"/>
                  <a:gd name="connsiteX2" fmla="*/ 281644 w 474348"/>
                  <a:gd name="connsiteY2" fmla="*/ 23812 h 669131"/>
                  <a:gd name="connsiteX3" fmla="*/ 474348 w 474348"/>
                  <a:gd name="connsiteY3" fmla="*/ 216516 h 669131"/>
                  <a:gd name="connsiteX4" fmla="*/ 474348 w 474348"/>
                  <a:gd name="connsiteY4" fmla="*/ 669131 h 669131"/>
                  <a:gd name="connsiteX5" fmla="*/ 474348 w 474348"/>
                  <a:gd name="connsiteY5" fmla="*/ 669131 h 669131"/>
                  <a:gd name="connsiteX6" fmla="*/ 248129 w 474348"/>
                  <a:gd name="connsiteY6" fmla="*/ 669131 h 669131"/>
                  <a:gd name="connsiteX7" fmla="*/ 0 w 474348"/>
                  <a:gd name="connsiteY7" fmla="*/ 669131 h 669131"/>
                  <a:gd name="connsiteX8" fmla="*/ 0 w 474348"/>
                  <a:gd name="connsiteY8" fmla="*/ 669131 h 669131"/>
                  <a:gd name="connsiteX9" fmla="*/ 0 w 474348"/>
                  <a:gd name="connsiteY9" fmla="*/ 216516 h 669131"/>
                  <a:gd name="connsiteX10" fmla="*/ 192704 w 474348"/>
                  <a:gd name="connsiteY10" fmla="*/ 23812 h 669131"/>
                  <a:gd name="connsiteX0" fmla="*/ 192704 w 474348"/>
                  <a:gd name="connsiteY0" fmla="*/ 23812 h 669131"/>
                  <a:gd name="connsiteX1" fmla="*/ 265690 w 474348"/>
                  <a:gd name="connsiteY1" fmla="*/ 0 h 669131"/>
                  <a:gd name="connsiteX2" fmla="*/ 281644 w 474348"/>
                  <a:gd name="connsiteY2" fmla="*/ 23812 h 669131"/>
                  <a:gd name="connsiteX3" fmla="*/ 474348 w 474348"/>
                  <a:gd name="connsiteY3" fmla="*/ 216516 h 669131"/>
                  <a:gd name="connsiteX4" fmla="*/ 474348 w 474348"/>
                  <a:gd name="connsiteY4" fmla="*/ 669131 h 669131"/>
                  <a:gd name="connsiteX5" fmla="*/ 474348 w 474348"/>
                  <a:gd name="connsiteY5" fmla="*/ 669131 h 669131"/>
                  <a:gd name="connsiteX6" fmla="*/ 248129 w 474348"/>
                  <a:gd name="connsiteY6" fmla="*/ 669131 h 669131"/>
                  <a:gd name="connsiteX7" fmla="*/ 0 w 474348"/>
                  <a:gd name="connsiteY7" fmla="*/ 669131 h 669131"/>
                  <a:gd name="connsiteX8" fmla="*/ 0 w 474348"/>
                  <a:gd name="connsiteY8" fmla="*/ 669131 h 669131"/>
                  <a:gd name="connsiteX9" fmla="*/ 0 w 474348"/>
                  <a:gd name="connsiteY9" fmla="*/ 216516 h 669131"/>
                  <a:gd name="connsiteX10" fmla="*/ 192704 w 474348"/>
                  <a:gd name="connsiteY10" fmla="*/ 23812 h 669131"/>
                  <a:gd name="connsiteX0" fmla="*/ 192704 w 474348"/>
                  <a:gd name="connsiteY0" fmla="*/ 23812 h 669131"/>
                  <a:gd name="connsiteX1" fmla="*/ 265690 w 474348"/>
                  <a:gd name="connsiteY1" fmla="*/ 0 h 669131"/>
                  <a:gd name="connsiteX2" fmla="*/ 281644 w 474348"/>
                  <a:gd name="connsiteY2" fmla="*/ 23812 h 669131"/>
                  <a:gd name="connsiteX3" fmla="*/ 474348 w 474348"/>
                  <a:gd name="connsiteY3" fmla="*/ 216516 h 669131"/>
                  <a:gd name="connsiteX4" fmla="*/ 474348 w 474348"/>
                  <a:gd name="connsiteY4" fmla="*/ 669131 h 669131"/>
                  <a:gd name="connsiteX5" fmla="*/ 474348 w 474348"/>
                  <a:gd name="connsiteY5" fmla="*/ 669131 h 669131"/>
                  <a:gd name="connsiteX6" fmla="*/ 248129 w 474348"/>
                  <a:gd name="connsiteY6" fmla="*/ 669131 h 669131"/>
                  <a:gd name="connsiteX7" fmla="*/ 0 w 474348"/>
                  <a:gd name="connsiteY7" fmla="*/ 669131 h 669131"/>
                  <a:gd name="connsiteX8" fmla="*/ 0 w 474348"/>
                  <a:gd name="connsiteY8" fmla="*/ 669131 h 669131"/>
                  <a:gd name="connsiteX9" fmla="*/ 0 w 474348"/>
                  <a:gd name="connsiteY9" fmla="*/ 216516 h 669131"/>
                  <a:gd name="connsiteX10" fmla="*/ 192704 w 474348"/>
                  <a:gd name="connsiteY10" fmla="*/ 23812 h 669131"/>
                  <a:gd name="connsiteX0" fmla="*/ 192704 w 474348"/>
                  <a:gd name="connsiteY0" fmla="*/ 23812 h 669131"/>
                  <a:gd name="connsiteX1" fmla="*/ 265690 w 474348"/>
                  <a:gd name="connsiteY1" fmla="*/ 0 h 669131"/>
                  <a:gd name="connsiteX2" fmla="*/ 314250 w 474348"/>
                  <a:gd name="connsiteY2" fmla="*/ 24047 h 669131"/>
                  <a:gd name="connsiteX3" fmla="*/ 474348 w 474348"/>
                  <a:gd name="connsiteY3" fmla="*/ 216516 h 669131"/>
                  <a:gd name="connsiteX4" fmla="*/ 474348 w 474348"/>
                  <a:gd name="connsiteY4" fmla="*/ 669131 h 669131"/>
                  <a:gd name="connsiteX5" fmla="*/ 474348 w 474348"/>
                  <a:gd name="connsiteY5" fmla="*/ 669131 h 669131"/>
                  <a:gd name="connsiteX6" fmla="*/ 248129 w 474348"/>
                  <a:gd name="connsiteY6" fmla="*/ 669131 h 669131"/>
                  <a:gd name="connsiteX7" fmla="*/ 0 w 474348"/>
                  <a:gd name="connsiteY7" fmla="*/ 669131 h 669131"/>
                  <a:gd name="connsiteX8" fmla="*/ 0 w 474348"/>
                  <a:gd name="connsiteY8" fmla="*/ 669131 h 669131"/>
                  <a:gd name="connsiteX9" fmla="*/ 0 w 474348"/>
                  <a:gd name="connsiteY9" fmla="*/ 216516 h 669131"/>
                  <a:gd name="connsiteX10" fmla="*/ 192704 w 474348"/>
                  <a:gd name="connsiteY10" fmla="*/ 23812 h 669131"/>
                  <a:gd name="connsiteX0" fmla="*/ 192704 w 474348"/>
                  <a:gd name="connsiteY0" fmla="*/ 23812 h 669131"/>
                  <a:gd name="connsiteX1" fmla="*/ 265690 w 474348"/>
                  <a:gd name="connsiteY1" fmla="*/ 0 h 669131"/>
                  <a:gd name="connsiteX2" fmla="*/ 314250 w 474348"/>
                  <a:gd name="connsiteY2" fmla="*/ 24047 h 669131"/>
                  <a:gd name="connsiteX3" fmla="*/ 474348 w 474348"/>
                  <a:gd name="connsiteY3" fmla="*/ 216516 h 669131"/>
                  <a:gd name="connsiteX4" fmla="*/ 474348 w 474348"/>
                  <a:gd name="connsiteY4" fmla="*/ 669131 h 669131"/>
                  <a:gd name="connsiteX5" fmla="*/ 474348 w 474348"/>
                  <a:gd name="connsiteY5" fmla="*/ 669131 h 669131"/>
                  <a:gd name="connsiteX6" fmla="*/ 248129 w 474348"/>
                  <a:gd name="connsiteY6" fmla="*/ 669131 h 669131"/>
                  <a:gd name="connsiteX7" fmla="*/ 0 w 474348"/>
                  <a:gd name="connsiteY7" fmla="*/ 669131 h 669131"/>
                  <a:gd name="connsiteX8" fmla="*/ 0 w 474348"/>
                  <a:gd name="connsiteY8" fmla="*/ 669131 h 669131"/>
                  <a:gd name="connsiteX9" fmla="*/ 0 w 474348"/>
                  <a:gd name="connsiteY9" fmla="*/ 216516 h 669131"/>
                  <a:gd name="connsiteX10" fmla="*/ 192704 w 474348"/>
                  <a:gd name="connsiteY10" fmla="*/ 23812 h 669131"/>
                  <a:gd name="connsiteX0" fmla="*/ 192704 w 474348"/>
                  <a:gd name="connsiteY0" fmla="*/ 23812 h 669131"/>
                  <a:gd name="connsiteX1" fmla="*/ 265690 w 474348"/>
                  <a:gd name="connsiteY1" fmla="*/ 0 h 669131"/>
                  <a:gd name="connsiteX2" fmla="*/ 314250 w 474348"/>
                  <a:gd name="connsiteY2" fmla="*/ 24047 h 669131"/>
                  <a:gd name="connsiteX3" fmla="*/ 474348 w 474348"/>
                  <a:gd name="connsiteY3" fmla="*/ 216516 h 669131"/>
                  <a:gd name="connsiteX4" fmla="*/ 474348 w 474348"/>
                  <a:gd name="connsiteY4" fmla="*/ 669131 h 669131"/>
                  <a:gd name="connsiteX5" fmla="*/ 474348 w 474348"/>
                  <a:gd name="connsiteY5" fmla="*/ 669131 h 669131"/>
                  <a:gd name="connsiteX6" fmla="*/ 248129 w 474348"/>
                  <a:gd name="connsiteY6" fmla="*/ 669131 h 669131"/>
                  <a:gd name="connsiteX7" fmla="*/ 0 w 474348"/>
                  <a:gd name="connsiteY7" fmla="*/ 669131 h 669131"/>
                  <a:gd name="connsiteX8" fmla="*/ 0 w 474348"/>
                  <a:gd name="connsiteY8" fmla="*/ 669131 h 669131"/>
                  <a:gd name="connsiteX9" fmla="*/ 0 w 474348"/>
                  <a:gd name="connsiteY9" fmla="*/ 216516 h 669131"/>
                  <a:gd name="connsiteX10" fmla="*/ 192704 w 474348"/>
                  <a:gd name="connsiteY10" fmla="*/ 23812 h 669131"/>
                  <a:gd name="connsiteX0" fmla="*/ 174282 w 474348"/>
                  <a:gd name="connsiteY0" fmla="*/ 23596 h 669131"/>
                  <a:gd name="connsiteX1" fmla="*/ 265690 w 474348"/>
                  <a:gd name="connsiteY1" fmla="*/ 0 h 669131"/>
                  <a:gd name="connsiteX2" fmla="*/ 314250 w 474348"/>
                  <a:gd name="connsiteY2" fmla="*/ 24047 h 669131"/>
                  <a:gd name="connsiteX3" fmla="*/ 474348 w 474348"/>
                  <a:gd name="connsiteY3" fmla="*/ 216516 h 669131"/>
                  <a:gd name="connsiteX4" fmla="*/ 474348 w 474348"/>
                  <a:gd name="connsiteY4" fmla="*/ 669131 h 669131"/>
                  <a:gd name="connsiteX5" fmla="*/ 474348 w 474348"/>
                  <a:gd name="connsiteY5" fmla="*/ 669131 h 669131"/>
                  <a:gd name="connsiteX6" fmla="*/ 248129 w 474348"/>
                  <a:gd name="connsiteY6" fmla="*/ 669131 h 669131"/>
                  <a:gd name="connsiteX7" fmla="*/ 0 w 474348"/>
                  <a:gd name="connsiteY7" fmla="*/ 669131 h 669131"/>
                  <a:gd name="connsiteX8" fmla="*/ 0 w 474348"/>
                  <a:gd name="connsiteY8" fmla="*/ 669131 h 669131"/>
                  <a:gd name="connsiteX9" fmla="*/ 0 w 474348"/>
                  <a:gd name="connsiteY9" fmla="*/ 216516 h 669131"/>
                  <a:gd name="connsiteX10" fmla="*/ 174282 w 474348"/>
                  <a:gd name="connsiteY10" fmla="*/ 23596 h 669131"/>
                  <a:gd name="connsiteX0" fmla="*/ 174282 w 474348"/>
                  <a:gd name="connsiteY0" fmla="*/ 24619 h 670154"/>
                  <a:gd name="connsiteX1" fmla="*/ 216121 w 474348"/>
                  <a:gd name="connsiteY1" fmla="*/ 0 h 670154"/>
                  <a:gd name="connsiteX2" fmla="*/ 314250 w 474348"/>
                  <a:gd name="connsiteY2" fmla="*/ 25070 h 670154"/>
                  <a:gd name="connsiteX3" fmla="*/ 474348 w 474348"/>
                  <a:gd name="connsiteY3" fmla="*/ 217539 h 670154"/>
                  <a:gd name="connsiteX4" fmla="*/ 474348 w 474348"/>
                  <a:gd name="connsiteY4" fmla="*/ 670154 h 670154"/>
                  <a:gd name="connsiteX5" fmla="*/ 474348 w 474348"/>
                  <a:gd name="connsiteY5" fmla="*/ 670154 h 670154"/>
                  <a:gd name="connsiteX6" fmla="*/ 248129 w 474348"/>
                  <a:gd name="connsiteY6" fmla="*/ 670154 h 670154"/>
                  <a:gd name="connsiteX7" fmla="*/ 0 w 474348"/>
                  <a:gd name="connsiteY7" fmla="*/ 670154 h 670154"/>
                  <a:gd name="connsiteX8" fmla="*/ 0 w 474348"/>
                  <a:gd name="connsiteY8" fmla="*/ 670154 h 670154"/>
                  <a:gd name="connsiteX9" fmla="*/ 0 w 474348"/>
                  <a:gd name="connsiteY9" fmla="*/ 217539 h 670154"/>
                  <a:gd name="connsiteX10" fmla="*/ 174282 w 474348"/>
                  <a:gd name="connsiteY10" fmla="*/ 24619 h 670154"/>
                  <a:gd name="connsiteX0" fmla="*/ 174282 w 474348"/>
                  <a:gd name="connsiteY0" fmla="*/ 24619 h 670154"/>
                  <a:gd name="connsiteX1" fmla="*/ 216121 w 474348"/>
                  <a:gd name="connsiteY1" fmla="*/ 0 h 670154"/>
                  <a:gd name="connsiteX2" fmla="*/ 314250 w 474348"/>
                  <a:gd name="connsiteY2" fmla="*/ 25070 h 670154"/>
                  <a:gd name="connsiteX3" fmla="*/ 474348 w 474348"/>
                  <a:gd name="connsiteY3" fmla="*/ 217539 h 670154"/>
                  <a:gd name="connsiteX4" fmla="*/ 474348 w 474348"/>
                  <a:gd name="connsiteY4" fmla="*/ 670154 h 670154"/>
                  <a:gd name="connsiteX5" fmla="*/ 474348 w 474348"/>
                  <a:gd name="connsiteY5" fmla="*/ 670154 h 670154"/>
                  <a:gd name="connsiteX6" fmla="*/ 248129 w 474348"/>
                  <a:gd name="connsiteY6" fmla="*/ 670154 h 670154"/>
                  <a:gd name="connsiteX7" fmla="*/ 0 w 474348"/>
                  <a:gd name="connsiteY7" fmla="*/ 670154 h 670154"/>
                  <a:gd name="connsiteX8" fmla="*/ 0 w 474348"/>
                  <a:gd name="connsiteY8" fmla="*/ 670154 h 670154"/>
                  <a:gd name="connsiteX9" fmla="*/ 0 w 474348"/>
                  <a:gd name="connsiteY9" fmla="*/ 217539 h 670154"/>
                  <a:gd name="connsiteX10" fmla="*/ 174282 w 474348"/>
                  <a:gd name="connsiteY10" fmla="*/ 24619 h 670154"/>
                  <a:gd name="connsiteX0" fmla="*/ 174282 w 474348"/>
                  <a:gd name="connsiteY0" fmla="*/ 24619 h 670154"/>
                  <a:gd name="connsiteX1" fmla="*/ 216121 w 474348"/>
                  <a:gd name="connsiteY1" fmla="*/ 0 h 670154"/>
                  <a:gd name="connsiteX2" fmla="*/ 314250 w 474348"/>
                  <a:gd name="connsiteY2" fmla="*/ 25070 h 670154"/>
                  <a:gd name="connsiteX3" fmla="*/ 474348 w 474348"/>
                  <a:gd name="connsiteY3" fmla="*/ 217539 h 670154"/>
                  <a:gd name="connsiteX4" fmla="*/ 474348 w 474348"/>
                  <a:gd name="connsiteY4" fmla="*/ 670154 h 670154"/>
                  <a:gd name="connsiteX5" fmla="*/ 474348 w 474348"/>
                  <a:gd name="connsiteY5" fmla="*/ 670154 h 670154"/>
                  <a:gd name="connsiteX6" fmla="*/ 248129 w 474348"/>
                  <a:gd name="connsiteY6" fmla="*/ 670154 h 670154"/>
                  <a:gd name="connsiteX7" fmla="*/ 0 w 474348"/>
                  <a:gd name="connsiteY7" fmla="*/ 670154 h 670154"/>
                  <a:gd name="connsiteX8" fmla="*/ 0 w 474348"/>
                  <a:gd name="connsiteY8" fmla="*/ 670154 h 670154"/>
                  <a:gd name="connsiteX9" fmla="*/ 0 w 474348"/>
                  <a:gd name="connsiteY9" fmla="*/ 217539 h 670154"/>
                  <a:gd name="connsiteX10" fmla="*/ 174282 w 474348"/>
                  <a:gd name="connsiteY10" fmla="*/ 24619 h 670154"/>
                  <a:gd name="connsiteX0" fmla="*/ 174282 w 474348"/>
                  <a:gd name="connsiteY0" fmla="*/ 24619 h 670154"/>
                  <a:gd name="connsiteX1" fmla="*/ 216121 w 474348"/>
                  <a:gd name="connsiteY1" fmla="*/ 0 h 670154"/>
                  <a:gd name="connsiteX2" fmla="*/ 314250 w 474348"/>
                  <a:gd name="connsiteY2" fmla="*/ 25070 h 670154"/>
                  <a:gd name="connsiteX3" fmla="*/ 474348 w 474348"/>
                  <a:gd name="connsiteY3" fmla="*/ 217539 h 670154"/>
                  <a:gd name="connsiteX4" fmla="*/ 474348 w 474348"/>
                  <a:gd name="connsiteY4" fmla="*/ 670154 h 670154"/>
                  <a:gd name="connsiteX5" fmla="*/ 474348 w 474348"/>
                  <a:gd name="connsiteY5" fmla="*/ 670154 h 670154"/>
                  <a:gd name="connsiteX6" fmla="*/ 248129 w 474348"/>
                  <a:gd name="connsiteY6" fmla="*/ 670154 h 670154"/>
                  <a:gd name="connsiteX7" fmla="*/ 0 w 474348"/>
                  <a:gd name="connsiteY7" fmla="*/ 670154 h 670154"/>
                  <a:gd name="connsiteX8" fmla="*/ 0 w 474348"/>
                  <a:gd name="connsiteY8" fmla="*/ 670154 h 670154"/>
                  <a:gd name="connsiteX9" fmla="*/ 0 w 474348"/>
                  <a:gd name="connsiteY9" fmla="*/ 217539 h 670154"/>
                  <a:gd name="connsiteX10" fmla="*/ 174282 w 474348"/>
                  <a:gd name="connsiteY10" fmla="*/ 24619 h 670154"/>
                  <a:gd name="connsiteX0" fmla="*/ 148557 w 474348"/>
                  <a:gd name="connsiteY0" fmla="*/ 27264 h 670154"/>
                  <a:gd name="connsiteX1" fmla="*/ 216121 w 474348"/>
                  <a:gd name="connsiteY1" fmla="*/ 0 h 670154"/>
                  <a:gd name="connsiteX2" fmla="*/ 314250 w 474348"/>
                  <a:gd name="connsiteY2" fmla="*/ 25070 h 670154"/>
                  <a:gd name="connsiteX3" fmla="*/ 474348 w 474348"/>
                  <a:gd name="connsiteY3" fmla="*/ 217539 h 670154"/>
                  <a:gd name="connsiteX4" fmla="*/ 474348 w 474348"/>
                  <a:gd name="connsiteY4" fmla="*/ 670154 h 670154"/>
                  <a:gd name="connsiteX5" fmla="*/ 474348 w 474348"/>
                  <a:gd name="connsiteY5" fmla="*/ 670154 h 670154"/>
                  <a:gd name="connsiteX6" fmla="*/ 248129 w 474348"/>
                  <a:gd name="connsiteY6" fmla="*/ 670154 h 670154"/>
                  <a:gd name="connsiteX7" fmla="*/ 0 w 474348"/>
                  <a:gd name="connsiteY7" fmla="*/ 670154 h 670154"/>
                  <a:gd name="connsiteX8" fmla="*/ 0 w 474348"/>
                  <a:gd name="connsiteY8" fmla="*/ 670154 h 670154"/>
                  <a:gd name="connsiteX9" fmla="*/ 0 w 474348"/>
                  <a:gd name="connsiteY9" fmla="*/ 217539 h 670154"/>
                  <a:gd name="connsiteX10" fmla="*/ 148557 w 474348"/>
                  <a:gd name="connsiteY10" fmla="*/ 27264 h 670154"/>
                  <a:gd name="connsiteX0" fmla="*/ 148557 w 474348"/>
                  <a:gd name="connsiteY0" fmla="*/ 20950 h 663840"/>
                  <a:gd name="connsiteX1" fmla="*/ 214238 w 474348"/>
                  <a:gd name="connsiteY1" fmla="*/ 0 h 663840"/>
                  <a:gd name="connsiteX2" fmla="*/ 314250 w 474348"/>
                  <a:gd name="connsiteY2" fmla="*/ 18756 h 663840"/>
                  <a:gd name="connsiteX3" fmla="*/ 474348 w 474348"/>
                  <a:gd name="connsiteY3" fmla="*/ 211225 h 663840"/>
                  <a:gd name="connsiteX4" fmla="*/ 474348 w 474348"/>
                  <a:gd name="connsiteY4" fmla="*/ 663840 h 663840"/>
                  <a:gd name="connsiteX5" fmla="*/ 474348 w 474348"/>
                  <a:gd name="connsiteY5" fmla="*/ 663840 h 663840"/>
                  <a:gd name="connsiteX6" fmla="*/ 248129 w 474348"/>
                  <a:gd name="connsiteY6" fmla="*/ 663840 h 663840"/>
                  <a:gd name="connsiteX7" fmla="*/ 0 w 474348"/>
                  <a:gd name="connsiteY7" fmla="*/ 663840 h 663840"/>
                  <a:gd name="connsiteX8" fmla="*/ 0 w 474348"/>
                  <a:gd name="connsiteY8" fmla="*/ 663840 h 663840"/>
                  <a:gd name="connsiteX9" fmla="*/ 0 w 474348"/>
                  <a:gd name="connsiteY9" fmla="*/ 211225 h 663840"/>
                  <a:gd name="connsiteX10" fmla="*/ 148557 w 474348"/>
                  <a:gd name="connsiteY10" fmla="*/ 20950 h 663840"/>
                  <a:gd name="connsiteX0" fmla="*/ 148557 w 474348"/>
                  <a:gd name="connsiteY0" fmla="*/ 20950 h 663840"/>
                  <a:gd name="connsiteX1" fmla="*/ 214238 w 474348"/>
                  <a:gd name="connsiteY1" fmla="*/ 0 h 663840"/>
                  <a:gd name="connsiteX2" fmla="*/ 314250 w 474348"/>
                  <a:gd name="connsiteY2" fmla="*/ 18756 h 663840"/>
                  <a:gd name="connsiteX3" fmla="*/ 474348 w 474348"/>
                  <a:gd name="connsiteY3" fmla="*/ 211225 h 663840"/>
                  <a:gd name="connsiteX4" fmla="*/ 474348 w 474348"/>
                  <a:gd name="connsiteY4" fmla="*/ 663840 h 663840"/>
                  <a:gd name="connsiteX5" fmla="*/ 474348 w 474348"/>
                  <a:gd name="connsiteY5" fmla="*/ 663840 h 663840"/>
                  <a:gd name="connsiteX6" fmla="*/ 248129 w 474348"/>
                  <a:gd name="connsiteY6" fmla="*/ 663840 h 663840"/>
                  <a:gd name="connsiteX7" fmla="*/ 0 w 474348"/>
                  <a:gd name="connsiteY7" fmla="*/ 663840 h 663840"/>
                  <a:gd name="connsiteX8" fmla="*/ 0 w 474348"/>
                  <a:gd name="connsiteY8" fmla="*/ 663840 h 663840"/>
                  <a:gd name="connsiteX9" fmla="*/ 0 w 474348"/>
                  <a:gd name="connsiteY9" fmla="*/ 211225 h 663840"/>
                  <a:gd name="connsiteX10" fmla="*/ 148557 w 474348"/>
                  <a:gd name="connsiteY10" fmla="*/ 20950 h 663840"/>
                  <a:gd name="connsiteX0" fmla="*/ 148557 w 474348"/>
                  <a:gd name="connsiteY0" fmla="*/ 20950 h 663840"/>
                  <a:gd name="connsiteX1" fmla="*/ 214238 w 474348"/>
                  <a:gd name="connsiteY1" fmla="*/ 0 h 663840"/>
                  <a:gd name="connsiteX2" fmla="*/ 314250 w 474348"/>
                  <a:gd name="connsiteY2" fmla="*/ 18756 h 663840"/>
                  <a:gd name="connsiteX3" fmla="*/ 474348 w 474348"/>
                  <a:gd name="connsiteY3" fmla="*/ 211225 h 663840"/>
                  <a:gd name="connsiteX4" fmla="*/ 474348 w 474348"/>
                  <a:gd name="connsiteY4" fmla="*/ 663840 h 663840"/>
                  <a:gd name="connsiteX5" fmla="*/ 474348 w 474348"/>
                  <a:gd name="connsiteY5" fmla="*/ 663840 h 663840"/>
                  <a:gd name="connsiteX6" fmla="*/ 248129 w 474348"/>
                  <a:gd name="connsiteY6" fmla="*/ 663840 h 663840"/>
                  <a:gd name="connsiteX7" fmla="*/ 0 w 474348"/>
                  <a:gd name="connsiteY7" fmla="*/ 663840 h 663840"/>
                  <a:gd name="connsiteX8" fmla="*/ 0 w 474348"/>
                  <a:gd name="connsiteY8" fmla="*/ 663840 h 663840"/>
                  <a:gd name="connsiteX9" fmla="*/ 0 w 474348"/>
                  <a:gd name="connsiteY9" fmla="*/ 211225 h 663840"/>
                  <a:gd name="connsiteX10" fmla="*/ 148557 w 474348"/>
                  <a:gd name="connsiteY10" fmla="*/ 20950 h 663840"/>
                  <a:gd name="connsiteX0" fmla="*/ 144178 w 474348"/>
                  <a:gd name="connsiteY0" fmla="*/ 22667 h 663840"/>
                  <a:gd name="connsiteX1" fmla="*/ 214238 w 474348"/>
                  <a:gd name="connsiteY1" fmla="*/ 0 h 663840"/>
                  <a:gd name="connsiteX2" fmla="*/ 314250 w 474348"/>
                  <a:gd name="connsiteY2" fmla="*/ 18756 h 663840"/>
                  <a:gd name="connsiteX3" fmla="*/ 474348 w 474348"/>
                  <a:gd name="connsiteY3" fmla="*/ 211225 h 663840"/>
                  <a:gd name="connsiteX4" fmla="*/ 474348 w 474348"/>
                  <a:gd name="connsiteY4" fmla="*/ 663840 h 663840"/>
                  <a:gd name="connsiteX5" fmla="*/ 474348 w 474348"/>
                  <a:gd name="connsiteY5" fmla="*/ 663840 h 663840"/>
                  <a:gd name="connsiteX6" fmla="*/ 248129 w 474348"/>
                  <a:gd name="connsiteY6" fmla="*/ 663840 h 663840"/>
                  <a:gd name="connsiteX7" fmla="*/ 0 w 474348"/>
                  <a:gd name="connsiteY7" fmla="*/ 663840 h 663840"/>
                  <a:gd name="connsiteX8" fmla="*/ 0 w 474348"/>
                  <a:gd name="connsiteY8" fmla="*/ 663840 h 663840"/>
                  <a:gd name="connsiteX9" fmla="*/ 0 w 474348"/>
                  <a:gd name="connsiteY9" fmla="*/ 211225 h 663840"/>
                  <a:gd name="connsiteX10" fmla="*/ 144178 w 474348"/>
                  <a:gd name="connsiteY10" fmla="*/ 22667 h 663840"/>
                  <a:gd name="connsiteX0" fmla="*/ 144178 w 474348"/>
                  <a:gd name="connsiteY0" fmla="*/ 22667 h 663840"/>
                  <a:gd name="connsiteX1" fmla="*/ 214238 w 474348"/>
                  <a:gd name="connsiteY1" fmla="*/ 0 h 663840"/>
                  <a:gd name="connsiteX2" fmla="*/ 314250 w 474348"/>
                  <a:gd name="connsiteY2" fmla="*/ 18756 h 663840"/>
                  <a:gd name="connsiteX3" fmla="*/ 474348 w 474348"/>
                  <a:gd name="connsiteY3" fmla="*/ 211225 h 663840"/>
                  <a:gd name="connsiteX4" fmla="*/ 474348 w 474348"/>
                  <a:gd name="connsiteY4" fmla="*/ 663840 h 663840"/>
                  <a:gd name="connsiteX5" fmla="*/ 474348 w 474348"/>
                  <a:gd name="connsiteY5" fmla="*/ 663840 h 663840"/>
                  <a:gd name="connsiteX6" fmla="*/ 248129 w 474348"/>
                  <a:gd name="connsiteY6" fmla="*/ 663840 h 663840"/>
                  <a:gd name="connsiteX7" fmla="*/ 0 w 474348"/>
                  <a:gd name="connsiteY7" fmla="*/ 663840 h 663840"/>
                  <a:gd name="connsiteX8" fmla="*/ 0 w 474348"/>
                  <a:gd name="connsiteY8" fmla="*/ 663840 h 663840"/>
                  <a:gd name="connsiteX9" fmla="*/ 0 w 474348"/>
                  <a:gd name="connsiteY9" fmla="*/ 211225 h 663840"/>
                  <a:gd name="connsiteX10" fmla="*/ 144178 w 474348"/>
                  <a:gd name="connsiteY10" fmla="*/ 22667 h 663840"/>
                  <a:gd name="connsiteX0" fmla="*/ 144178 w 474348"/>
                  <a:gd name="connsiteY0" fmla="*/ 22667 h 663840"/>
                  <a:gd name="connsiteX1" fmla="*/ 214238 w 474348"/>
                  <a:gd name="connsiteY1" fmla="*/ 0 h 663840"/>
                  <a:gd name="connsiteX2" fmla="*/ 314250 w 474348"/>
                  <a:gd name="connsiteY2" fmla="*/ 18756 h 663840"/>
                  <a:gd name="connsiteX3" fmla="*/ 474348 w 474348"/>
                  <a:gd name="connsiteY3" fmla="*/ 211225 h 663840"/>
                  <a:gd name="connsiteX4" fmla="*/ 474348 w 474348"/>
                  <a:gd name="connsiteY4" fmla="*/ 663840 h 663840"/>
                  <a:gd name="connsiteX5" fmla="*/ 474348 w 474348"/>
                  <a:gd name="connsiteY5" fmla="*/ 663840 h 663840"/>
                  <a:gd name="connsiteX6" fmla="*/ 248129 w 474348"/>
                  <a:gd name="connsiteY6" fmla="*/ 663840 h 663840"/>
                  <a:gd name="connsiteX7" fmla="*/ 0 w 474348"/>
                  <a:gd name="connsiteY7" fmla="*/ 663840 h 663840"/>
                  <a:gd name="connsiteX8" fmla="*/ 0 w 474348"/>
                  <a:gd name="connsiteY8" fmla="*/ 663840 h 663840"/>
                  <a:gd name="connsiteX9" fmla="*/ 0 w 474348"/>
                  <a:gd name="connsiteY9" fmla="*/ 211225 h 663840"/>
                  <a:gd name="connsiteX10" fmla="*/ 144178 w 474348"/>
                  <a:gd name="connsiteY10" fmla="*/ 22667 h 663840"/>
                  <a:gd name="connsiteX0" fmla="*/ 144178 w 474348"/>
                  <a:gd name="connsiteY0" fmla="*/ 22667 h 663840"/>
                  <a:gd name="connsiteX1" fmla="*/ 214238 w 474348"/>
                  <a:gd name="connsiteY1" fmla="*/ 0 h 663840"/>
                  <a:gd name="connsiteX2" fmla="*/ 314250 w 474348"/>
                  <a:gd name="connsiteY2" fmla="*/ 18756 h 663840"/>
                  <a:gd name="connsiteX3" fmla="*/ 474348 w 474348"/>
                  <a:gd name="connsiteY3" fmla="*/ 211225 h 663840"/>
                  <a:gd name="connsiteX4" fmla="*/ 474348 w 474348"/>
                  <a:gd name="connsiteY4" fmla="*/ 663840 h 663840"/>
                  <a:gd name="connsiteX5" fmla="*/ 474348 w 474348"/>
                  <a:gd name="connsiteY5" fmla="*/ 663840 h 663840"/>
                  <a:gd name="connsiteX6" fmla="*/ 248129 w 474348"/>
                  <a:gd name="connsiteY6" fmla="*/ 663840 h 663840"/>
                  <a:gd name="connsiteX7" fmla="*/ 0 w 474348"/>
                  <a:gd name="connsiteY7" fmla="*/ 663840 h 663840"/>
                  <a:gd name="connsiteX8" fmla="*/ 0 w 474348"/>
                  <a:gd name="connsiteY8" fmla="*/ 663840 h 663840"/>
                  <a:gd name="connsiteX9" fmla="*/ 0 w 474348"/>
                  <a:gd name="connsiteY9" fmla="*/ 211225 h 663840"/>
                  <a:gd name="connsiteX10" fmla="*/ 144178 w 474348"/>
                  <a:gd name="connsiteY10" fmla="*/ 22667 h 6638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74348" h="663840">
                    <a:moveTo>
                      <a:pt x="144178" y="22667"/>
                    </a:moveTo>
                    <a:cubicBezTo>
                      <a:pt x="211732" y="-970"/>
                      <a:pt x="181869" y="7990"/>
                      <a:pt x="214238" y="0"/>
                    </a:cubicBezTo>
                    <a:cubicBezTo>
                      <a:pt x="259321" y="7224"/>
                      <a:pt x="221757" y="369"/>
                      <a:pt x="314250" y="18756"/>
                    </a:cubicBezTo>
                    <a:cubicBezTo>
                      <a:pt x="399877" y="51074"/>
                      <a:pt x="474348" y="104798"/>
                      <a:pt x="474348" y="211225"/>
                    </a:cubicBezTo>
                    <a:lnTo>
                      <a:pt x="474348" y="663840"/>
                    </a:lnTo>
                    <a:lnTo>
                      <a:pt x="474348" y="663840"/>
                    </a:lnTo>
                    <a:lnTo>
                      <a:pt x="248129" y="663840"/>
                    </a:lnTo>
                    <a:lnTo>
                      <a:pt x="0" y="663840"/>
                    </a:lnTo>
                    <a:lnTo>
                      <a:pt x="0" y="663840"/>
                    </a:lnTo>
                    <a:lnTo>
                      <a:pt x="0" y="211225"/>
                    </a:lnTo>
                    <a:cubicBezTo>
                      <a:pt x="0" y="104798"/>
                      <a:pt x="80700" y="56026"/>
                      <a:pt x="144178" y="22667"/>
                    </a:cubicBezTo>
                    <a:close/>
                  </a:path>
                </a:pathLst>
              </a:cu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grpSp>
        <p:grpSp>
          <p:nvGrpSpPr>
            <p:cNvPr id="95" name="Group 94"/>
            <p:cNvGrpSpPr/>
            <p:nvPr/>
          </p:nvGrpSpPr>
          <p:grpSpPr>
            <a:xfrm rot="8100000">
              <a:off x="6430508" y="2814389"/>
              <a:ext cx="2108839" cy="101418"/>
              <a:chOff x="6437694" y="2814389"/>
              <a:chExt cx="2108839" cy="101418"/>
            </a:xfrm>
          </p:grpSpPr>
          <p:sp>
            <p:nvSpPr>
              <p:cNvPr id="99" name="Round Same Side Corner Rectangle 11"/>
              <p:cNvSpPr/>
              <p:nvPr/>
            </p:nvSpPr>
            <p:spPr>
              <a:xfrm rot="5400000" flipH="1">
                <a:off x="7969911" y="2339184"/>
                <a:ext cx="101418" cy="1051827"/>
              </a:xfrm>
              <a:custGeom>
                <a:avLst/>
                <a:gdLst>
                  <a:gd name="connsiteX0" fmla="*/ 192704 w 474348"/>
                  <a:gd name="connsiteY0" fmla="*/ 0 h 645319"/>
                  <a:gd name="connsiteX1" fmla="*/ 281644 w 474348"/>
                  <a:gd name="connsiteY1" fmla="*/ 0 h 645319"/>
                  <a:gd name="connsiteX2" fmla="*/ 474348 w 474348"/>
                  <a:gd name="connsiteY2" fmla="*/ 192704 h 645319"/>
                  <a:gd name="connsiteX3" fmla="*/ 474348 w 474348"/>
                  <a:gd name="connsiteY3" fmla="*/ 645319 h 645319"/>
                  <a:gd name="connsiteX4" fmla="*/ 474348 w 474348"/>
                  <a:gd name="connsiteY4" fmla="*/ 645319 h 645319"/>
                  <a:gd name="connsiteX5" fmla="*/ 0 w 474348"/>
                  <a:gd name="connsiteY5" fmla="*/ 645319 h 645319"/>
                  <a:gd name="connsiteX6" fmla="*/ 0 w 474348"/>
                  <a:gd name="connsiteY6" fmla="*/ 645319 h 645319"/>
                  <a:gd name="connsiteX7" fmla="*/ 0 w 474348"/>
                  <a:gd name="connsiteY7" fmla="*/ 192704 h 645319"/>
                  <a:gd name="connsiteX8" fmla="*/ 192704 w 474348"/>
                  <a:gd name="connsiteY8" fmla="*/ 0 h 645319"/>
                  <a:gd name="connsiteX0" fmla="*/ 192704 w 474348"/>
                  <a:gd name="connsiteY0" fmla="*/ 0 h 645319"/>
                  <a:gd name="connsiteX1" fmla="*/ 281644 w 474348"/>
                  <a:gd name="connsiteY1" fmla="*/ 0 h 645319"/>
                  <a:gd name="connsiteX2" fmla="*/ 474348 w 474348"/>
                  <a:gd name="connsiteY2" fmla="*/ 192704 h 645319"/>
                  <a:gd name="connsiteX3" fmla="*/ 474348 w 474348"/>
                  <a:gd name="connsiteY3" fmla="*/ 645319 h 645319"/>
                  <a:gd name="connsiteX4" fmla="*/ 474348 w 474348"/>
                  <a:gd name="connsiteY4" fmla="*/ 645319 h 645319"/>
                  <a:gd name="connsiteX5" fmla="*/ 248129 w 474348"/>
                  <a:gd name="connsiteY5" fmla="*/ 645319 h 645319"/>
                  <a:gd name="connsiteX6" fmla="*/ 0 w 474348"/>
                  <a:gd name="connsiteY6" fmla="*/ 645319 h 645319"/>
                  <a:gd name="connsiteX7" fmla="*/ 0 w 474348"/>
                  <a:gd name="connsiteY7" fmla="*/ 645319 h 645319"/>
                  <a:gd name="connsiteX8" fmla="*/ 0 w 474348"/>
                  <a:gd name="connsiteY8" fmla="*/ 192704 h 645319"/>
                  <a:gd name="connsiteX9" fmla="*/ 192704 w 474348"/>
                  <a:gd name="connsiteY9" fmla="*/ 0 h 645319"/>
                  <a:gd name="connsiteX0" fmla="*/ 192704 w 474348"/>
                  <a:gd name="connsiteY0" fmla="*/ 2381 h 647700"/>
                  <a:gd name="connsiteX1" fmla="*/ 240986 w 474348"/>
                  <a:gd name="connsiteY1" fmla="*/ 0 h 647700"/>
                  <a:gd name="connsiteX2" fmla="*/ 281644 w 474348"/>
                  <a:gd name="connsiteY2" fmla="*/ 2381 h 647700"/>
                  <a:gd name="connsiteX3" fmla="*/ 474348 w 474348"/>
                  <a:gd name="connsiteY3" fmla="*/ 195085 h 647700"/>
                  <a:gd name="connsiteX4" fmla="*/ 474348 w 474348"/>
                  <a:gd name="connsiteY4" fmla="*/ 647700 h 647700"/>
                  <a:gd name="connsiteX5" fmla="*/ 474348 w 474348"/>
                  <a:gd name="connsiteY5" fmla="*/ 647700 h 647700"/>
                  <a:gd name="connsiteX6" fmla="*/ 248129 w 474348"/>
                  <a:gd name="connsiteY6" fmla="*/ 647700 h 647700"/>
                  <a:gd name="connsiteX7" fmla="*/ 0 w 474348"/>
                  <a:gd name="connsiteY7" fmla="*/ 647700 h 647700"/>
                  <a:gd name="connsiteX8" fmla="*/ 0 w 474348"/>
                  <a:gd name="connsiteY8" fmla="*/ 647700 h 647700"/>
                  <a:gd name="connsiteX9" fmla="*/ 0 w 474348"/>
                  <a:gd name="connsiteY9" fmla="*/ 195085 h 647700"/>
                  <a:gd name="connsiteX10" fmla="*/ 192704 w 474348"/>
                  <a:gd name="connsiteY10" fmla="*/ 2381 h 647700"/>
                  <a:gd name="connsiteX0" fmla="*/ 192704 w 474348"/>
                  <a:gd name="connsiteY0" fmla="*/ 42862 h 688181"/>
                  <a:gd name="connsiteX1" fmla="*/ 240986 w 474348"/>
                  <a:gd name="connsiteY1" fmla="*/ 0 h 688181"/>
                  <a:gd name="connsiteX2" fmla="*/ 281644 w 474348"/>
                  <a:gd name="connsiteY2" fmla="*/ 42862 h 688181"/>
                  <a:gd name="connsiteX3" fmla="*/ 474348 w 474348"/>
                  <a:gd name="connsiteY3" fmla="*/ 235566 h 688181"/>
                  <a:gd name="connsiteX4" fmla="*/ 474348 w 474348"/>
                  <a:gd name="connsiteY4" fmla="*/ 688181 h 688181"/>
                  <a:gd name="connsiteX5" fmla="*/ 474348 w 474348"/>
                  <a:gd name="connsiteY5" fmla="*/ 688181 h 688181"/>
                  <a:gd name="connsiteX6" fmla="*/ 248129 w 474348"/>
                  <a:gd name="connsiteY6" fmla="*/ 688181 h 688181"/>
                  <a:gd name="connsiteX7" fmla="*/ 0 w 474348"/>
                  <a:gd name="connsiteY7" fmla="*/ 688181 h 688181"/>
                  <a:gd name="connsiteX8" fmla="*/ 0 w 474348"/>
                  <a:gd name="connsiteY8" fmla="*/ 688181 h 688181"/>
                  <a:gd name="connsiteX9" fmla="*/ 0 w 474348"/>
                  <a:gd name="connsiteY9" fmla="*/ 235566 h 688181"/>
                  <a:gd name="connsiteX10" fmla="*/ 192704 w 474348"/>
                  <a:gd name="connsiteY10" fmla="*/ 42862 h 688181"/>
                  <a:gd name="connsiteX0" fmla="*/ 192704 w 474348"/>
                  <a:gd name="connsiteY0" fmla="*/ 23812 h 669131"/>
                  <a:gd name="connsiteX1" fmla="*/ 265690 w 474348"/>
                  <a:gd name="connsiteY1" fmla="*/ 0 h 669131"/>
                  <a:gd name="connsiteX2" fmla="*/ 281644 w 474348"/>
                  <a:gd name="connsiteY2" fmla="*/ 23812 h 669131"/>
                  <a:gd name="connsiteX3" fmla="*/ 474348 w 474348"/>
                  <a:gd name="connsiteY3" fmla="*/ 216516 h 669131"/>
                  <a:gd name="connsiteX4" fmla="*/ 474348 w 474348"/>
                  <a:gd name="connsiteY4" fmla="*/ 669131 h 669131"/>
                  <a:gd name="connsiteX5" fmla="*/ 474348 w 474348"/>
                  <a:gd name="connsiteY5" fmla="*/ 669131 h 669131"/>
                  <a:gd name="connsiteX6" fmla="*/ 248129 w 474348"/>
                  <a:gd name="connsiteY6" fmla="*/ 669131 h 669131"/>
                  <a:gd name="connsiteX7" fmla="*/ 0 w 474348"/>
                  <a:gd name="connsiteY7" fmla="*/ 669131 h 669131"/>
                  <a:gd name="connsiteX8" fmla="*/ 0 w 474348"/>
                  <a:gd name="connsiteY8" fmla="*/ 669131 h 669131"/>
                  <a:gd name="connsiteX9" fmla="*/ 0 w 474348"/>
                  <a:gd name="connsiteY9" fmla="*/ 216516 h 669131"/>
                  <a:gd name="connsiteX10" fmla="*/ 192704 w 474348"/>
                  <a:gd name="connsiteY10" fmla="*/ 23812 h 669131"/>
                  <a:gd name="connsiteX0" fmla="*/ 192704 w 474348"/>
                  <a:gd name="connsiteY0" fmla="*/ 23812 h 669131"/>
                  <a:gd name="connsiteX1" fmla="*/ 265690 w 474348"/>
                  <a:gd name="connsiteY1" fmla="*/ 0 h 669131"/>
                  <a:gd name="connsiteX2" fmla="*/ 281644 w 474348"/>
                  <a:gd name="connsiteY2" fmla="*/ 23812 h 669131"/>
                  <a:gd name="connsiteX3" fmla="*/ 474348 w 474348"/>
                  <a:gd name="connsiteY3" fmla="*/ 216516 h 669131"/>
                  <a:gd name="connsiteX4" fmla="*/ 474348 w 474348"/>
                  <a:gd name="connsiteY4" fmla="*/ 669131 h 669131"/>
                  <a:gd name="connsiteX5" fmla="*/ 474348 w 474348"/>
                  <a:gd name="connsiteY5" fmla="*/ 669131 h 669131"/>
                  <a:gd name="connsiteX6" fmla="*/ 248129 w 474348"/>
                  <a:gd name="connsiteY6" fmla="*/ 669131 h 669131"/>
                  <a:gd name="connsiteX7" fmla="*/ 0 w 474348"/>
                  <a:gd name="connsiteY7" fmla="*/ 669131 h 669131"/>
                  <a:gd name="connsiteX8" fmla="*/ 0 w 474348"/>
                  <a:gd name="connsiteY8" fmla="*/ 669131 h 669131"/>
                  <a:gd name="connsiteX9" fmla="*/ 0 w 474348"/>
                  <a:gd name="connsiteY9" fmla="*/ 216516 h 669131"/>
                  <a:gd name="connsiteX10" fmla="*/ 192704 w 474348"/>
                  <a:gd name="connsiteY10" fmla="*/ 23812 h 669131"/>
                  <a:gd name="connsiteX0" fmla="*/ 192704 w 474348"/>
                  <a:gd name="connsiteY0" fmla="*/ 23812 h 669131"/>
                  <a:gd name="connsiteX1" fmla="*/ 265690 w 474348"/>
                  <a:gd name="connsiteY1" fmla="*/ 0 h 669131"/>
                  <a:gd name="connsiteX2" fmla="*/ 281644 w 474348"/>
                  <a:gd name="connsiteY2" fmla="*/ 23812 h 669131"/>
                  <a:gd name="connsiteX3" fmla="*/ 474348 w 474348"/>
                  <a:gd name="connsiteY3" fmla="*/ 216516 h 669131"/>
                  <a:gd name="connsiteX4" fmla="*/ 474348 w 474348"/>
                  <a:gd name="connsiteY4" fmla="*/ 669131 h 669131"/>
                  <a:gd name="connsiteX5" fmla="*/ 474348 w 474348"/>
                  <a:gd name="connsiteY5" fmla="*/ 669131 h 669131"/>
                  <a:gd name="connsiteX6" fmla="*/ 248129 w 474348"/>
                  <a:gd name="connsiteY6" fmla="*/ 669131 h 669131"/>
                  <a:gd name="connsiteX7" fmla="*/ 0 w 474348"/>
                  <a:gd name="connsiteY7" fmla="*/ 669131 h 669131"/>
                  <a:gd name="connsiteX8" fmla="*/ 0 w 474348"/>
                  <a:gd name="connsiteY8" fmla="*/ 669131 h 669131"/>
                  <a:gd name="connsiteX9" fmla="*/ 0 w 474348"/>
                  <a:gd name="connsiteY9" fmla="*/ 216516 h 669131"/>
                  <a:gd name="connsiteX10" fmla="*/ 192704 w 474348"/>
                  <a:gd name="connsiteY10" fmla="*/ 23812 h 669131"/>
                  <a:gd name="connsiteX0" fmla="*/ 192704 w 474348"/>
                  <a:gd name="connsiteY0" fmla="*/ 23812 h 669131"/>
                  <a:gd name="connsiteX1" fmla="*/ 265690 w 474348"/>
                  <a:gd name="connsiteY1" fmla="*/ 0 h 669131"/>
                  <a:gd name="connsiteX2" fmla="*/ 314250 w 474348"/>
                  <a:gd name="connsiteY2" fmla="*/ 24047 h 669131"/>
                  <a:gd name="connsiteX3" fmla="*/ 474348 w 474348"/>
                  <a:gd name="connsiteY3" fmla="*/ 216516 h 669131"/>
                  <a:gd name="connsiteX4" fmla="*/ 474348 w 474348"/>
                  <a:gd name="connsiteY4" fmla="*/ 669131 h 669131"/>
                  <a:gd name="connsiteX5" fmla="*/ 474348 w 474348"/>
                  <a:gd name="connsiteY5" fmla="*/ 669131 h 669131"/>
                  <a:gd name="connsiteX6" fmla="*/ 248129 w 474348"/>
                  <a:gd name="connsiteY6" fmla="*/ 669131 h 669131"/>
                  <a:gd name="connsiteX7" fmla="*/ 0 w 474348"/>
                  <a:gd name="connsiteY7" fmla="*/ 669131 h 669131"/>
                  <a:gd name="connsiteX8" fmla="*/ 0 w 474348"/>
                  <a:gd name="connsiteY8" fmla="*/ 669131 h 669131"/>
                  <a:gd name="connsiteX9" fmla="*/ 0 w 474348"/>
                  <a:gd name="connsiteY9" fmla="*/ 216516 h 669131"/>
                  <a:gd name="connsiteX10" fmla="*/ 192704 w 474348"/>
                  <a:gd name="connsiteY10" fmla="*/ 23812 h 669131"/>
                  <a:gd name="connsiteX0" fmla="*/ 192704 w 474348"/>
                  <a:gd name="connsiteY0" fmla="*/ 23812 h 669131"/>
                  <a:gd name="connsiteX1" fmla="*/ 265690 w 474348"/>
                  <a:gd name="connsiteY1" fmla="*/ 0 h 669131"/>
                  <a:gd name="connsiteX2" fmla="*/ 314250 w 474348"/>
                  <a:gd name="connsiteY2" fmla="*/ 24047 h 669131"/>
                  <a:gd name="connsiteX3" fmla="*/ 474348 w 474348"/>
                  <a:gd name="connsiteY3" fmla="*/ 216516 h 669131"/>
                  <a:gd name="connsiteX4" fmla="*/ 474348 w 474348"/>
                  <a:gd name="connsiteY4" fmla="*/ 669131 h 669131"/>
                  <a:gd name="connsiteX5" fmla="*/ 474348 w 474348"/>
                  <a:gd name="connsiteY5" fmla="*/ 669131 h 669131"/>
                  <a:gd name="connsiteX6" fmla="*/ 248129 w 474348"/>
                  <a:gd name="connsiteY6" fmla="*/ 669131 h 669131"/>
                  <a:gd name="connsiteX7" fmla="*/ 0 w 474348"/>
                  <a:gd name="connsiteY7" fmla="*/ 669131 h 669131"/>
                  <a:gd name="connsiteX8" fmla="*/ 0 w 474348"/>
                  <a:gd name="connsiteY8" fmla="*/ 669131 h 669131"/>
                  <a:gd name="connsiteX9" fmla="*/ 0 w 474348"/>
                  <a:gd name="connsiteY9" fmla="*/ 216516 h 669131"/>
                  <a:gd name="connsiteX10" fmla="*/ 192704 w 474348"/>
                  <a:gd name="connsiteY10" fmla="*/ 23812 h 669131"/>
                  <a:gd name="connsiteX0" fmla="*/ 192704 w 474348"/>
                  <a:gd name="connsiteY0" fmla="*/ 23812 h 669131"/>
                  <a:gd name="connsiteX1" fmla="*/ 265690 w 474348"/>
                  <a:gd name="connsiteY1" fmla="*/ 0 h 669131"/>
                  <a:gd name="connsiteX2" fmla="*/ 314250 w 474348"/>
                  <a:gd name="connsiteY2" fmla="*/ 24047 h 669131"/>
                  <a:gd name="connsiteX3" fmla="*/ 474348 w 474348"/>
                  <a:gd name="connsiteY3" fmla="*/ 216516 h 669131"/>
                  <a:gd name="connsiteX4" fmla="*/ 474348 w 474348"/>
                  <a:gd name="connsiteY4" fmla="*/ 669131 h 669131"/>
                  <a:gd name="connsiteX5" fmla="*/ 474348 w 474348"/>
                  <a:gd name="connsiteY5" fmla="*/ 669131 h 669131"/>
                  <a:gd name="connsiteX6" fmla="*/ 248129 w 474348"/>
                  <a:gd name="connsiteY6" fmla="*/ 669131 h 669131"/>
                  <a:gd name="connsiteX7" fmla="*/ 0 w 474348"/>
                  <a:gd name="connsiteY7" fmla="*/ 669131 h 669131"/>
                  <a:gd name="connsiteX8" fmla="*/ 0 w 474348"/>
                  <a:gd name="connsiteY8" fmla="*/ 669131 h 669131"/>
                  <a:gd name="connsiteX9" fmla="*/ 0 w 474348"/>
                  <a:gd name="connsiteY9" fmla="*/ 216516 h 669131"/>
                  <a:gd name="connsiteX10" fmla="*/ 192704 w 474348"/>
                  <a:gd name="connsiteY10" fmla="*/ 23812 h 669131"/>
                  <a:gd name="connsiteX0" fmla="*/ 174282 w 474348"/>
                  <a:gd name="connsiteY0" fmla="*/ 23596 h 669131"/>
                  <a:gd name="connsiteX1" fmla="*/ 265690 w 474348"/>
                  <a:gd name="connsiteY1" fmla="*/ 0 h 669131"/>
                  <a:gd name="connsiteX2" fmla="*/ 314250 w 474348"/>
                  <a:gd name="connsiteY2" fmla="*/ 24047 h 669131"/>
                  <a:gd name="connsiteX3" fmla="*/ 474348 w 474348"/>
                  <a:gd name="connsiteY3" fmla="*/ 216516 h 669131"/>
                  <a:gd name="connsiteX4" fmla="*/ 474348 w 474348"/>
                  <a:gd name="connsiteY4" fmla="*/ 669131 h 669131"/>
                  <a:gd name="connsiteX5" fmla="*/ 474348 w 474348"/>
                  <a:gd name="connsiteY5" fmla="*/ 669131 h 669131"/>
                  <a:gd name="connsiteX6" fmla="*/ 248129 w 474348"/>
                  <a:gd name="connsiteY6" fmla="*/ 669131 h 669131"/>
                  <a:gd name="connsiteX7" fmla="*/ 0 w 474348"/>
                  <a:gd name="connsiteY7" fmla="*/ 669131 h 669131"/>
                  <a:gd name="connsiteX8" fmla="*/ 0 w 474348"/>
                  <a:gd name="connsiteY8" fmla="*/ 669131 h 669131"/>
                  <a:gd name="connsiteX9" fmla="*/ 0 w 474348"/>
                  <a:gd name="connsiteY9" fmla="*/ 216516 h 669131"/>
                  <a:gd name="connsiteX10" fmla="*/ 174282 w 474348"/>
                  <a:gd name="connsiteY10" fmla="*/ 23596 h 669131"/>
                  <a:gd name="connsiteX0" fmla="*/ 174282 w 474348"/>
                  <a:gd name="connsiteY0" fmla="*/ 24619 h 670154"/>
                  <a:gd name="connsiteX1" fmla="*/ 216121 w 474348"/>
                  <a:gd name="connsiteY1" fmla="*/ 0 h 670154"/>
                  <a:gd name="connsiteX2" fmla="*/ 314250 w 474348"/>
                  <a:gd name="connsiteY2" fmla="*/ 25070 h 670154"/>
                  <a:gd name="connsiteX3" fmla="*/ 474348 w 474348"/>
                  <a:gd name="connsiteY3" fmla="*/ 217539 h 670154"/>
                  <a:gd name="connsiteX4" fmla="*/ 474348 w 474348"/>
                  <a:gd name="connsiteY4" fmla="*/ 670154 h 670154"/>
                  <a:gd name="connsiteX5" fmla="*/ 474348 w 474348"/>
                  <a:gd name="connsiteY5" fmla="*/ 670154 h 670154"/>
                  <a:gd name="connsiteX6" fmla="*/ 248129 w 474348"/>
                  <a:gd name="connsiteY6" fmla="*/ 670154 h 670154"/>
                  <a:gd name="connsiteX7" fmla="*/ 0 w 474348"/>
                  <a:gd name="connsiteY7" fmla="*/ 670154 h 670154"/>
                  <a:gd name="connsiteX8" fmla="*/ 0 w 474348"/>
                  <a:gd name="connsiteY8" fmla="*/ 670154 h 670154"/>
                  <a:gd name="connsiteX9" fmla="*/ 0 w 474348"/>
                  <a:gd name="connsiteY9" fmla="*/ 217539 h 670154"/>
                  <a:gd name="connsiteX10" fmla="*/ 174282 w 474348"/>
                  <a:gd name="connsiteY10" fmla="*/ 24619 h 670154"/>
                  <a:gd name="connsiteX0" fmla="*/ 174282 w 474348"/>
                  <a:gd name="connsiteY0" fmla="*/ 24619 h 670154"/>
                  <a:gd name="connsiteX1" fmla="*/ 216121 w 474348"/>
                  <a:gd name="connsiteY1" fmla="*/ 0 h 670154"/>
                  <a:gd name="connsiteX2" fmla="*/ 314250 w 474348"/>
                  <a:gd name="connsiteY2" fmla="*/ 25070 h 670154"/>
                  <a:gd name="connsiteX3" fmla="*/ 474348 w 474348"/>
                  <a:gd name="connsiteY3" fmla="*/ 217539 h 670154"/>
                  <a:gd name="connsiteX4" fmla="*/ 474348 w 474348"/>
                  <a:gd name="connsiteY4" fmla="*/ 670154 h 670154"/>
                  <a:gd name="connsiteX5" fmla="*/ 474348 w 474348"/>
                  <a:gd name="connsiteY5" fmla="*/ 670154 h 670154"/>
                  <a:gd name="connsiteX6" fmla="*/ 248129 w 474348"/>
                  <a:gd name="connsiteY6" fmla="*/ 670154 h 670154"/>
                  <a:gd name="connsiteX7" fmla="*/ 0 w 474348"/>
                  <a:gd name="connsiteY7" fmla="*/ 670154 h 670154"/>
                  <a:gd name="connsiteX8" fmla="*/ 0 w 474348"/>
                  <a:gd name="connsiteY8" fmla="*/ 670154 h 670154"/>
                  <a:gd name="connsiteX9" fmla="*/ 0 w 474348"/>
                  <a:gd name="connsiteY9" fmla="*/ 217539 h 670154"/>
                  <a:gd name="connsiteX10" fmla="*/ 174282 w 474348"/>
                  <a:gd name="connsiteY10" fmla="*/ 24619 h 670154"/>
                  <a:gd name="connsiteX0" fmla="*/ 174282 w 474348"/>
                  <a:gd name="connsiteY0" fmla="*/ 24619 h 670154"/>
                  <a:gd name="connsiteX1" fmla="*/ 216121 w 474348"/>
                  <a:gd name="connsiteY1" fmla="*/ 0 h 670154"/>
                  <a:gd name="connsiteX2" fmla="*/ 314250 w 474348"/>
                  <a:gd name="connsiteY2" fmla="*/ 25070 h 670154"/>
                  <a:gd name="connsiteX3" fmla="*/ 474348 w 474348"/>
                  <a:gd name="connsiteY3" fmla="*/ 217539 h 670154"/>
                  <a:gd name="connsiteX4" fmla="*/ 474348 w 474348"/>
                  <a:gd name="connsiteY4" fmla="*/ 670154 h 670154"/>
                  <a:gd name="connsiteX5" fmla="*/ 474348 w 474348"/>
                  <a:gd name="connsiteY5" fmla="*/ 670154 h 670154"/>
                  <a:gd name="connsiteX6" fmla="*/ 248129 w 474348"/>
                  <a:gd name="connsiteY6" fmla="*/ 670154 h 670154"/>
                  <a:gd name="connsiteX7" fmla="*/ 0 w 474348"/>
                  <a:gd name="connsiteY7" fmla="*/ 670154 h 670154"/>
                  <a:gd name="connsiteX8" fmla="*/ 0 w 474348"/>
                  <a:gd name="connsiteY8" fmla="*/ 670154 h 670154"/>
                  <a:gd name="connsiteX9" fmla="*/ 0 w 474348"/>
                  <a:gd name="connsiteY9" fmla="*/ 217539 h 670154"/>
                  <a:gd name="connsiteX10" fmla="*/ 174282 w 474348"/>
                  <a:gd name="connsiteY10" fmla="*/ 24619 h 670154"/>
                  <a:gd name="connsiteX0" fmla="*/ 174282 w 474348"/>
                  <a:gd name="connsiteY0" fmla="*/ 24619 h 670154"/>
                  <a:gd name="connsiteX1" fmla="*/ 216121 w 474348"/>
                  <a:gd name="connsiteY1" fmla="*/ 0 h 670154"/>
                  <a:gd name="connsiteX2" fmla="*/ 314250 w 474348"/>
                  <a:gd name="connsiteY2" fmla="*/ 25070 h 670154"/>
                  <a:gd name="connsiteX3" fmla="*/ 474348 w 474348"/>
                  <a:gd name="connsiteY3" fmla="*/ 217539 h 670154"/>
                  <a:gd name="connsiteX4" fmla="*/ 474348 w 474348"/>
                  <a:gd name="connsiteY4" fmla="*/ 670154 h 670154"/>
                  <a:gd name="connsiteX5" fmla="*/ 474348 w 474348"/>
                  <a:gd name="connsiteY5" fmla="*/ 670154 h 670154"/>
                  <a:gd name="connsiteX6" fmla="*/ 248129 w 474348"/>
                  <a:gd name="connsiteY6" fmla="*/ 670154 h 670154"/>
                  <a:gd name="connsiteX7" fmla="*/ 0 w 474348"/>
                  <a:gd name="connsiteY7" fmla="*/ 670154 h 670154"/>
                  <a:gd name="connsiteX8" fmla="*/ 0 w 474348"/>
                  <a:gd name="connsiteY8" fmla="*/ 670154 h 670154"/>
                  <a:gd name="connsiteX9" fmla="*/ 0 w 474348"/>
                  <a:gd name="connsiteY9" fmla="*/ 217539 h 670154"/>
                  <a:gd name="connsiteX10" fmla="*/ 174282 w 474348"/>
                  <a:gd name="connsiteY10" fmla="*/ 24619 h 670154"/>
                  <a:gd name="connsiteX0" fmla="*/ 148557 w 474348"/>
                  <a:gd name="connsiteY0" fmla="*/ 27264 h 670154"/>
                  <a:gd name="connsiteX1" fmla="*/ 216121 w 474348"/>
                  <a:gd name="connsiteY1" fmla="*/ 0 h 670154"/>
                  <a:gd name="connsiteX2" fmla="*/ 314250 w 474348"/>
                  <a:gd name="connsiteY2" fmla="*/ 25070 h 670154"/>
                  <a:gd name="connsiteX3" fmla="*/ 474348 w 474348"/>
                  <a:gd name="connsiteY3" fmla="*/ 217539 h 670154"/>
                  <a:gd name="connsiteX4" fmla="*/ 474348 w 474348"/>
                  <a:gd name="connsiteY4" fmla="*/ 670154 h 670154"/>
                  <a:gd name="connsiteX5" fmla="*/ 474348 w 474348"/>
                  <a:gd name="connsiteY5" fmla="*/ 670154 h 670154"/>
                  <a:gd name="connsiteX6" fmla="*/ 248129 w 474348"/>
                  <a:gd name="connsiteY6" fmla="*/ 670154 h 670154"/>
                  <a:gd name="connsiteX7" fmla="*/ 0 w 474348"/>
                  <a:gd name="connsiteY7" fmla="*/ 670154 h 670154"/>
                  <a:gd name="connsiteX8" fmla="*/ 0 w 474348"/>
                  <a:gd name="connsiteY8" fmla="*/ 670154 h 670154"/>
                  <a:gd name="connsiteX9" fmla="*/ 0 w 474348"/>
                  <a:gd name="connsiteY9" fmla="*/ 217539 h 670154"/>
                  <a:gd name="connsiteX10" fmla="*/ 148557 w 474348"/>
                  <a:gd name="connsiteY10" fmla="*/ 27264 h 670154"/>
                  <a:gd name="connsiteX0" fmla="*/ 148557 w 474348"/>
                  <a:gd name="connsiteY0" fmla="*/ 20950 h 663840"/>
                  <a:gd name="connsiteX1" fmla="*/ 214238 w 474348"/>
                  <a:gd name="connsiteY1" fmla="*/ 0 h 663840"/>
                  <a:gd name="connsiteX2" fmla="*/ 314250 w 474348"/>
                  <a:gd name="connsiteY2" fmla="*/ 18756 h 663840"/>
                  <a:gd name="connsiteX3" fmla="*/ 474348 w 474348"/>
                  <a:gd name="connsiteY3" fmla="*/ 211225 h 663840"/>
                  <a:gd name="connsiteX4" fmla="*/ 474348 w 474348"/>
                  <a:gd name="connsiteY4" fmla="*/ 663840 h 663840"/>
                  <a:gd name="connsiteX5" fmla="*/ 474348 w 474348"/>
                  <a:gd name="connsiteY5" fmla="*/ 663840 h 663840"/>
                  <a:gd name="connsiteX6" fmla="*/ 248129 w 474348"/>
                  <a:gd name="connsiteY6" fmla="*/ 663840 h 663840"/>
                  <a:gd name="connsiteX7" fmla="*/ 0 w 474348"/>
                  <a:gd name="connsiteY7" fmla="*/ 663840 h 663840"/>
                  <a:gd name="connsiteX8" fmla="*/ 0 w 474348"/>
                  <a:gd name="connsiteY8" fmla="*/ 663840 h 663840"/>
                  <a:gd name="connsiteX9" fmla="*/ 0 w 474348"/>
                  <a:gd name="connsiteY9" fmla="*/ 211225 h 663840"/>
                  <a:gd name="connsiteX10" fmla="*/ 148557 w 474348"/>
                  <a:gd name="connsiteY10" fmla="*/ 20950 h 663840"/>
                  <a:gd name="connsiteX0" fmla="*/ 148557 w 474348"/>
                  <a:gd name="connsiteY0" fmla="*/ 20950 h 663840"/>
                  <a:gd name="connsiteX1" fmla="*/ 214238 w 474348"/>
                  <a:gd name="connsiteY1" fmla="*/ 0 h 663840"/>
                  <a:gd name="connsiteX2" fmla="*/ 314250 w 474348"/>
                  <a:gd name="connsiteY2" fmla="*/ 18756 h 663840"/>
                  <a:gd name="connsiteX3" fmla="*/ 474348 w 474348"/>
                  <a:gd name="connsiteY3" fmla="*/ 211225 h 663840"/>
                  <a:gd name="connsiteX4" fmla="*/ 474348 w 474348"/>
                  <a:gd name="connsiteY4" fmla="*/ 663840 h 663840"/>
                  <a:gd name="connsiteX5" fmla="*/ 474348 w 474348"/>
                  <a:gd name="connsiteY5" fmla="*/ 663840 h 663840"/>
                  <a:gd name="connsiteX6" fmla="*/ 248129 w 474348"/>
                  <a:gd name="connsiteY6" fmla="*/ 663840 h 663840"/>
                  <a:gd name="connsiteX7" fmla="*/ 0 w 474348"/>
                  <a:gd name="connsiteY7" fmla="*/ 663840 h 663840"/>
                  <a:gd name="connsiteX8" fmla="*/ 0 w 474348"/>
                  <a:gd name="connsiteY8" fmla="*/ 663840 h 663840"/>
                  <a:gd name="connsiteX9" fmla="*/ 0 w 474348"/>
                  <a:gd name="connsiteY9" fmla="*/ 211225 h 663840"/>
                  <a:gd name="connsiteX10" fmla="*/ 148557 w 474348"/>
                  <a:gd name="connsiteY10" fmla="*/ 20950 h 663840"/>
                  <a:gd name="connsiteX0" fmla="*/ 148557 w 474348"/>
                  <a:gd name="connsiteY0" fmla="*/ 20950 h 663840"/>
                  <a:gd name="connsiteX1" fmla="*/ 214238 w 474348"/>
                  <a:gd name="connsiteY1" fmla="*/ 0 h 663840"/>
                  <a:gd name="connsiteX2" fmla="*/ 314250 w 474348"/>
                  <a:gd name="connsiteY2" fmla="*/ 18756 h 663840"/>
                  <a:gd name="connsiteX3" fmla="*/ 474348 w 474348"/>
                  <a:gd name="connsiteY3" fmla="*/ 211225 h 663840"/>
                  <a:gd name="connsiteX4" fmla="*/ 474348 w 474348"/>
                  <a:gd name="connsiteY4" fmla="*/ 663840 h 663840"/>
                  <a:gd name="connsiteX5" fmla="*/ 474348 w 474348"/>
                  <a:gd name="connsiteY5" fmla="*/ 663840 h 663840"/>
                  <a:gd name="connsiteX6" fmla="*/ 248129 w 474348"/>
                  <a:gd name="connsiteY6" fmla="*/ 663840 h 663840"/>
                  <a:gd name="connsiteX7" fmla="*/ 0 w 474348"/>
                  <a:gd name="connsiteY7" fmla="*/ 663840 h 663840"/>
                  <a:gd name="connsiteX8" fmla="*/ 0 w 474348"/>
                  <a:gd name="connsiteY8" fmla="*/ 663840 h 663840"/>
                  <a:gd name="connsiteX9" fmla="*/ 0 w 474348"/>
                  <a:gd name="connsiteY9" fmla="*/ 211225 h 663840"/>
                  <a:gd name="connsiteX10" fmla="*/ 148557 w 474348"/>
                  <a:gd name="connsiteY10" fmla="*/ 20950 h 663840"/>
                  <a:gd name="connsiteX0" fmla="*/ 144178 w 474348"/>
                  <a:gd name="connsiteY0" fmla="*/ 22667 h 663840"/>
                  <a:gd name="connsiteX1" fmla="*/ 214238 w 474348"/>
                  <a:gd name="connsiteY1" fmla="*/ 0 h 663840"/>
                  <a:gd name="connsiteX2" fmla="*/ 314250 w 474348"/>
                  <a:gd name="connsiteY2" fmla="*/ 18756 h 663840"/>
                  <a:gd name="connsiteX3" fmla="*/ 474348 w 474348"/>
                  <a:gd name="connsiteY3" fmla="*/ 211225 h 663840"/>
                  <a:gd name="connsiteX4" fmla="*/ 474348 w 474348"/>
                  <a:gd name="connsiteY4" fmla="*/ 663840 h 663840"/>
                  <a:gd name="connsiteX5" fmla="*/ 474348 w 474348"/>
                  <a:gd name="connsiteY5" fmla="*/ 663840 h 663840"/>
                  <a:gd name="connsiteX6" fmla="*/ 248129 w 474348"/>
                  <a:gd name="connsiteY6" fmla="*/ 663840 h 663840"/>
                  <a:gd name="connsiteX7" fmla="*/ 0 w 474348"/>
                  <a:gd name="connsiteY7" fmla="*/ 663840 h 663840"/>
                  <a:gd name="connsiteX8" fmla="*/ 0 w 474348"/>
                  <a:gd name="connsiteY8" fmla="*/ 663840 h 663840"/>
                  <a:gd name="connsiteX9" fmla="*/ 0 w 474348"/>
                  <a:gd name="connsiteY9" fmla="*/ 211225 h 663840"/>
                  <a:gd name="connsiteX10" fmla="*/ 144178 w 474348"/>
                  <a:gd name="connsiteY10" fmla="*/ 22667 h 663840"/>
                  <a:gd name="connsiteX0" fmla="*/ 144178 w 474348"/>
                  <a:gd name="connsiteY0" fmla="*/ 22667 h 663840"/>
                  <a:gd name="connsiteX1" fmla="*/ 214238 w 474348"/>
                  <a:gd name="connsiteY1" fmla="*/ 0 h 663840"/>
                  <a:gd name="connsiteX2" fmla="*/ 314250 w 474348"/>
                  <a:gd name="connsiteY2" fmla="*/ 18756 h 663840"/>
                  <a:gd name="connsiteX3" fmla="*/ 474348 w 474348"/>
                  <a:gd name="connsiteY3" fmla="*/ 211225 h 663840"/>
                  <a:gd name="connsiteX4" fmla="*/ 474348 w 474348"/>
                  <a:gd name="connsiteY4" fmla="*/ 663840 h 663840"/>
                  <a:gd name="connsiteX5" fmla="*/ 474348 w 474348"/>
                  <a:gd name="connsiteY5" fmla="*/ 663840 h 663840"/>
                  <a:gd name="connsiteX6" fmla="*/ 248129 w 474348"/>
                  <a:gd name="connsiteY6" fmla="*/ 663840 h 663840"/>
                  <a:gd name="connsiteX7" fmla="*/ 0 w 474348"/>
                  <a:gd name="connsiteY7" fmla="*/ 663840 h 663840"/>
                  <a:gd name="connsiteX8" fmla="*/ 0 w 474348"/>
                  <a:gd name="connsiteY8" fmla="*/ 663840 h 663840"/>
                  <a:gd name="connsiteX9" fmla="*/ 0 w 474348"/>
                  <a:gd name="connsiteY9" fmla="*/ 211225 h 663840"/>
                  <a:gd name="connsiteX10" fmla="*/ 144178 w 474348"/>
                  <a:gd name="connsiteY10" fmla="*/ 22667 h 663840"/>
                  <a:gd name="connsiteX0" fmla="*/ 144178 w 474348"/>
                  <a:gd name="connsiteY0" fmla="*/ 22667 h 663840"/>
                  <a:gd name="connsiteX1" fmla="*/ 214238 w 474348"/>
                  <a:gd name="connsiteY1" fmla="*/ 0 h 663840"/>
                  <a:gd name="connsiteX2" fmla="*/ 314250 w 474348"/>
                  <a:gd name="connsiteY2" fmla="*/ 18756 h 663840"/>
                  <a:gd name="connsiteX3" fmla="*/ 474348 w 474348"/>
                  <a:gd name="connsiteY3" fmla="*/ 211225 h 663840"/>
                  <a:gd name="connsiteX4" fmla="*/ 474348 w 474348"/>
                  <a:gd name="connsiteY4" fmla="*/ 663840 h 663840"/>
                  <a:gd name="connsiteX5" fmla="*/ 474348 w 474348"/>
                  <a:gd name="connsiteY5" fmla="*/ 663840 h 663840"/>
                  <a:gd name="connsiteX6" fmla="*/ 248129 w 474348"/>
                  <a:gd name="connsiteY6" fmla="*/ 663840 h 663840"/>
                  <a:gd name="connsiteX7" fmla="*/ 0 w 474348"/>
                  <a:gd name="connsiteY7" fmla="*/ 663840 h 663840"/>
                  <a:gd name="connsiteX8" fmla="*/ 0 w 474348"/>
                  <a:gd name="connsiteY8" fmla="*/ 663840 h 663840"/>
                  <a:gd name="connsiteX9" fmla="*/ 0 w 474348"/>
                  <a:gd name="connsiteY9" fmla="*/ 211225 h 663840"/>
                  <a:gd name="connsiteX10" fmla="*/ 144178 w 474348"/>
                  <a:gd name="connsiteY10" fmla="*/ 22667 h 663840"/>
                  <a:gd name="connsiteX0" fmla="*/ 144178 w 474348"/>
                  <a:gd name="connsiteY0" fmla="*/ 22667 h 663840"/>
                  <a:gd name="connsiteX1" fmla="*/ 214238 w 474348"/>
                  <a:gd name="connsiteY1" fmla="*/ 0 h 663840"/>
                  <a:gd name="connsiteX2" fmla="*/ 314250 w 474348"/>
                  <a:gd name="connsiteY2" fmla="*/ 18756 h 663840"/>
                  <a:gd name="connsiteX3" fmla="*/ 474348 w 474348"/>
                  <a:gd name="connsiteY3" fmla="*/ 211225 h 663840"/>
                  <a:gd name="connsiteX4" fmla="*/ 474348 w 474348"/>
                  <a:gd name="connsiteY4" fmla="*/ 663840 h 663840"/>
                  <a:gd name="connsiteX5" fmla="*/ 474348 w 474348"/>
                  <a:gd name="connsiteY5" fmla="*/ 663840 h 663840"/>
                  <a:gd name="connsiteX6" fmla="*/ 248129 w 474348"/>
                  <a:gd name="connsiteY6" fmla="*/ 663840 h 663840"/>
                  <a:gd name="connsiteX7" fmla="*/ 0 w 474348"/>
                  <a:gd name="connsiteY7" fmla="*/ 663840 h 663840"/>
                  <a:gd name="connsiteX8" fmla="*/ 0 w 474348"/>
                  <a:gd name="connsiteY8" fmla="*/ 663840 h 663840"/>
                  <a:gd name="connsiteX9" fmla="*/ 0 w 474348"/>
                  <a:gd name="connsiteY9" fmla="*/ 211225 h 663840"/>
                  <a:gd name="connsiteX10" fmla="*/ 144178 w 474348"/>
                  <a:gd name="connsiteY10" fmla="*/ 22667 h 6638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74348" h="663840">
                    <a:moveTo>
                      <a:pt x="144178" y="22667"/>
                    </a:moveTo>
                    <a:cubicBezTo>
                      <a:pt x="211732" y="-970"/>
                      <a:pt x="181869" y="7990"/>
                      <a:pt x="214238" y="0"/>
                    </a:cubicBezTo>
                    <a:cubicBezTo>
                      <a:pt x="259321" y="7224"/>
                      <a:pt x="221757" y="369"/>
                      <a:pt x="314250" y="18756"/>
                    </a:cubicBezTo>
                    <a:cubicBezTo>
                      <a:pt x="399877" y="51074"/>
                      <a:pt x="474348" y="104798"/>
                      <a:pt x="474348" y="211225"/>
                    </a:cubicBezTo>
                    <a:lnTo>
                      <a:pt x="474348" y="663840"/>
                    </a:lnTo>
                    <a:lnTo>
                      <a:pt x="474348" y="663840"/>
                    </a:lnTo>
                    <a:lnTo>
                      <a:pt x="248129" y="663840"/>
                    </a:lnTo>
                    <a:lnTo>
                      <a:pt x="0" y="663840"/>
                    </a:lnTo>
                    <a:lnTo>
                      <a:pt x="0" y="663840"/>
                    </a:lnTo>
                    <a:lnTo>
                      <a:pt x="0" y="211225"/>
                    </a:lnTo>
                    <a:cubicBezTo>
                      <a:pt x="0" y="104798"/>
                      <a:pt x="80700" y="56026"/>
                      <a:pt x="144178" y="22667"/>
                    </a:cubicBezTo>
                    <a:close/>
                  </a:path>
                </a:pathLst>
              </a:cu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00" name="Round Same Side Corner Rectangle 11"/>
              <p:cNvSpPr/>
              <p:nvPr/>
            </p:nvSpPr>
            <p:spPr>
              <a:xfrm rot="16200000">
                <a:off x="6912899" y="2339184"/>
                <a:ext cx="101418" cy="1051827"/>
              </a:xfrm>
              <a:custGeom>
                <a:avLst/>
                <a:gdLst>
                  <a:gd name="connsiteX0" fmla="*/ 192704 w 474348"/>
                  <a:gd name="connsiteY0" fmla="*/ 0 h 645319"/>
                  <a:gd name="connsiteX1" fmla="*/ 281644 w 474348"/>
                  <a:gd name="connsiteY1" fmla="*/ 0 h 645319"/>
                  <a:gd name="connsiteX2" fmla="*/ 474348 w 474348"/>
                  <a:gd name="connsiteY2" fmla="*/ 192704 h 645319"/>
                  <a:gd name="connsiteX3" fmla="*/ 474348 w 474348"/>
                  <a:gd name="connsiteY3" fmla="*/ 645319 h 645319"/>
                  <a:gd name="connsiteX4" fmla="*/ 474348 w 474348"/>
                  <a:gd name="connsiteY4" fmla="*/ 645319 h 645319"/>
                  <a:gd name="connsiteX5" fmla="*/ 0 w 474348"/>
                  <a:gd name="connsiteY5" fmla="*/ 645319 h 645319"/>
                  <a:gd name="connsiteX6" fmla="*/ 0 w 474348"/>
                  <a:gd name="connsiteY6" fmla="*/ 645319 h 645319"/>
                  <a:gd name="connsiteX7" fmla="*/ 0 w 474348"/>
                  <a:gd name="connsiteY7" fmla="*/ 192704 h 645319"/>
                  <a:gd name="connsiteX8" fmla="*/ 192704 w 474348"/>
                  <a:gd name="connsiteY8" fmla="*/ 0 h 645319"/>
                  <a:gd name="connsiteX0" fmla="*/ 192704 w 474348"/>
                  <a:gd name="connsiteY0" fmla="*/ 0 h 645319"/>
                  <a:gd name="connsiteX1" fmla="*/ 281644 w 474348"/>
                  <a:gd name="connsiteY1" fmla="*/ 0 h 645319"/>
                  <a:gd name="connsiteX2" fmla="*/ 474348 w 474348"/>
                  <a:gd name="connsiteY2" fmla="*/ 192704 h 645319"/>
                  <a:gd name="connsiteX3" fmla="*/ 474348 w 474348"/>
                  <a:gd name="connsiteY3" fmla="*/ 645319 h 645319"/>
                  <a:gd name="connsiteX4" fmla="*/ 474348 w 474348"/>
                  <a:gd name="connsiteY4" fmla="*/ 645319 h 645319"/>
                  <a:gd name="connsiteX5" fmla="*/ 248129 w 474348"/>
                  <a:gd name="connsiteY5" fmla="*/ 645319 h 645319"/>
                  <a:gd name="connsiteX6" fmla="*/ 0 w 474348"/>
                  <a:gd name="connsiteY6" fmla="*/ 645319 h 645319"/>
                  <a:gd name="connsiteX7" fmla="*/ 0 w 474348"/>
                  <a:gd name="connsiteY7" fmla="*/ 645319 h 645319"/>
                  <a:gd name="connsiteX8" fmla="*/ 0 w 474348"/>
                  <a:gd name="connsiteY8" fmla="*/ 192704 h 645319"/>
                  <a:gd name="connsiteX9" fmla="*/ 192704 w 474348"/>
                  <a:gd name="connsiteY9" fmla="*/ 0 h 645319"/>
                  <a:gd name="connsiteX0" fmla="*/ 192704 w 474348"/>
                  <a:gd name="connsiteY0" fmla="*/ 2381 h 647700"/>
                  <a:gd name="connsiteX1" fmla="*/ 240986 w 474348"/>
                  <a:gd name="connsiteY1" fmla="*/ 0 h 647700"/>
                  <a:gd name="connsiteX2" fmla="*/ 281644 w 474348"/>
                  <a:gd name="connsiteY2" fmla="*/ 2381 h 647700"/>
                  <a:gd name="connsiteX3" fmla="*/ 474348 w 474348"/>
                  <a:gd name="connsiteY3" fmla="*/ 195085 h 647700"/>
                  <a:gd name="connsiteX4" fmla="*/ 474348 w 474348"/>
                  <a:gd name="connsiteY4" fmla="*/ 647700 h 647700"/>
                  <a:gd name="connsiteX5" fmla="*/ 474348 w 474348"/>
                  <a:gd name="connsiteY5" fmla="*/ 647700 h 647700"/>
                  <a:gd name="connsiteX6" fmla="*/ 248129 w 474348"/>
                  <a:gd name="connsiteY6" fmla="*/ 647700 h 647700"/>
                  <a:gd name="connsiteX7" fmla="*/ 0 w 474348"/>
                  <a:gd name="connsiteY7" fmla="*/ 647700 h 647700"/>
                  <a:gd name="connsiteX8" fmla="*/ 0 w 474348"/>
                  <a:gd name="connsiteY8" fmla="*/ 647700 h 647700"/>
                  <a:gd name="connsiteX9" fmla="*/ 0 w 474348"/>
                  <a:gd name="connsiteY9" fmla="*/ 195085 h 647700"/>
                  <a:gd name="connsiteX10" fmla="*/ 192704 w 474348"/>
                  <a:gd name="connsiteY10" fmla="*/ 2381 h 647700"/>
                  <a:gd name="connsiteX0" fmla="*/ 192704 w 474348"/>
                  <a:gd name="connsiteY0" fmla="*/ 42862 h 688181"/>
                  <a:gd name="connsiteX1" fmla="*/ 240986 w 474348"/>
                  <a:gd name="connsiteY1" fmla="*/ 0 h 688181"/>
                  <a:gd name="connsiteX2" fmla="*/ 281644 w 474348"/>
                  <a:gd name="connsiteY2" fmla="*/ 42862 h 688181"/>
                  <a:gd name="connsiteX3" fmla="*/ 474348 w 474348"/>
                  <a:gd name="connsiteY3" fmla="*/ 235566 h 688181"/>
                  <a:gd name="connsiteX4" fmla="*/ 474348 w 474348"/>
                  <a:gd name="connsiteY4" fmla="*/ 688181 h 688181"/>
                  <a:gd name="connsiteX5" fmla="*/ 474348 w 474348"/>
                  <a:gd name="connsiteY5" fmla="*/ 688181 h 688181"/>
                  <a:gd name="connsiteX6" fmla="*/ 248129 w 474348"/>
                  <a:gd name="connsiteY6" fmla="*/ 688181 h 688181"/>
                  <a:gd name="connsiteX7" fmla="*/ 0 w 474348"/>
                  <a:gd name="connsiteY7" fmla="*/ 688181 h 688181"/>
                  <a:gd name="connsiteX8" fmla="*/ 0 w 474348"/>
                  <a:gd name="connsiteY8" fmla="*/ 688181 h 688181"/>
                  <a:gd name="connsiteX9" fmla="*/ 0 w 474348"/>
                  <a:gd name="connsiteY9" fmla="*/ 235566 h 688181"/>
                  <a:gd name="connsiteX10" fmla="*/ 192704 w 474348"/>
                  <a:gd name="connsiteY10" fmla="*/ 42862 h 688181"/>
                  <a:gd name="connsiteX0" fmla="*/ 192704 w 474348"/>
                  <a:gd name="connsiteY0" fmla="*/ 23812 h 669131"/>
                  <a:gd name="connsiteX1" fmla="*/ 265690 w 474348"/>
                  <a:gd name="connsiteY1" fmla="*/ 0 h 669131"/>
                  <a:gd name="connsiteX2" fmla="*/ 281644 w 474348"/>
                  <a:gd name="connsiteY2" fmla="*/ 23812 h 669131"/>
                  <a:gd name="connsiteX3" fmla="*/ 474348 w 474348"/>
                  <a:gd name="connsiteY3" fmla="*/ 216516 h 669131"/>
                  <a:gd name="connsiteX4" fmla="*/ 474348 w 474348"/>
                  <a:gd name="connsiteY4" fmla="*/ 669131 h 669131"/>
                  <a:gd name="connsiteX5" fmla="*/ 474348 w 474348"/>
                  <a:gd name="connsiteY5" fmla="*/ 669131 h 669131"/>
                  <a:gd name="connsiteX6" fmla="*/ 248129 w 474348"/>
                  <a:gd name="connsiteY6" fmla="*/ 669131 h 669131"/>
                  <a:gd name="connsiteX7" fmla="*/ 0 w 474348"/>
                  <a:gd name="connsiteY7" fmla="*/ 669131 h 669131"/>
                  <a:gd name="connsiteX8" fmla="*/ 0 w 474348"/>
                  <a:gd name="connsiteY8" fmla="*/ 669131 h 669131"/>
                  <a:gd name="connsiteX9" fmla="*/ 0 w 474348"/>
                  <a:gd name="connsiteY9" fmla="*/ 216516 h 669131"/>
                  <a:gd name="connsiteX10" fmla="*/ 192704 w 474348"/>
                  <a:gd name="connsiteY10" fmla="*/ 23812 h 669131"/>
                  <a:gd name="connsiteX0" fmla="*/ 192704 w 474348"/>
                  <a:gd name="connsiteY0" fmla="*/ 23812 h 669131"/>
                  <a:gd name="connsiteX1" fmla="*/ 265690 w 474348"/>
                  <a:gd name="connsiteY1" fmla="*/ 0 h 669131"/>
                  <a:gd name="connsiteX2" fmla="*/ 281644 w 474348"/>
                  <a:gd name="connsiteY2" fmla="*/ 23812 h 669131"/>
                  <a:gd name="connsiteX3" fmla="*/ 474348 w 474348"/>
                  <a:gd name="connsiteY3" fmla="*/ 216516 h 669131"/>
                  <a:gd name="connsiteX4" fmla="*/ 474348 w 474348"/>
                  <a:gd name="connsiteY4" fmla="*/ 669131 h 669131"/>
                  <a:gd name="connsiteX5" fmla="*/ 474348 w 474348"/>
                  <a:gd name="connsiteY5" fmla="*/ 669131 h 669131"/>
                  <a:gd name="connsiteX6" fmla="*/ 248129 w 474348"/>
                  <a:gd name="connsiteY6" fmla="*/ 669131 h 669131"/>
                  <a:gd name="connsiteX7" fmla="*/ 0 w 474348"/>
                  <a:gd name="connsiteY7" fmla="*/ 669131 h 669131"/>
                  <a:gd name="connsiteX8" fmla="*/ 0 w 474348"/>
                  <a:gd name="connsiteY8" fmla="*/ 669131 h 669131"/>
                  <a:gd name="connsiteX9" fmla="*/ 0 w 474348"/>
                  <a:gd name="connsiteY9" fmla="*/ 216516 h 669131"/>
                  <a:gd name="connsiteX10" fmla="*/ 192704 w 474348"/>
                  <a:gd name="connsiteY10" fmla="*/ 23812 h 669131"/>
                  <a:gd name="connsiteX0" fmla="*/ 192704 w 474348"/>
                  <a:gd name="connsiteY0" fmla="*/ 23812 h 669131"/>
                  <a:gd name="connsiteX1" fmla="*/ 265690 w 474348"/>
                  <a:gd name="connsiteY1" fmla="*/ 0 h 669131"/>
                  <a:gd name="connsiteX2" fmla="*/ 281644 w 474348"/>
                  <a:gd name="connsiteY2" fmla="*/ 23812 h 669131"/>
                  <a:gd name="connsiteX3" fmla="*/ 474348 w 474348"/>
                  <a:gd name="connsiteY3" fmla="*/ 216516 h 669131"/>
                  <a:gd name="connsiteX4" fmla="*/ 474348 w 474348"/>
                  <a:gd name="connsiteY4" fmla="*/ 669131 h 669131"/>
                  <a:gd name="connsiteX5" fmla="*/ 474348 w 474348"/>
                  <a:gd name="connsiteY5" fmla="*/ 669131 h 669131"/>
                  <a:gd name="connsiteX6" fmla="*/ 248129 w 474348"/>
                  <a:gd name="connsiteY6" fmla="*/ 669131 h 669131"/>
                  <a:gd name="connsiteX7" fmla="*/ 0 w 474348"/>
                  <a:gd name="connsiteY7" fmla="*/ 669131 h 669131"/>
                  <a:gd name="connsiteX8" fmla="*/ 0 w 474348"/>
                  <a:gd name="connsiteY8" fmla="*/ 669131 h 669131"/>
                  <a:gd name="connsiteX9" fmla="*/ 0 w 474348"/>
                  <a:gd name="connsiteY9" fmla="*/ 216516 h 669131"/>
                  <a:gd name="connsiteX10" fmla="*/ 192704 w 474348"/>
                  <a:gd name="connsiteY10" fmla="*/ 23812 h 669131"/>
                  <a:gd name="connsiteX0" fmla="*/ 192704 w 474348"/>
                  <a:gd name="connsiteY0" fmla="*/ 23812 h 669131"/>
                  <a:gd name="connsiteX1" fmla="*/ 265690 w 474348"/>
                  <a:gd name="connsiteY1" fmla="*/ 0 h 669131"/>
                  <a:gd name="connsiteX2" fmla="*/ 314250 w 474348"/>
                  <a:gd name="connsiteY2" fmla="*/ 24047 h 669131"/>
                  <a:gd name="connsiteX3" fmla="*/ 474348 w 474348"/>
                  <a:gd name="connsiteY3" fmla="*/ 216516 h 669131"/>
                  <a:gd name="connsiteX4" fmla="*/ 474348 w 474348"/>
                  <a:gd name="connsiteY4" fmla="*/ 669131 h 669131"/>
                  <a:gd name="connsiteX5" fmla="*/ 474348 w 474348"/>
                  <a:gd name="connsiteY5" fmla="*/ 669131 h 669131"/>
                  <a:gd name="connsiteX6" fmla="*/ 248129 w 474348"/>
                  <a:gd name="connsiteY6" fmla="*/ 669131 h 669131"/>
                  <a:gd name="connsiteX7" fmla="*/ 0 w 474348"/>
                  <a:gd name="connsiteY7" fmla="*/ 669131 h 669131"/>
                  <a:gd name="connsiteX8" fmla="*/ 0 w 474348"/>
                  <a:gd name="connsiteY8" fmla="*/ 669131 h 669131"/>
                  <a:gd name="connsiteX9" fmla="*/ 0 w 474348"/>
                  <a:gd name="connsiteY9" fmla="*/ 216516 h 669131"/>
                  <a:gd name="connsiteX10" fmla="*/ 192704 w 474348"/>
                  <a:gd name="connsiteY10" fmla="*/ 23812 h 669131"/>
                  <a:gd name="connsiteX0" fmla="*/ 192704 w 474348"/>
                  <a:gd name="connsiteY0" fmla="*/ 23812 h 669131"/>
                  <a:gd name="connsiteX1" fmla="*/ 265690 w 474348"/>
                  <a:gd name="connsiteY1" fmla="*/ 0 h 669131"/>
                  <a:gd name="connsiteX2" fmla="*/ 314250 w 474348"/>
                  <a:gd name="connsiteY2" fmla="*/ 24047 h 669131"/>
                  <a:gd name="connsiteX3" fmla="*/ 474348 w 474348"/>
                  <a:gd name="connsiteY3" fmla="*/ 216516 h 669131"/>
                  <a:gd name="connsiteX4" fmla="*/ 474348 w 474348"/>
                  <a:gd name="connsiteY4" fmla="*/ 669131 h 669131"/>
                  <a:gd name="connsiteX5" fmla="*/ 474348 w 474348"/>
                  <a:gd name="connsiteY5" fmla="*/ 669131 h 669131"/>
                  <a:gd name="connsiteX6" fmla="*/ 248129 w 474348"/>
                  <a:gd name="connsiteY6" fmla="*/ 669131 h 669131"/>
                  <a:gd name="connsiteX7" fmla="*/ 0 w 474348"/>
                  <a:gd name="connsiteY7" fmla="*/ 669131 h 669131"/>
                  <a:gd name="connsiteX8" fmla="*/ 0 w 474348"/>
                  <a:gd name="connsiteY8" fmla="*/ 669131 h 669131"/>
                  <a:gd name="connsiteX9" fmla="*/ 0 w 474348"/>
                  <a:gd name="connsiteY9" fmla="*/ 216516 h 669131"/>
                  <a:gd name="connsiteX10" fmla="*/ 192704 w 474348"/>
                  <a:gd name="connsiteY10" fmla="*/ 23812 h 669131"/>
                  <a:gd name="connsiteX0" fmla="*/ 192704 w 474348"/>
                  <a:gd name="connsiteY0" fmla="*/ 23812 h 669131"/>
                  <a:gd name="connsiteX1" fmla="*/ 265690 w 474348"/>
                  <a:gd name="connsiteY1" fmla="*/ 0 h 669131"/>
                  <a:gd name="connsiteX2" fmla="*/ 314250 w 474348"/>
                  <a:gd name="connsiteY2" fmla="*/ 24047 h 669131"/>
                  <a:gd name="connsiteX3" fmla="*/ 474348 w 474348"/>
                  <a:gd name="connsiteY3" fmla="*/ 216516 h 669131"/>
                  <a:gd name="connsiteX4" fmla="*/ 474348 w 474348"/>
                  <a:gd name="connsiteY4" fmla="*/ 669131 h 669131"/>
                  <a:gd name="connsiteX5" fmla="*/ 474348 w 474348"/>
                  <a:gd name="connsiteY5" fmla="*/ 669131 h 669131"/>
                  <a:gd name="connsiteX6" fmla="*/ 248129 w 474348"/>
                  <a:gd name="connsiteY6" fmla="*/ 669131 h 669131"/>
                  <a:gd name="connsiteX7" fmla="*/ 0 w 474348"/>
                  <a:gd name="connsiteY7" fmla="*/ 669131 h 669131"/>
                  <a:gd name="connsiteX8" fmla="*/ 0 w 474348"/>
                  <a:gd name="connsiteY8" fmla="*/ 669131 h 669131"/>
                  <a:gd name="connsiteX9" fmla="*/ 0 w 474348"/>
                  <a:gd name="connsiteY9" fmla="*/ 216516 h 669131"/>
                  <a:gd name="connsiteX10" fmla="*/ 192704 w 474348"/>
                  <a:gd name="connsiteY10" fmla="*/ 23812 h 669131"/>
                  <a:gd name="connsiteX0" fmla="*/ 174282 w 474348"/>
                  <a:gd name="connsiteY0" fmla="*/ 23596 h 669131"/>
                  <a:gd name="connsiteX1" fmla="*/ 265690 w 474348"/>
                  <a:gd name="connsiteY1" fmla="*/ 0 h 669131"/>
                  <a:gd name="connsiteX2" fmla="*/ 314250 w 474348"/>
                  <a:gd name="connsiteY2" fmla="*/ 24047 h 669131"/>
                  <a:gd name="connsiteX3" fmla="*/ 474348 w 474348"/>
                  <a:gd name="connsiteY3" fmla="*/ 216516 h 669131"/>
                  <a:gd name="connsiteX4" fmla="*/ 474348 w 474348"/>
                  <a:gd name="connsiteY4" fmla="*/ 669131 h 669131"/>
                  <a:gd name="connsiteX5" fmla="*/ 474348 w 474348"/>
                  <a:gd name="connsiteY5" fmla="*/ 669131 h 669131"/>
                  <a:gd name="connsiteX6" fmla="*/ 248129 w 474348"/>
                  <a:gd name="connsiteY6" fmla="*/ 669131 h 669131"/>
                  <a:gd name="connsiteX7" fmla="*/ 0 w 474348"/>
                  <a:gd name="connsiteY7" fmla="*/ 669131 h 669131"/>
                  <a:gd name="connsiteX8" fmla="*/ 0 w 474348"/>
                  <a:gd name="connsiteY8" fmla="*/ 669131 h 669131"/>
                  <a:gd name="connsiteX9" fmla="*/ 0 w 474348"/>
                  <a:gd name="connsiteY9" fmla="*/ 216516 h 669131"/>
                  <a:gd name="connsiteX10" fmla="*/ 174282 w 474348"/>
                  <a:gd name="connsiteY10" fmla="*/ 23596 h 669131"/>
                  <a:gd name="connsiteX0" fmla="*/ 174282 w 474348"/>
                  <a:gd name="connsiteY0" fmla="*/ 24619 h 670154"/>
                  <a:gd name="connsiteX1" fmla="*/ 216121 w 474348"/>
                  <a:gd name="connsiteY1" fmla="*/ 0 h 670154"/>
                  <a:gd name="connsiteX2" fmla="*/ 314250 w 474348"/>
                  <a:gd name="connsiteY2" fmla="*/ 25070 h 670154"/>
                  <a:gd name="connsiteX3" fmla="*/ 474348 w 474348"/>
                  <a:gd name="connsiteY3" fmla="*/ 217539 h 670154"/>
                  <a:gd name="connsiteX4" fmla="*/ 474348 w 474348"/>
                  <a:gd name="connsiteY4" fmla="*/ 670154 h 670154"/>
                  <a:gd name="connsiteX5" fmla="*/ 474348 w 474348"/>
                  <a:gd name="connsiteY5" fmla="*/ 670154 h 670154"/>
                  <a:gd name="connsiteX6" fmla="*/ 248129 w 474348"/>
                  <a:gd name="connsiteY6" fmla="*/ 670154 h 670154"/>
                  <a:gd name="connsiteX7" fmla="*/ 0 w 474348"/>
                  <a:gd name="connsiteY7" fmla="*/ 670154 h 670154"/>
                  <a:gd name="connsiteX8" fmla="*/ 0 w 474348"/>
                  <a:gd name="connsiteY8" fmla="*/ 670154 h 670154"/>
                  <a:gd name="connsiteX9" fmla="*/ 0 w 474348"/>
                  <a:gd name="connsiteY9" fmla="*/ 217539 h 670154"/>
                  <a:gd name="connsiteX10" fmla="*/ 174282 w 474348"/>
                  <a:gd name="connsiteY10" fmla="*/ 24619 h 670154"/>
                  <a:gd name="connsiteX0" fmla="*/ 174282 w 474348"/>
                  <a:gd name="connsiteY0" fmla="*/ 24619 h 670154"/>
                  <a:gd name="connsiteX1" fmla="*/ 216121 w 474348"/>
                  <a:gd name="connsiteY1" fmla="*/ 0 h 670154"/>
                  <a:gd name="connsiteX2" fmla="*/ 314250 w 474348"/>
                  <a:gd name="connsiteY2" fmla="*/ 25070 h 670154"/>
                  <a:gd name="connsiteX3" fmla="*/ 474348 w 474348"/>
                  <a:gd name="connsiteY3" fmla="*/ 217539 h 670154"/>
                  <a:gd name="connsiteX4" fmla="*/ 474348 w 474348"/>
                  <a:gd name="connsiteY4" fmla="*/ 670154 h 670154"/>
                  <a:gd name="connsiteX5" fmla="*/ 474348 w 474348"/>
                  <a:gd name="connsiteY5" fmla="*/ 670154 h 670154"/>
                  <a:gd name="connsiteX6" fmla="*/ 248129 w 474348"/>
                  <a:gd name="connsiteY6" fmla="*/ 670154 h 670154"/>
                  <a:gd name="connsiteX7" fmla="*/ 0 w 474348"/>
                  <a:gd name="connsiteY7" fmla="*/ 670154 h 670154"/>
                  <a:gd name="connsiteX8" fmla="*/ 0 w 474348"/>
                  <a:gd name="connsiteY8" fmla="*/ 670154 h 670154"/>
                  <a:gd name="connsiteX9" fmla="*/ 0 w 474348"/>
                  <a:gd name="connsiteY9" fmla="*/ 217539 h 670154"/>
                  <a:gd name="connsiteX10" fmla="*/ 174282 w 474348"/>
                  <a:gd name="connsiteY10" fmla="*/ 24619 h 670154"/>
                  <a:gd name="connsiteX0" fmla="*/ 174282 w 474348"/>
                  <a:gd name="connsiteY0" fmla="*/ 24619 h 670154"/>
                  <a:gd name="connsiteX1" fmla="*/ 216121 w 474348"/>
                  <a:gd name="connsiteY1" fmla="*/ 0 h 670154"/>
                  <a:gd name="connsiteX2" fmla="*/ 314250 w 474348"/>
                  <a:gd name="connsiteY2" fmla="*/ 25070 h 670154"/>
                  <a:gd name="connsiteX3" fmla="*/ 474348 w 474348"/>
                  <a:gd name="connsiteY3" fmla="*/ 217539 h 670154"/>
                  <a:gd name="connsiteX4" fmla="*/ 474348 w 474348"/>
                  <a:gd name="connsiteY4" fmla="*/ 670154 h 670154"/>
                  <a:gd name="connsiteX5" fmla="*/ 474348 w 474348"/>
                  <a:gd name="connsiteY5" fmla="*/ 670154 h 670154"/>
                  <a:gd name="connsiteX6" fmla="*/ 248129 w 474348"/>
                  <a:gd name="connsiteY6" fmla="*/ 670154 h 670154"/>
                  <a:gd name="connsiteX7" fmla="*/ 0 w 474348"/>
                  <a:gd name="connsiteY7" fmla="*/ 670154 h 670154"/>
                  <a:gd name="connsiteX8" fmla="*/ 0 w 474348"/>
                  <a:gd name="connsiteY8" fmla="*/ 670154 h 670154"/>
                  <a:gd name="connsiteX9" fmla="*/ 0 w 474348"/>
                  <a:gd name="connsiteY9" fmla="*/ 217539 h 670154"/>
                  <a:gd name="connsiteX10" fmla="*/ 174282 w 474348"/>
                  <a:gd name="connsiteY10" fmla="*/ 24619 h 670154"/>
                  <a:gd name="connsiteX0" fmla="*/ 174282 w 474348"/>
                  <a:gd name="connsiteY0" fmla="*/ 24619 h 670154"/>
                  <a:gd name="connsiteX1" fmla="*/ 216121 w 474348"/>
                  <a:gd name="connsiteY1" fmla="*/ 0 h 670154"/>
                  <a:gd name="connsiteX2" fmla="*/ 314250 w 474348"/>
                  <a:gd name="connsiteY2" fmla="*/ 25070 h 670154"/>
                  <a:gd name="connsiteX3" fmla="*/ 474348 w 474348"/>
                  <a:gd name="connsiteY3" fmla="*/ 217539 h 670154"/>
                  <a:gd name="connsiteX4" fmla="*/ 474348 w 474348"/>
                  <a:gd name="connsiteY4" fmla="*/ 670154 h 670154"/>
                  <a:gd name="connsiteX5" fmla="*/ 474348 w 474348"/>
                  <a:gd name="connsiteY5" fmla="*/ 670154 h 670154"/>
                  <a:gd name="connsiteX6" fmla="*/ 248129 w 474348"/>
                  <a:gd name="connsiteY6" fmla="*/ 670154 h 670154"/>
                  <a:gd name="connsiteX7" fmla="*/ 0 w 474348"/>
                  <a:gd name="connsiteY7" fmla="*/ 670154 h 670154"/>
                  <a:gd name="connsiteX8" fmla="*/ 0 w 474348"/>
                  <a:gd name="connsiteY8" fmla="*/ 670154 h 670154"/>
                  <a:gd name="connsiteX9" fmla="*/ 0 w 474348"/>
                  <a:gd name="connsiteY9" fmla="*/ 217539 h 670154"/>
                  <a:gd name="connsiteX10" fmla="*/ 174282 w 474348"/>
                  <a:gd name="connsiteY10" fmla="*/ 24619 h 670154"/>
                  <a:gd name="connsiteX0" fmla="*/ 148557 w 474348"/>
                  <a:gd name="connsiteY0" fmla="*/ 27264 h 670154"/>
                  <a:gd name="connsiteX1" fmla="*/ 216121 w 474348"/>
                  <a:gd name="connsiteY1" fmla="*/ 0 h 670154"/>
                  <a:gd name="connsiteX2" fmla="*/ 314250 w 474348"/>
                  <a:gd name="connsiteY2" fmla="*/ 25070 h 670154"/>
                  <a:gd name="connsiteX3" fmla="*/ 474348 w 474348"/>
                  <a:gd name="connsiteY3" fmla="*/ 217539 h 670154"/>
                  <a:gd name="connsiteX4" fmla="*/ 474348 w 474348"/>
                  <a:gd name="connsiteY4" fmla="*/ 670154 h 670154"/>
                  <a:gd name="connsiteX5" fmla="*/ 474348 w 474348"/>
                  <a:gd name="connsiteY5" fmla="*/ 670154 h 670154"/>
                  <a:gd name="connsiteX6" fmla="*/ 248129 w 474348"/>
                  <a:gd name="connsiteY6" fmla="*/ 670154 h 670154"/>
                  <a:gd name="connsiteX7" fmla="*/ 0 w 474348"/>
                  <a:gd name="connsiteY7" fmla="*/ 670154 h 670154"/>
                  <a:gd name="connsiteX8" fmla="*/ 0 w 474348"/>
                  <a:gd name="connsiteY8" fmla="*/ 670154 h 670154"/>
                  <a:gd name="connsiteX9" fmla="*/ 0 w 474348"/>
                  <a:gd name="connsiteY9" fmla="*/ 217539 h 670154"/>
                  <a:gd name="connsiteX10" fmla="*/ 148557 w 474348"/>
                  <a:gd name="connsiteY10" fmla="*/ 27264 h 670154"/>
                  <a:gd name="connsiteX0" fmla="*/ 148557 w 474348"/>
                  <a:gd name="connsiteY0" fmla="*/ 20950 h 663840"/>
                  <a:gd name="connsiteX1" fmla="*/ 214238 w 474348"/>
                  <a:gd name="connsiteY1" fmla="*/ 0 h 663840"/>
                  <a:gd name="connsiteX2" fmla="*/ 314250 w 474348"/>
                  <a:gd name="connsiteY2" fmla="*/ 18756 h 663840"/>
                  <a:gd name="connsiteX3" fmla="*/ 474348 w 474348"/>
                  <a:gd name="connsiteY3" fmla="*/ 211225 h 663840"/>
                  <a:gd name="connsiteX4" fmla="*/ 474348 w 474348"/>
                  <a:gd name="connsiteY4" fmla="*/ 663840 h 663840"/>
                  <a:gd name="connsiteX5" fmla="*/ 474348 w 474348"/>
                  <a:gd name="connsiteY5" fmla="*/ 663840 h 663840"/>
                  <a:gd name="connsiteX6" fmla="*/ 248129 w 474348"/>
                  <a:gd name="connsiteY6" fmla="*/ 663840 h 663840"/>
                  <a:gd name="connsiteX7" fmla="*/ 0 w 474348"/>
                  <a:gd name="connsiteY7" fmla="*/ 663840 h 663840"/>
                  <a:gd name="connsiteX8" fmla="*/ 0 w 474348"/>
                  <a:gd name="connsiteY8" fmla="*/ 663840 h 663840"/>
                  <a:gd name="connsiteX9" fmla="*/ 0 w 474348"/>
                  <a:gd name="connsiteY9" fmla="*/ 211225 h 663840"/>
                  <a:gd name="connsiteX10" fmla="*/ 148557 w 474348"/>
                  <a:gd name="connsiteY10" fmla="*/ 20950 h 663840"/>
                  <a:gd name="connsiteX0" fmla="*/ 148557 w 474348"/>
                  <a:gd name="connsiteY0" fmla="*/ 20950 h 663840"/>
                  <a:gd name="connsiteX1" fmla="*/ 214238 w 474348"/>
                  <a:gd name="connsiteY1" fmla="*/ 0 h 663840"/>
                  <a:gd name="connsiteX2" fmla="*/ 314250 w 474348"/>
                  <a:gd name="connsiteY2" fmla="*/ 18756 h 663840"/>
                  <a:gd name="connsiteX3" fmla="*/ 474348 w 474348"/>
                  <a:gd name="connsiteY3" fmla="*/ 211225 h 663840"/>
                  <a:gd name="connsiteX4" fmla="*/ 474348 w 474348"/>
                  <a:gd name="connsiteY4" fmla="*/ 663840 h 663840"/>
                  <a:gd name="connsiteX5" fmla="*/ 474348 w 474348"/>
                  <a:gd name="connsiteY5" fmla="*/ 663840 h 663840"/>
                  <a:gd name="connsiteX6" fmla="*/ 248129 w 474348"/>
                  <a:gd name="connsiteY6" fmla="*/ 663840 h 663840"/>
                  <a:gd name="connsiteX7" fmla="*/ 0 w 474348"/>
                  <a:gd name="connsiteY7" fmla="*/ 663840 h 663840"/>
                  <a:gd name="connsiteX8" fmla="*/ 0 w 474348"/>
                  <a:gd name="connsiteY8" fmla="*/ 663840 h 663840"/>
                  <a:gd name="connsiteX9" fmla="*/ 0 w 474348"/>
                  <a:gd name="connsiteY9" fmla="*/ 211225 h 663840"/>
                  <a:gd name="connsiteX10" fmla="*/ 148557 w 474348"/>
                  <a:gd name="connsiteY10" fmla="*/ 20950 h 663840"/>
                  <a:gd name="connsiteX0" fmla="*/ 148557 w 474348"/>
                  <a:gd name="connsiteY0" fmla="*/ 20950 h 663840"/>
                  <a:gd name="connsiteX1" fmla="*/ 214238 w 474348"/>
                  <a:gd name="connsiteY1" fmla="*/ 0 h 663840"/>
                  <a:gd name="connsiteX2" fmla="*/ 314250 w 474348"/>
                  <a:gd name="connsiteY2" fmla="*/ 18756 h 663840"/>
                  <a:gd name="connsiteX3" fmla="*/ 474348 w 474348"/>
                  <a:gd name="connsiteY3" fmla="*/ 211225 h 663840"/>
                  <a:gd name="connsiteX4" fmla="*/ 474348 w 474348"/>
                  <a:gd name="connsiteY4" fmla="*/ 663840 h 663840"/>
                  <a:gd name="connsiteX5" fmla="*/ 474348 w 474348"/>
                  <a:gd name="connsiteY5" fmla="*/ 663840 h 663840"/>
                  <a:gd name="connsiteX6" fmla="*/ 248129 w 474348"/>
                  <a:gd name="connsiteY6" fmla="*/ 663840 h 663840"/>
                  <a:gd name="connsiteX7" fmla="*/ 0 w 474348"/>
                  <a:gd name="connsiteY7" fmla="*/ 663840 h 663840"/>
                  <a:gd name="connsiteX8" fmla="*/ 0 w 474348"/>
                  <a:gd name="connsiteY8" fmla="*/ 663840 h 663840"/>
                  <a:gd name="connsiteX9" fmla="*/ 0 w 474348"/>
                  <a:gd name="connsiteY9" fmla="*/ 211225 h 663840"/>
                  <a:gd name="connsiteX10" fmla="*/ 148557 w 474348"/>
                  <a:gd name="connsiteY10" fmla="*/ 20950 h 663840"/>
                  <a:gd name="connsiteX0" fmla="*/ 144178 w 474348"/>
                  <a:gd name="connsiteY0" fmla="*/ 22667 h 663840"/>
                  <a:gd name="connsiteX1" fmla="*/ 214238 w 474348"/>
                  <a:gd name="connsiteY1" fmla="*/ 0 h 663840"/>
                  <a:gd name="connsiteX2" fmla="*/ 314250 w 474348"/>
                  <a:gd name="connsiteY2" fmla="*/ 18756 h 663840"/>
                  <a:gd name="connsiteX3" fmla="*/ 474348 w 474348"/>
                  <a:gd name="connsiteY3" fmla="*/ 211225 h 663840"/>
                  <a:gd name="connsiteX4" fmla="*/ 474348 w 474348"/>
                  <a:gd name="connsiteY4" fmla="*/ 663840 h 663840"/>
                  <a:gd name="connsiteX5" fmla="*/ 474348 w 474348"/>
                  <a:gd name="connsiteY5" fmla="*/ 663840 h 663840"/>
                  <a:gd name="connsiteX6" fmla="*/ 248129 w 474348"/>
                  <a:gd name="connsiteY6" fmla="*/ 663840 h 663840"/>
                  <a:gd name="connsiteX7" fmla="*/ 0 w 474348"/>
                  <a:gd name="connsiteY7" fmla="*/ 663840 h 663840"/>
                  <a:gd name="connsiteX8" fmla="*/ 0 w 474348"/>
                  <a:gd name="connsiteY8" fmla="*/ 663840 h 663840"/>
                  <a:gd name="connsiteX9" fmla="*/ 0 w 474348"/>
                  <a:gd name="connsiteY9" fmla="*/ 211225 h 663840"/>
                  <a:gd name="connsiteX10" fmla="*/ 144178 w 474348"/>
                  <a:gd name="connsiteY10" fmla="*/ 22667 h 663840"/>
                  <a:gd name="connsiteX0" fmla="*/ 144178 w 474348"/>
                  <a:gd name="connsiteY0" fmla="*/ 22667 h 663840"/>
                  <a:gd name="connsiteX1" fmla="*/ 214238 w 474348"/>
                  <a:gd name="connsiteY1" fmla="*/ 0 h 663840"/>
                  <a:gd name="connsiteX2" fmla="*/ 314250 w 474348"/>
                  <a:gd name="connsiteY2" fmla="*/ 18756 h 663840"/>
                  <a:gd name="connsiteX3" fmla="*/ 474348 w 474348"/>
                  <a:gd name="connsiteY3" fmla="*/ 211225 h 663840"/>
                  <a:gd name="connsiteX4" fmla="*/ 474348 w 474348"/>
                  <a:gd name="connsiteY4" fmla="*/ 663840 h 663840"/>
                  <a:gd name="connsiteX5" fmla="*/ 474348 w 474348"/>
                  <a:gd name="connsiteY5" fmla="*/ 663840 h 663840"/>
                  <a:gd name="connsiteX6" fmla="*/ 248129 w 474348"/>
                  <a:gd name="connsiteY6" fmla="*/ 663840 h 663840"/>
                  <a:gd name="connsiteX7" fmla="*/ 0 w 474348"/>
                  <a:gd name="connsiteY7" fmla="*/ 663840 h 663840"/>
                  <a:gd name="connsiteX8" fmla="*/ 0 w 474348"/>
                  <a:gd name="connsiteY8" fmla="*/ 663840 h 663840"/>
                  <a:gd name="connsiteX9" fmla="*/ 0 w 474348"/>
                  <a:gd name="connsiteY9" fmla="*/ 211225 h 663840"/>
                  <a:gd name="connsiteX10" fmla="*/ 144178 w 474348"/>
                  <a:gd name="connsiteY10" fmla="*/ 22667 h 663840"/>
                  <a:gd name="connsiteX0" fmla="*/ 144178 w 474348"/>
                  <a:gd name="connsiteY0" fmla="*/ 22667 h 663840"/>
                  <a:gd name="connsiteX1" fmla="*/ 214238 w 474348"/>
                  <a:gd name="connsiteY1" fmla="*/ 0 h 663840"/>
                  <a:gd name="connsiteX2" fmla="*/ 314250 w 474348"/>
                  <a:gd name="connsiteY2" fmla="*/ 18756 h 663840"/>
                  <a:gd name="connsiteX3" fmla="*/ 474348 w 474348"/>
                  <a:gd name="connsiteY3" fmla="*/ 211225 h 663840"/>
                  <a:gd name="connsiteX4" fmla="*/ 474348 w 474348"/>
                  <a:gd name="connsiteY4" fmla="*/ 663840 h 663840"/>
                  <a:gd name="connsiteX5" fmla="*/ 474348 w 474348"/>
                  <a:gd name="connsiteY5" fmla="*/ 663840 h 663840"/>
                  <a:gd name="connsiteX6" fmla="*/ 248129 w 474348"/>
                  <a:gd name="connsiteY6" fmla="*/ 663840 h 663840"/>
                  <a:gd name="connsiteX7" fmla="*/ 0 w 474348"/>
                  <a:gd name="connsiteY7" fmla="*/ 663840 h 663840"/>
                  <a:gd name="connsiteX8" fmla="*/ 0 w 474348"/>
                  <a:gd name="connsiteY8" fmla="*/ 663840 h 663840"/>
                  <a:gd name="connsiteX9" fmla="*/ 0 w 474348"/>
                  <a:gd name="connsiteY9" fmla="*/ 211225 h 663840"/>
                  <a:gd name="connsiteX10" fmla="*/ 144178 w 474348"/>
                  <a:gd name="connsiteY10" fmla="*/ 22667 h 663840"/>
                  <a:gd name="connsiteX0" fmla="*/ 144178 w 474348"/>
                  <a:gd name="connsiteY0" fmla="*/ 22667 h 663840"/>
                  <a:gd name="connsiteX1" fmla="*/ 214238 w 474348"/>
                  <a:gd name="connsiteY1" fmla="*/ 0 h 663840"/>
                  <a:gd name="connsiteX2" fmla="*/ 314250 w 474348"/>
                  <a:gd name="connsiteY2" fmla="*/ 18756 h 663840"/>
                  <a:gd name="connsiteX3" fmla="*/ 474348 w 474348"/>
                  <a:gd name="connsiteY3" fmla="*/ 211225 h 663840"/>
                  <a:gd name="connsiteX4" fmla="*/ 474348 w 474348"/>
                  <a:gd name="connsiteY4" fmla="*/ 663840 h 663840"/>
                  <a:gd name="connsiteX5" fmla="*/ 474348 w 474348"/>
                  <a:gd name="connsiteY5" fmla="*/ 663840 h 663840"/>
                  <a:gd name="connsiteX6" fmla="*/ 248129 w 474348"/>
                  <a:gd name="connsiteY6" fmla="*/ 663840 h 663840"/>
                  <a:gd name="connsiteX7" fmla="*/ 0 w 474348"/>
                  <a:gd name="connsiteY7" fmla="*/ 663840 h 663840"/>
                  <a:gd name="connsiteX8" fmla="*/ 0 w 474348"/>
                  <a:gd name="connsiteY8" fmla="*/ 663840 h 663840"/>
                  <a:gd name="connsiteX9" fmla="*/ 0 w 474348"/>
                  <a:gd name="connsiteY9" fmla="*/ 211225 h 663840"/>
                  <a:gd name="connsiteX10" fmla="*/ 144178 w 474348"/>
                  <a:gd name="connsiteY10" fmla="*/ 22667 h 6638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74348" h="663840">
                    <a:moveTo>
                      <a:pt x="144178" y="22667"/>
                    </a:moveTo>
                    <a:cubicBezTo>
                      <a:pt x="211732" y="-970"/>
                      <a:pt x="181869" y="7990"/>
                      <a:pt x="214238" y="0"/>
                    </a:cubicBezTo>
                    <a:cubicBezTo>
                      <a:pt x="259321" y="7224"/>
                      <a:pt x="221757" y="369"/>
                      <a:pt x="314250" y="18756"/>
                    </a:cubicBezTo>
                    <a:cubicBezTo>
                      <a:pt x="399877" y="51074"/>
                      <a:pt x="474348" y="104798"/>
                      <a:pt x="474348" y="211225"/>
                    </a:cubicBezTo>
                    <a:lnTo>
                      <a:pt x="474348" y="663840"/>
                    </a:lnTo>
                    <a:lnTo>
                      <a:pt x="474348" y="663840"/>
                    </a:lnTo>
                    <a:lnTo>
                      <a:pt x="248129" y="663840"/>
                    </a:lnTo>
                    <a:lnTo>
                      <a:pt x="0" y="663840"/>
                    </a:lnTo>
                    <a:lnTo>
                      <a:pt x="0" y="663840"/>
                    </a:lnTo>
                    <a:lnTo>
                      <a:pt x="0" y="211225"/>
                    </a:lnTo>
                    <a:cubicBezTo>
                      <a:pt x="0" y="104798"/>
                      <a:pt x="80700" y="56026"/>
                      <a:pt x="144178" y="22667"/>
                    </a:cubicBezTo>
                    <a:close/>
                  </a:path>
                </a:pathLst>
              </a:cu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grpSp>
        <p:grpSp>
          <p:nvGrpSpPr>
            <p:cNvPr id="96" name="Group 95"/>
            <p:cNvGrpSpPr/>
            <p:nvPr/>
          </p:nvGrpSpPr>
          <p:grpSpPr>
            <a:xfrm rot="15300000">
              <a:off x="6430508" y="2814389"/>
              <a:ext cx="2108839" cy="101418"/>
              <a:chOff x="6437694" y="2814389"/>
              <a:chExt cx="2108839" cy="101418"/>
            </a:xfrm>
          </p:grpSpPr>
          <p:sp>
            <p:nvSpPr>
              <p:cNvPr id="97" name="Round Same Side Corner Rectangle 11"/>
              <p:cNvSpPr/>
              <p:nvPr/>
            </p:nvSpPr>
            <p:spPr>
              <a:xfrm rot="5400000" flipH="1">
                <a:off x="7969911" y="2339184"/>
                <a:ext cx="101418" cy="1051827"/>
              </a:xfrm>
              <a:custGeom>
                <a:avLst/>
                <a:gdLst>
                  <a:gd name="connsiteX0" fmla="*/ 192704 w 474348"/>
                  <a:gd name="connsiteY0" fmla="*/ 0 h 645319"/>
                  <a:gd name="connsiteX1" fmla="*/ 281644 w 474348"/>
                  <a:gd name="connsiteY1" fmla="*/ 0 h 645319"/>
                  <a:gd name="connsiteX2" fmla="*/ 474348 w 474348"/>
                  <a:gd name="connsiteY2" fmla="*/ 192704 h 645319"/>
                  <a:gd name="connsiteX3" fmla="*/ 474348 w 474348"/>
                  <a:gd name="connsiteY3" fmla="*/ 645319 h 645319"/>
                  <a:gd name="connsiteX4" fmla="*/ 474348 w 474348"/>
                  <a:gd name="connsiteY4" fmla="*/ 645319 h 645319"/>
                  <a:gd name="connsiteX5" fmla="*/ 0 w 474348"/>
                  <a:gd name="connsiteY5" fmla="*/ 645319 h 645319"/>
                  <a:gd name="connsiteX6" fmla="*/ 0 w 474348"/>
                  <a:gd name="connsiteY6" fmla="*/ 645319 h 645319"/>
                  <a:gd name="connsiteX7" fmla="*/ 0 w 474348"/>
                  <a:gd name="connsiteY7" fmla="*/ 192704 h 645319"/>
                  <a:gd name="connsiteX8" fmla="*/ 192704 w 474348"/>
                  <a:gd name="connsiteY8" fmla="*/ 0 h 645319"/>
                  <a:gd name="connsiteX0" fmla="*/ 192704 w 474348"/>
                  <a:gd name="connsiteY0" fmla="*/ 0 h 645319"/>
                  <a:gd name="connsiteX1" fmla="*/ 281644 w 474348"/>
                  <a:gd name="connsiteY1" fmla="*/ 0 h 645319"/>
                  <a:gd name="connsiteX2" fmla="*/ 474348 w 474348"/>
                  <a:gd name="connsiteY2" fmla="*/ 192704 h 645319"/>
                  <a:gd name="connsiteX3" fmla="*/ 474348 w 474348"/>
                  <a:gd name="connsiteY3" fmla="*/ 645319 h 645319"/>
                  <a:gd name="connsiteX4" fmla="*/ 474348 w 474348"/>
                  <a:gd name="connsiteY4" fmla="*/ 645319 h 645319"/>
                  <a:gd name="connsiteX5" fmla="*/ 248129 w 474348"/>
                  <a:gd name="connsiteY5" fmla="*/ 645319 h 645319"/>
                  <a:gd name="connsiteX6" fmla="*/ 0 w 474348"/>
                  <a:gd name="connsiteY6" fmla="*/ 645319 h 645319"/>
                  <a:gd name="connsiteX7" fmla="*/ 0 w 474348"/>
                  <a:gd name="connsiteY7" fmla="*/ 645319 h 645319"/>
                  <a:gd name="connsiteX8" fmla="*/ 0 w 474348"/>
                  <a:gd name="connsiteY8" fmla="*/ 192704 h 645319"/>
                  <a:gd name="connsiteX9" fmla="*/ 192704 w 474348"/>
                  <a:gd name="connsiteY9" fmla="*/ 0 h 645319"/>
                  <a:gd name="connsiteX0" fmla="*/ 192704 w 474348"/>
                  <a:gd name="connsiteY0" fmla="*/ 2381 h 647700"/>
                  <a:gd name="connsiteX1" fmla="*/ 240986 w 474348"/>
                  <a:gd name="connsiteY1" fmla="*/ 0 h 647700"/>
                  <a:gd name="connsiteX2" fmla="*/ 281644 w 474348"/>
                  <a:gd name="connsiteY2" fmla="*/ 2381 h 647700"/>
                  <a:gd name="connsiteX3" fmla="*/ 474348 w 474348"/>
                  <a:gd name="connsiteY3" fmla="*/ 195085 h 647700"/>
                  <a:gd name="connsiteX4" fmla="*/ 474348 w 474348"/>
                  <a:gd name="connsiteY4" fmla="*/ 647700 h 647700"/>
                  <a:gd name="connsiteX5" fmla="*/ 474348 w 474348"/>
                  <a:gd name="connsiteY5" fmla="*/ 647700 h 647700"/>
                  <a:gd name="connsiteX6" fmla="*/ 248129 w 474348"/>
                  <a:gd name="connsiteY6" fmla="*/ 647700 h 647700"/>
                  <a:gd name="connsiteX7" fmla="*/ 0 w 474348"/>
                  <a:gd name="connsiteY7" fmla="*/ 647700 h 647700"/>
                  <a:gd name="connsiteX8" fmla="*/ 0 w 474348"/>
                  <a:gd name="connsiteY8" fmla="*/ 647700 h 647700"/>
                  <a:gd name="connsiteX9" fmla="*/ 0 w 474348"/>
                  <a:gd name="connsiteY9" fmla="*/ 195085 h 647700"/>
                  <a:gd name="connsiteX10" fmla="*/ 192704 w 474348"/>
                  <a:gd name="connsiteY10" fmla="*/ 2381 h 647700"/>
                  <a:gd name="connsiteX0" fmla="*/ 192704 w 474348"/>
                  <a:gd name="connsiteY0" fmla="*/ 42862 h 688181"/>
                  <a:gd name="connsiteX1" fmla="*/ 240986 w 474348"/>
                  <a:gd name="connsiteY1" fmla="*/ 0 h 688181"/>
                  <a:gd name="connsiteX2" fmla="*/ 281644 w 474348"/>
                  <a:gd name="connsiteY2" fmla="*/ 42862 h 688181"/>
                  <a:gd name="connsiteX3" fmla="*/ 474348 w 474348"/>
                  <a:gd name="connsiteY3" fmla="*/ 235566 h 688181"/>
                  <a:gd name="connsiteX4" fmla="*/ 474348 w 474348"/>
                  <a:gd name="connsiteY4" fmla="*/ 688181 h 688181"/>
                  <a:gd name="connsiteX5" fmla="*/ 474348 w 474348"/>
                  <a:gd name="connsiteY5" fmla="*/ 688181 h 688181"/>
                  <a:gd name="connsiteX6" fmla="*/ 248129 w 474348"/>
                  <a:gd name="connsiteY6" fmla="*/ 688181 h 688181"/>
                  <a:gd name="connsiteX7" fmla="*/ 0 w 474348"/>
                  <a:gd name="connsiteY7" fmla="*/ 688181 h 688181"/>
                  <a:gd name="connsiteX8" fmla="*/ 0 w 474348"/>
                  <a:gd name="connsiteY8" fmla="*/ 688181 h 688181"/>
                  <a:gd name="connsiteX9" fmla="*/ 0 w 474348"/>
                  <a:gd name="connsiteY9" fmla="*/ 235566 h 688181"/>
                  <a:gd name="connsiteX10" fmla="*/ 192704 w 474348"/>
                  <a:gd name="connsiteY10" fmla="*/ 42862 h 688181"/>
                  <a:gd name="connsiteX0" fmla="*/ 192704 w 474348"/>
                  <a:gd name="connsiteY0" fmla="*/ 23812 h 669131"/>
                  <a:gd name="connsiteX1" fmla="*/ 265690 w 474348"/>
                  <a:gd name="connsiteY1" fmla="*/ 0 h 669131"/>
                  <a:gd name="connsiteX2" fmla="*/ 281644 w 474348"/>
                  <a:gd name="connsiteY2" fmla="*/ 23812 h 669131"/>
                  <a:gd name="connsiteX3" fmla="*/ 474348 w 474348"/>
                  <a:gd name="connsiteY3" fmla="*/ 216516 h 669131"/>
                  <a:gd name="connsiteX4" fmla="*/ 474348 w 474348"/>
                  <a:gd name="connsiteY4" fmla="*/ 669131 h 669131"/>
                  <a:gd name="connsiteX5" fmla="*/ 474348 w 474348"/>
                  <a:gd name="connsiteY5" fmla="*/ 669131 h 669131"/>
                  <a:gd name="connsiteX6" fmla="*/ 248129 w 474348"/>
                  <a:gd name="connsiteY6" fmla="*/ 669131 h 669131"/>
                  <a:gd name="connsiteX7" fmla="*/ 0 w 474348"/>
                  <a:gd name="connsiteY7" fmla="*/ 669131 h 669131"/>
                  <a:gd name="connsiteX8" fmla="*/ 0 w 474348"/>
                  <a:gd name="connsiteY8" fmla="*/ 669131 h 669131"/>
                  <a:gd name="connsiteX9" fmla="*/ 0 w 474348"/>
                  <a:gd name="connsiteY9" fmla="*/ 216516 h 669131"/>
                  <a:gd name="connsiteX10" fmla="*/ 192704 w 474348"/>
                  <a:gd name="connsiteY10" fmla="*/ 23812 h 669131"/>
                  <a:gd name="connsiteX0" fmla="*/ 192704 w 474348"/>
                  <a:gd name="connsiteY0" fmla="*/ 23812 h 669131"/>
                  <a:gd name="connsiteX1" fmla="*/ 265690 w 474348"/>
                  <a:gd name="connsiteY1" fmla="*/ 0 h 669131"/>
                  <a:gd name="connsiteX2" fmla="*/ 281644 w 474348"/>
                  <a:gd name="connsiteY2" fmla="*/ 23812 h 669131"/>
                  <a:gd name="connsiteX3" fmla="*/ 474348 w 474348"/>
                  <a:gd name="connsiteY3" fmla="*/ 216516 h 669131"/>
                  <a:gd name="connsiteX4" fmla="*/ 474348 w 474348"/>
                  <a:gd name="connsiteY4" fmla="*/ 669131 h 669131"/>
                  <a:gd name="connsiteX5" fmla="*/ 474348 w 474348"/>
                  <a:gd name="connsiteY5" fmla="*/ 669131 h 669131"/>
                  <a:gd name="connsiteX6" fmla="*/ 248129 w 474348"/>
                  <a:gd name="connsiteY6" fmla="*/ 669131 h 669131"/>
                  <a:gd name="connsiteX7" fmla="*/ 0 w 474348"/>
                  <a:gd name="connsiteY7" fmla="*/ 669131 h 669131"/>
                  <a:gd name="connsiteX8" fmla="*/ 0 w 474348"/>
                  <a:gd name="connsiteY8" fmla="*/ 669131 h 669131"/>
                  <a:gd name="connsiteX9" fmla="*/ 0 w 474348"/>
                  <a:gd name="connsiteY9" fmla="*/ 216516 h 669131"/>
                  <a:gd name="connsiteX10" fmla="*/ 192704 w 474348"/>
                  <a:gd name="connsiteY10" fmla="*/ 23812 h 669131"/>
                  <a:gd name="connsiteX0" fmla="*/ 192704 w 474348"/>
                  <a:gd name="connsiteY0" fmla="*/ 23812 h 669131"/>
                  <a:gd name="connsiteX1" fmla="*/ 265690 w 474348"/>
                  <a:gd name="connsiteY1" fmla="*/ 0 h 669131"/>
                  <a:gd name="connsiteX2" fmla="*/ 281644 w 474348"/>
                  <a:gd name="connsiteY2" fmla="*/ 23812 h 669131"/>
                  <a:gd name="connsiteX3" fmla="*/ 474348 w 474348"/>
                  <a:gd name="connsiteY3" fmla="*/ 216516 h 669131"/>
                  <a:gd name="connsiteX4" fmla="*/ 474348 w 474348"/>
                  <a:gd name="connsiteY4" fmla="*/ 669131 h 669131"/>
                  <a:gd name="connsiteX5" fmla="*/ 474348 w 474348"/>
                  <a:gd name="connsiteY5" fmla="*/ 669131 h 669131"/>
                  <a:gd name="connsiteX6" fmla="*/ 248129 w 474348"/>
                  <a:gd name="connsiteY6" fmla="*/ 669131 h 669131"/>
                  <a:gd name="connsiteX7" fmla="*/ 0 w 474348"/>
                  <a:gd name="connsiteY7" fmla="*/ 669131 h 669131"/>
                  <a:gd name="connsiteX8" fmla="*/ 0 w 474348"/>
                  <a:gd name="connsiteY8" fmla="*/ 669131 h 669131"/>
                  <a:gd name="connsiteX9" fmla="*/ 0 w 474348"/>
                  <a:gd name="connsiteY9" fmla="*/ 216516 h 669131"/>
                  <a:gd name="connsiteX10" fmla="*/ 192704 w 474348"/>
                  <a:gd name="connsiteY10" fmla="*/ 23812 h 669131"/>
                  <a:gd name="connsiteX0" fmla="*/ 192704 w 474348"/>
                  <a:gd name="connsiteY0" fmla="*/ 23812 h 669131"/>
                  <a:gd name="connsiteX1" fmla="*/ 265690 w 474348"/>
                  <a:gd name="connsiteY1" fmla="*/ 0 h 669131"/>
                  <a:gd name="connsiteX2" fmla="*/ 314250 w 474348"/>
                  <a:gd name="connsiteY2" fmla="*/ 24047 h 669131"/>
                  <a:gd name="connsiteX3" fmla="*/ 474348 w 474348"/>
                  <a:gd name="connsiteY3" fmla="*/ 216516 h 669131"/>
                  <a:gd name="connsiteX4" fmla="*/ 474348 w 474348"/>
                  <a:gd name="connsiteY4" fmla="*/ 669131 h 669131"/>
                  <a:gd name="connsiteX5" fmla="*/ 474348 w 474348"/>
                  <a:gd name="connsiteY5" fmla="*/ 669131 h 669131"/>
                  <a:gd name="connsiteX6" fmla="*/ 248129 w 474348"/>
                  <a:gd name="connsiteY6" fmla="*/ 669131 h 669131"/>
                  <a:gd name="connsiteX7" fmla="*/ 0 w 474348"/>
                  <a:gd name="connsiteY7" fmla="*/ 669131 h 669131"/>
                  <a:gd name="connsiteX8" fmla="*/ 0 w 474348"/>
                  <a:gd name="connsiteY8" fmla="*/ 669131 h 669131"/>
                  <a:gd name="connsiteX9" fmla="*/ 0 w 474348"/>
                  <a:gd name="connsiteY9" fmla="*/ 216516 h 669131"/>
                  <a:gd name="connsiteX10" fmla="*/ 192704 w 474348"/>
                  <a:gd name="connsiteY10" fmla="*/ 23812 h 669131"/>
                  <a:gd name="connsiteX0" fmla="*/ 192704 w 474348"/>
                  <a:gd name="connsiteY0" fmla="*/ 23812 h 669131"/>
                  <a:gd name="connsiteX1" fmla="*/ 265690 w 474348"/>
                  <a:gd name="connsiteY1" fmla="*/ 0 h 669131"/>
                  <a:gd name="connsiteX2" fmla="*/ 314250 w 474348"/>
                  <a:gd name="connsiteY2" fmla="*/ 24047 h 669131"/>
                  <a:gd name="connsiteX3" fmla="*/ 474348 w 474348"/>
                  <a:gd name="connsiteY3" fmla="*/ 216516 h 669131"/>
                  <a:gd name="connsiteX4" fmla="*/ 474348 w 474348"/>
                  <a:gd name="connsiteY4" fmla="*/ 669131 h 669131"/>
                  <a:gd name="connsiteX5" fmla="*/ 474348 w 474348"/>
                  <a:gd name="connsiteY5" fmla="*/ 669131 h 669131"/>
                  <a:gd name="connsiteX6" fmla="*/ 248129 w 474348"/>
                  <a:gd name="connsiteY6" fmla="*/ 669131 h 669131"/>
                  <a:gd name="connsiteX7" fmla="*/ 0 w 474348"/>
                  <a:gd name="connsiteY7" fmla="*/ 669131 h 669131"/>
                  <a:gd name="connsiteX8" fmla="*/ 0 w 474348"/>
                  <a:gd name="connsiteY8" fmla="*/ 669131 h 669131"/>
                  <a:gd name="connsiteX9" fmla="*/ 0 w 474348"/>
                  <a:gd name="connsiteY9" fmla="*/ 216516 h 669131"/>
                  <a:gd name="connsiteX10" fmla="*/ 192704 w 474348"/>
                  <a:gd name="connsiteY10" fmla="*/ 23812 h 669131"/>
                  <a:gd name="connsiteX0" fmla="*/ 192704 w 474348"/>
                  <a:gd name="connsiteY0" fmla="*/ 23812 h 669131"/>
                  <a:gd name="connsiteX1" fmla="*/ 265690 w 474348"/>
                  <a:gd name="connsiteY1" fmla="*/ 0 h 669131"/>
                  <a:gd name="connsiteX2" fmla="*/ 314250 w 474348"/>
                  <a:gd name="connsiteY2" fmla="*/ 24047 h 669131"/>
                  <a:gd name="connsiteX3" fmla="*/ 474348 w 474348"/>
                  <a:gd name="connsiteY3" fmla="*/ 216516 h 669131"/>
                  <a:gd name="connsiteX4" fmla="*/ 474348 w 474348"/>
                  <a:gd name="connsiteY4" fmla="*/ 669131 h 669131"/>
                  <a:gd name="connsiteX5" fmla="*/ 474348 w 474348"/>
                  <a:gd name="connsiteY5" fmla="*/ 669131 h 669131"/>
                  <a:gd name="connsiteX6" fmla="*/ 248129 w 474348"/>
                  <a:gd name="connsiteY6" fmla="*/ 669131 h 669131"/>
                  <a:gd name="connsiteX7" fmla="*/ 0 w 474348"/>
                  <a:gd name="connsiteY7" fmla="*/ 669131 h 669131"/>
                  <a:gd name="connsiteX8" fmla="*/ 0 w 474348"/>
                  <a:gd name="connsiteY8" fmla="*/ 669131 h 669131"/>
                  <a:gd name="connsiteX9" fmla="*/ 0 w 474348"/>
                  <a:gd name="connsiteY9" fmla="*/ 216516 h 669131"/>
                  <a:gd name="connsiteX10" fmla="*/ 192704 w 474348"/>
                  <a:gd name="connsiteY10" fmla="*/ 23812 h 669131"/>
                  <a:gd name="connsiteX0" fmla="*/ 174282 w 474348"/>
                  <a:gd name="connsiteY0" fmla="*/ 23596 h 669131"/>
                  <a:gd name="connsiteX1" fmla="*/ 265690 w 474348"/>
                  <a:gd name="connsiteY1" fmla="*/ 0 h 669131"/>
                  <a:gd name="connsiteX2" fmla="*/ 314250 w 474348"/>
                  <a:gd name="connsiteY2" fmla="*/ 24047 h 669131"/>
                  <a:gd name="connsiteX3" fmla="*/ 474348 w 474348"/>
                  <a:gd name="connsiteY3" fmla="*/ 216516 h 669131"/>
                  <a:gd name="connsiteX4" fmla="*/ 474348 w 474348"/>
                  <a:gd name="connsiteY4" fmla="*/ 669131 h 669131"/>
                  <a:gd name="connsiteX5" fmla="*/ 474348 w 474348"/>
                  <a:gd name="connsiteY5" fmla="*/ 669131 h 669131"/>
                  <a:gd name="connsiteX6" fmla="*/ 248129 w 474348"/>
                  <a:gd name="connsiteY6" fmla="*/ 669131 h 669131"/>
                  <a:gd name="connsiteX7" fmla="*/ 0 w 474348"/>
                  <a:gd name="connsiteY7" fmla="*/ 669131 h 669131"/>
                  <a:gd name="connsiteX8" fmla="*/ 0 w 474348"/>
                  <a:gd name="connsiteY8" fmla="*/ 669131 h 669131"/>
                  <a:gd name="connsiteX9" fmla="*/ 0 w 474348"/>
                  <a:gd name="connsiteY9" fmla="*/ 216516 h 669131"/>
                  <a:gd name="connsiteX10" fmla="*/ 174282 w 474348"/>
                  <a:gd name="connsiteY10" fmla="*/ 23596 h 669131"/>
                  <a:gd name="connsiteX0" fmla="*/ 174282 w 474348"/>
                  <a:gd name="connsiteY0" fmla="*/ 24619 h 670154"/>
                  <a:gd name="connsiteX1" fmla="*/ 216121 w 474348"/>
                  <a:gd name="connsiteY1" fmla="*/ 0 h 670154"/>
                  <a:gd name="connsiteX2" fmla="*/ 314250 w 474348"/>
                  <a:gd name="connsiteY2" fmla="*/ 25070 h 670154"/>
                  <a:gd name="connsiteX3" fmla="*/ 474348 w 474348"/>
                  <a:gd name="connsiteY3" fmla="*/ 217539 h 670154"/>
                  <a:gd name="connsiteX4" fmla="*/ 474348 w 474348"/>
                  <a:gd name="connsiteY4" fmla="*/ 670154 h 670154"/>
                  <a:gd name="connsiteX5" fmla="*/ 474348 w 474348"/>
                  <a:gd name="connsiteY5" fmla="*/ 670154 h 670154"/>
                  <a:gd name="connsiteX6" fmla="*/ 248129 w 474348"/>
                  <a:gd name="connsiteY6" fmla="*/ 670154 h 670154"/>
                  <a:gd name="connsiteX7" fmla="*/ 0 w 474348"/>
                  <a:gd name="connsiteY7" fmla="*/ 670154 h 670154"/>
                  <a:gd name="connsiteX8" fmla="*/ 0 w 474348"/>
                  <a:gd name="connsiteY8" fmla="*/ 670154 h 670154"/>
                  <a:gd name="connsiteX9" fmla="*/ 0 w 474348"/>
                  <a:gd name="connsiteY9" fmla="*/ 217539 h 670154"/>
                  <a:gd name="connsiteX10" fmla="*/ 174282 w 474348"/>
                  <a:gd name="connsiteY10" fmla="*/ 24619 h 670154"/>
                  <a:gd name="connsiteX0" fmla="*/ 174282 w 474348"/>
                  <a:gd name="connsiteY0" fmla="*/ 24619 h 670154"/>
                  <a:gd name="connsiteX1" fmla="*/ 216121 w 474348"/>
                  <a:gd name="connsiteY1" fmla="*/ 0 h 670154"/>
                  <a:gd name="connsiteX2" fmla="*/ 314250 w 474348"/>
                  <a:gd name="connsiteY2" fmla="*/ 25070 h 670154"/>
                  <a:gd name="connsiteX3" fmla="*/ 474348 w 474348"/>
                  <a:gd name="connsiteY3" fmla="*/ 217539 h 670154"/>
                  <a:gd name="connsiteX4" fmla="*/ 474348 w 474348"/>
                  <a:gd name="connsiteY4" fmla="*/ 670154 h 670154"/>
                  <a:gd name="connsiteX5" fmla="*/ 474348 w 474348"/>
                  <a:gd name="connsiteY5" fmla="*/ 670154 h 670154"/>
                  <a:gd name="connsiteX6" fmla="*/ 248129 w 474348"/>
                  <a:gd name="connsiteY6" fmla="*/ 670154 h 670154"/>
                  <a:gd name="connsiteX7" fmla="*/ 0 w 474348"/>
                  <a:gd name="connsiteY7" fmla="*/ 670154 h 670154"/>
                  <a:gd name="connsiteX8" fmla="*/ 0 w 474348"/>
                  <a:gd name="connsiteY8" fmla="*/ 670154 h 670154"/>
                  <a:gd name="connsiteX9" fmla="*/ 0 w 474348"/>
                  <a:gd name="connsiteY9" fmla="*/ 217539 h 670154"/>
                  <a:gd name="connsiteX10" fmla="*/ 174282 w 474348"/>
                  <a:gd name="connsiteY10" fmla="*/ 24619 h 670154"/>
                  <a:gd name="connsiteX0" fmla="*/ 174282 w 474348"/>
                  <a:gd name="connsiteY0" fmla="*/ 24619 h 670154"/>
                  <a:gd name="connsiteX1" fmla="*/ 216121 w 474348"/>
                  <a:gd name="connsiteY1" fmla="*/ 0 h 670154"/>
                  <a:gd name="connsiteX2" fmla="*/ 314250 w 474348"/>
                  <a:gd name="connsiteY2" fmla="*/ 25070 h 670154"/>
                  <a:gd name="connsiteX3" fmla="*/ 474348 w 474348"/>
                  <a:gd name="connsiteY3" fmla="*/ 217539 h 670154"/>
                  <a:gd name="connsiteX4" fmla="*/ 474348 w 474348"/>
                  <a:gd name="connsiteY4" fmla="*/ 670154 h 670154"/>
                  <a:gd name="connsiteX5" fmla="*/ 474348 w 474348"/>
                  <a:gd name="connsiteY5" fmla="*/ 670154 h 670154"/>
                  <a:gd name="connsiteX6" fmla="*/ 248129 w 474348"/>
                  <a:gd name="connsiteY6" fmla="*/ 670154 h 670154"/>
                  <a:gd name="connsiteX7" fmla="*/ 0 w 474348"/>
                  <a:gd name="connsiteY7" fmla="*/ 670154 h 670154"/>
                  <a:gd name="connsiteX8" fmla="*/ 0 w 474348"/>
                  <a:gd name="connsiteY8" fmla="*/ 670154 h 670154"/>
                  <a:gd name="connsiteX9" fmla="*/ 0 w 474348"/>
                  <a:gd name="connsiteY9" fmla="*/ 217539 h 670154"/>
                  <a:gd name="connsiteX10" fmla="*/ 174282 w 474348"/>
                  <a:gd name="connsiteY10" fmla="*/ 24619 h 670154"/>
                  <a:gd name="connsiteX0" fmla="*/ 174282 w 474348"/>
                  <a:gd name="connsiteY0" fmla="*/ 24619 h 670154"/>
                  <a:gd name="connsiteX1" fmla="*/ 216121 w 474348"/>
                  <a:gd name="connsiteY1" fmla="*/ 0 h 670154"/>
                  <a:gd name="connsiteX2" fmla="*/ 314250 w 474348"/>
                  <a:gd name="connsiteY2" fmla="*/ 25070 h 670154"/>
                  <a:gd name="connsiteX3" fmla="*/ 474348 w 474348"/>
                  <a:gd name="connsiteY3" fmla="*/ 217539 h 670154"/>
                  <a:gd name="connsiteX4" fmla="*/ 474348 w 474348"/>
                  <a:gd name="connsiteY4" fmla="*/ 670154 h 670154"/>
                  <a:gd name="connsiteX5" fmla="*/ 474348 w 474348"/>
                  <a:gd name="connsiteY5" fmla="*/ 670154 h 670154"/>
                  <a:gd name="connsiteX6" fmla="*/ 248129 w 474348"/>
                  <a:gd name="connsiteY6" fmla="*/ 670154 h 670154"/>
                  <a:gd name="connsiteX7" fmla="*/ 0 w 474348"/>
                  <a:gd name="connsiteY7" fmla="*/ 670154 h 670154"/>
                  <a:gd name="connsiteX8" fmla="*/ 0 w 474348"/>
                  <a:gd name="connsiteY8" fmla="*/ 670154 h 670154"/>
                  <a:gd name="connsiteX9" fmla="*/ 0 w 474348"/>
                  <a:gd name="connsiteY9" fmla="*/ 217539 h 670154"/>
                  <a:gd name="connsiteX10" fmla="*/ 174282 w 474348"/>
                  <a:gd name="connsiteY10" fmla="*/ 24619 h 670154"/>
                  <a:gd name="connsiteX0" fmla="*/ 148557 w 474348"/>
                  <a:gd name="connsiteY0" fmla="*/ 27264 h 670154"/>
                  <a:gd name="connsiteX1" fmla="*/ 216121 w 474348"/>
                  <a:gd name="connsiteY1" fmla="*/ 0 h 670154"/>
                  <a:gd name="connsiteX2" fmla="*/ 314250 w 474348"/>
                  <a:gd name="connsiteY2" fmla="*/ 25070 h 670154"/>
                  <a:gd name="connsiteX3" fmla="*/ 474348 w 474348"/>
                  <a:gd name="connsiteY3" fmla="*/ 217539 h 670154"/>
                  <a:gd name="connsiteX4" fmla="*/ 474348 w 474348"/>
                  <a:gd name="connsiteY4" fmla="*/ 670154 h 670154"/>
                  <a:gd name="connsiteX5" fmla="*/ 474348 w 474348"/>
                  <a:gd name="connsiteY5" fmla="*/ 670154 h 670154"/>
                  <a:gd name="connsiteX6" fmla="*/ 248129 w 474348"/>
                  <a:gd name="connsiteY6" fmla="*/ 670154 h 670154"/>
                  <a:gd name="connsiteX7" fmla="*/ 0 w 474348"/>
                  <a:gd name="connsiteY7" fmla="*/ 670154 h 670154"/>
                  <a:gd name="connsiteX8" fmla="*/ 0 w 474348"/>
                  <a:gd name="connsiteY8" fmla="*/ 670154 h 670154"/>
                  <a:gd name="connsiteX9" fmla="*/ 0 w 474348"/>
                  <a:gd name="connsiteY9" fmla="*/ 217539 h 670154"/>
                  <a:gd name="connsiteX10" fmla="*/ 148557 w 474348"/>
                  <a:gd name="connsiteY10" fmla="*/ 27264 h 670154"/>
                  <a:gd name="connsiteX0" fmla="*/ 148557 w 474348"/>
                  <a:gd name="connsiteY0" fmla="*/ 20950 h 663840"/>
                  <a:gd name="connsiteX1" fmla="*/ 214238 w 474348"/>
                  <a:gd name="connsiteY1" fmla="*/ 0 h 663840"/>
                  <a:gd name="connsiteX2" fmla="*/ 314250 w 474348"/>
                  <a:gd name="connsiteY2" fmla="*/ 18756 h 663840"/>
                  <a:gd name="connsiteX3" fmla="*/ 474348 w 474348"/>
                  <a:gd name="connsiteY3" fmla="*/ 211225 h 663840"/>
                  <a:gd name="connsiteX4" fmla="*/ 474348 w 474348"/>
                  <a:gd name="connsiteY4" fmla="*/ 663840 h 663840"/>
                  <a:gd name="connsiteX5" fmla="*/ 474348 w 474348"/>
                  <a:gd name="connsiteY5" fmla="*/ 663840 h 663840"/>
                  <a:gd name="connsiteX6" fmla="*/ 248129 w 474348"/>
                  <a:gd name="connsiteY6" fmla="*/ 663840 h 663840"/>
                  <a:gd name="connsiteX7" fmla="*/ 0 w 474348"/>
                  <a:gd name="connsiteY7" fmla="*/ 663840 h 663840"/>
                  <a:gd name="connsiteX8" fmla="*/ 0 w 474348"/>
                  <a:gd name="connsiteY8" fmla="*/ 663840 h 663840"/>
                  <a:gd name="connsiteX9" fmla="*/ 0 w 474348"/>
                  <a:gd name="connsiteY9" fmla="*/ 211225 h 663840"/>
                  <a:gd name="connsiteX10" fmla="*/ 148557 w 474348"/>
                  <a:gd name="connsiteY10" fmla="*/ 20950 h 663840"/>
                  <a:gd name="connsiteX0" fmla="*/ 148557 w 474348"/>
                  <a:gd name="connsiteY0" fmla="*/ 20950 h 663840"/>
                  <a:gd name="connsiteX1" fmla="*/ 214238 w 474348"/>
                  <a:gd name="connsiteY1" fmla="*/ 0 h 663840"/>
                  <a:gd name="connsiteX2" fmla="*/ 314250 w 474348"/>
                  <a:gd name="connsiteY2" fmla="*/ 18756 h 663840"/>
                  <a:gd name="connsiteX3" fmla="*/ 474348 w 474348"/>
                  <a:gd name="connsiteY3" fmla="*/ 211225 h 663840"/>
                  <a:gd name="connsiteX4" fmla="*/ 474348 w 474348"/>
                  <a:gd name="connsiteY4" fmla="*/ 663840 h 663840"/>
                  <a:gd name="connsiteX5" fmla="*/ 474348 w 474348"/>
                  <a:gd name="connsiteY5" fmla="*/ 663840 h 663840"/>
                  <a:gd name="connsiteX6" fmla="*/ 248129 w 474348"/>
                  <a:gd name="connsiteY6" fmla="*/ 663840 h 663840"/>
                  <a:gd name="connsiteX7" fmla="*/ 0 w 474348"/>
                  <a:gd name="connsiteY7" fmla="*/ 663840 h 663840"/>
                  <a:gd name="connsiteX8" fmla="*/ 0 w 474348"/>
                  <a:gd name="connsiteY8" fmla="*/ 663840 h 663840"/>
                  <a:gd name="connsiteX9" fmla="*/ 0 w 474348"/>
                  <a:gd name="connsiteY9" fmla="*/ 211225 h 663840"/>
                  <a:gd name="connsiteX10" fmla="*/ 148557 w 474348"/>
                  <a:gd name="connsiteY10" fmla="*/ 20950 h 663840"/>
                  <a:gd name="connsiteX0" fmla="*/ 148557 w 474348"/>
                  <a:gd name="connsiteY0" fmla="*/ 20950 h 663840"/>
                  <a:gd name="connsiteX1" fmla="*/ 214238 w 474348"/>
                  <a:gd name="connsiteY1" fmla="*/ 0 h 663840"/>
                  <a:gd name="connsiteX2" fmla="*/ 314250 w 474348"/>
                  <a:gd name="connsiteY2" fmla="*/ 18756 h 663840"/>
                  <a:gd name="connsiteX3" fmla="*/ 474348 w 474348"/>
                  <a:gd name="connsiteY3" fmla="*/ 211225 h 663840"/>
                  <a:gd name="connsiteX4" fmla="*/ 474348 w 474348"/>
                  <a:gd name="connsiteY4" fmla="*/ 663840 h 663840"/>
                  <a:gd name="connsiteX5" fmla="*/ 474348 w 474348"/>
                  <a:gd name="connsiteY5" fmla="*/ 663840 h 663840"/>
                  <a:gd name="connsiteX6" fmla="*/ 248129 w 474348"/>
                  <a:gd name="connsiteY6" fmla="*/ 663840 h 663840"/>
                  <a:gd name="connsiteX7" fmla="*/ 0 w 474348"/>
                  <a:gd name="connsiteY7" fmla="*/ 663840 h 663840"/>
                  <a:gd name="connsiteX8" fmla="*/ 0 w 474348"/>
                  <a:gd name="connsiteY8" fmla="*/ 663840 h 663840"/>
                  <a:gd name="connsiteX9" fmla="*/ 0 w 474348"/>
                  <a:gd name="connsiteY9" fmla="*/ 211225 h 663840"/>
                  <a:gd name="connsiteX10" fmla="*/ 148557 w 474348"/>
                  <a:gd name="connsiteY10" fmla="*/ 20950 h 663840"/>
                  <a:gd name="connsiteX0" fmla="*/ 144178 w 474348"/>
                  <a:gd name="connsiteY0" fmla="*/ 22667 h 663840"/>
                  <a:gd name="connsiteX1" fmla="*/ 214238 w 474348"/>
                  <a:gd name="connsiteY1" fmla="*/ 0 h 663840"/>
                  <a:gd name="connsiteX2" fmla="*/ 314250 w 474348"/>
                  <a:gd name="connsiteY2" fmla="*/ 18756 h 663840"/>
                  <a:gd name="connsiteX3" fmla="*/ 474348 w 474348"/>
                  <a:gd name="connsiteY3" fmla="*/ 211225 h 663840"/>
                  <a:gd name="connsiteX4" fmla="*/ 474348 w 474348"/>
                  <a:gd name="connsiteY4" fmla="*/ 663840 h 663840"/>
                  <a:gd name="connsiteX5" fmla="*/ 474348 w 474348"/>
                  <a:gd name="connsiteY5" fmla="*/ 663840 h 663840"/>
                  <a:gd name="connsiteX6" fmla="*/ 248129 w 474348"/>
                  <a:gd name="connsiteY6" fmla="*/ 663840 h 663840"/>
                  <a:gd name="connsiteX7" fmla="*/ 0 w 474348"/>
                  <a:gd name="connsiteY7" fmla="*/ 663840 h 663840"/>
                  <a:gd name="connsiteX8" fmla="*/ 0 w 474348"/>
                  <a:gd name="connsiteY8" fmla="*/ 663840 h 663840"/>
                  <a:gd name="connsiteX9" fmla="*/ 0 w 474348"/>
                  <a:gd name="connsiteY9" fmla="*/ 211225 h 663840"/>
                  <a:gd name="connsiteX10" fmla="*/ 144178 w 474348"/>
                  <a:gd name="connsiteY10" fmla="*/ 22667 h 663840"/>
                  <a:gd name="connsiteX0" fmla="*/ 144178 w 474348"/>
                  <a:gd name="connsiteY0" fmla="*/ 22667 h 663840"/>
                  <a:gd name="connsiteX1" fmla="*/ 214238 w 474348"/>
                  <a:gd name="connsiteY1" fmla="*/ 0 h 663840"/>
                  <a:gd name="connsiteX2" fmla="*/ 314250 w 474348"/>
                  <a:gd name="connsiteY2" fmla="*/ 18756 h 663840"/>
                  <a:gd name="connsiteX3" fmla="*/ 474348 w 474348"/>
                  <a:gd name="connsiteY3" fmla="*/ 211225 h 663840"/>
                  <a:gd name="connsiteX4" fmla="*/ 474348 w 474348"/>
                  <a:gd name="connsiteY4" fmla="*/ 663840 h 663840"/>
                  <a:gd name="connsiteX5" fmla="*/ 474348 w 474348"/>
                  <a:gd name="connsiteY5" fmla="*/ 663840 h 663840"/>
                  <a:gd name="connsiteX6" fmla="*/ 248129 w 474348"/>
                  <a:gd name="connsiteY6" fmla="*/ 663840 h 663840"/>
                  <a:gd name="connsiteX7" fmla="*/ 0 w 474348"/>
                  <a:gd name="connsiteY7" fmla="*/ 663840 h 663840"/>
                  <a:gd name="connsiteX8" fmla="*/ 0 w 474348"/>
                  <a:gd name="connsiteY8" fmla="*/ 663840 h 663840"/>
                  <a:gd name="connsiteX9" fmla="*/ 0 w 474348"/>
                  <a:gd name="connsiteY9" fmla="*/ 211225 h 663840"/>
                  <a:gd name="connsiteX10" fmla="*/ 144178 w 474348"/>
                  <a:gd name="connsiteY10" fmla="*/ 22667 h 663840"/>
                  <a:gd name="connsiteX0" fmla="*/ 144178 w 474348"/>
                  <a:gd name="connsiteY0" fmla="*/ 22667 h 663840"/>
                  <a:gd name="connsiteX1" fmla="*/ 214238 w 474348"/>
                  <a:gd name="connsiteY1" fmla="*/ 0 h 663840"/>
                  <a:gd name="connsiteX2" fmla="*/ 314250 w 474348"/>
                  <a:gd name="connsiteY2" fmla="*/ 18756 h 663840"/>
                  <a:gd name="connsiteX3" fmla="*/ 474348 w 474348"/>
                  <a:gd name="connsiteY3" fmla="*/ 211225 h 663840"/>
                  <a:gd name="connsiteX4" fmla="*/ 474348 w 474348"/>
                  <a:gd name="connsiteY4" fmla="*/ 663840 h 663840"/>
                  <a:gd name="connsiteX5" fmla="*/ 474348 w 474348"/>
                  <a:gd name="connsiteY5" fmla="*/ 663840 h 663840"/>
                  <a:gd name="connsiteX6" fmla="*/ 248129 w 474348"/>
                  <a:gd name="connsiteY6" fmla="*/ 663840 h 663840"/>
                  <a:gd name="connsiteX7" fmla="*/ 0 w 474348"/>
                  <a:gd name="connsiteY7" fmla="*/ 663840 h 663840"/>
                  <a:gd name="connsiteX8" fmla="*/ 0 w 474348"/>
                  <a:gd name="connsiteY8" fmla="*/ 663840 h 663840"/>
                  <a:gd name="connsiteX9" fmla="*/ 0 w 474348"/>
                  <a:gd name="connsiteY9" fmla="*/ 211225 h 663840"/>
                  <a:gd name="connsiteX10" fmla="*/ 144178 w 474348"/>
                  <a:gd name="connsiteY10" fmla="*/ 22667 h 663840"/>
                  <a:gd name="connsiteX0" fmla="*/ 144178 w 474348"/>
                  <a:gd name="connsiteY0" fmla="*/ 22667 h 663840"/>
                  <a:gd name="connsiteX1" fmla="*/ 214238 w 474348"/>
                  <a:gd name="connsiteY1" fmla="*/ 0 h 663840"/>
                  <a:gd name="connsiteX2" fmla="*/ 314250 w 474348"/>
                  <a:gd name="connsiteY2" fmla="*/ 18756 h 663840"/>
                  <a:gd name="connsiteX3" fmla="*/ 474348 w 474348"/>
                  <a:gd name="connsiteY3" fmla="*/ 211225 h 663840"/>
                  <a:gd name="connsiteX4" fmla="*/ 474348 w 474348"/>
                  <a:gd name="connsiteY4" fmla="*/ 663840 h 663840"/>
                  <a:gd name="connsiteX5" fmla="*/ 474348 w 474348"/>
                  <a:gd name="connsiteY5" fmla="*/ 663840 h 663840"/>
                  <a:gd name="connsiteX6" fmla="*/ 248129 w 474348"/>
                  <a:gd name="connsiteY6" fmla="*/ 663840 h 663840"/>
                  <a:gd name="connsiteX7" fmla="*/ 0 w 474348"/>
                  <a:gd name="connsiteY7" fmla="*/ 663840 h 663840"/>
                  <a:gd name="connsiteX8" fmla="*/ 0 w 474348"/>
                  <a:gd name="connsiteY8" fmla="*/ 663840 h 663840"/>
                  <a:gd name="connsiteX9" fmla="*/ 0 w 474348"/>
                  <a:gd name="connsiteY9" fmla="*/ 211225 h 663840"/>
                  <a:gd name="connsiteX10" fmla="*/ 144178 w 474348"/>
                  <a:gd name="connsiteY10" fmla="*/ 22667 h 6638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74348" h="663840">
                    <a:moveTo>
                      <a:pt x="144178" y="22667"/>
                    </a:moveTo>
                    <a:cubicBezTo>
                      <a:pt x="211732" y="-970"/>
                      <a:pt x="181869" y="7990"/>
                      <a:pt x="214238" y="0"/>
                    </a:cubicBezTo>
                    <a:cubicBezTo>
                      <a:pt x="259321" y="7224"/>
                      <a:pt x="221757" y="369"/>
                      <a:pt x="314250" y="18756"/>
                    </a:cubicBezTo>
                    <a:cubicBezTo>
                      <a:pt x="399877" y="51074"/>
                      <a:pt x="474348" y="104798"/>
                      <a:pt x="474348" y="211225"/>
                    </a:cubicBezTo>
                    <a:lnTo>
                      <a:pt x="474348" y="663840"/>
                    </a:lnTo>
                    <a:lnTo>
                      <a:pt x="474348" y="663840"/>
                    </a:lnTo>
                    <a:lnTo>
                      <a:pt x="248129" y="663840"/>
                    </a:lnTo>
                    <a:lnTo>
                      <a:pt x="0" y="663840"/>
                    </a:lnTo>
                    <a:lnTo>
                      <a:pt x="0" y="663840"/>
                    </a:lnTo>
                    <a:lnTo>
                      <a:pt x="0" y="211225"/>
                    </a:lnTo>
                    <a:cubicBezTo>
                      <a:pt x="0" y="104798"/>
                      <a:pt x="80700" y="56026"/>
                      <a:pt x="144178" y="22667"/>
                    </a:cubicBezTo>
                    <a:close/>
                  </a:path>
                </a:pathLst>
              </a:cu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98" name="Round Same Side Corner Rectangle 11"/>
              <p:cNvSpPr/>
              <p:nvPr/>
            </p:nvSpPr>
            <p:spPr>
              <a:xfrm rot="16200000">
                <a:off x="6912899" y="2339184"/>
                <a:ext cx="101418" cy="1051827"/>
              </a:xfrm>
              <a:custGeom>
                <a:avLst/>
                <a:gdLst>
                  <a:gd name="connsiteX0" fmla="*/ 192704 w 474348"/>
                  <a:gd name="connsiteY0" fmla="*/ 0 h 645319"/>
                  <a:gd name="connsiteX1" fmla="*/ 281644 w 474348"/>
                  <a:gd name="connsiteY1" fmla="*/ 0 h 645319"/>
                  <a:gd name="connsiteX2" fmla="*/ 474348 w 474348"/>
                  <a:gd name="connsiteY2" fmla="*/ 192704 h 645319"/>
                  <a:gd name="connsiteX3" fmla="*/ 474348 w 474348"/>
                  <a:gd name="connsiteY3" fmla="*/ 645319 h 645319"/>
                  <a:gd name="connsiteX4" fmla="*/ 474348 w 474348"/>
                  <a:gd name="connsiteY4" fmla="*/ 645319 h 645319"/>
                  <a:gd name="connsiteX5" fmla="*/ 0 w 474348"/>
                  <a:gd name="connsiteY5" fmla="*/ 645319 h 645319"/>
                  <a:gd name="connsiteX6" fmla="*/ 0 w 474348"/>
                  <a:gd name="connsiteY6" fmla="*/ 645319 h 645319"/>
                  <a:gd name="connsiteX7" fmla="*/ 0 w 474348"/>
                  <a:gd name="connsiteY7" fmla="*/ 192704 h 645319"/>
                  <a:gd name="connsiteX8" fmla="*/ 192704 w 474348"/>
                  <a:gd name="connsiteY8" fmla="*/ 0 h 645319"/>
                  <a:gd name="connsiteX0" fmla="*/ 192704 w 474348"/>
                  <a:gd name="connsiteY0" fmla="*/ 0 h 645319"/>
                  <a:gd name="connsiteX1" fmla="*/ 281644 w 474348"/>
                  <a:gd name="connsiteY1" fmla="*/ 0 h 645319"/>
                  <a:gd name="connsiteX2" fmla="*/ 474348 w 474348"/>
                  <a:gd name="connsiteY2" fmla="*/ 192704 h 645319"/>
                  <a:gd name="connsiteX3" fmla="*/ 474348 w 474348"/>
                  <a:gd name="connsiteY3" fmla="*/ 645319 h 645319"/>
                  <a:gd name="connsiteX4" fmla="*/ 474348 w 474348"/>
                  <a:gd name="connsiteY4" fmla="*/ 645319 h 645319"/>
                  <a:gd name="connsiteX5" fmla="*/ 248129 w 474348"/>
                  <a:gd name="connsiteY5" fmla="*/ 645319 h 645319"/>
                  <a:gd name="connsiteX6" fmla="*/ 0 w 474348"/>
                  <a:gd name="connsiteY6" fmla="*/ 645319 h 645319"/>
                  <a:gd name="connsiteX7" fmla="*/ 0 w 474348"/>
                  <a:gd name="connsiteY7" fmla="*/ 645319 h 645319"/>
                  <a:gd name="connsiteX8" fmla="*/ 0 w 474348"/>
                  <a:gd name="connsiteY8" fmla="*/ 192704 h 645319"/>
                  <a:gd name="connsiteX9" fmla="*/ 192704 w 474348"/>
                  <a:gd name="connsiteY9" fmla="*/ 0 h 645319"/>
                  <a:gd name="connsiteX0" fmla="*/ 192704 w 474348"/>
                  <a:gd name="connsiteY0" fmla="*/ 2381 h 647700"/>
                  <a:gd name="connsiteX1" fmla="*/ 240986 w 474348"/>
                  <a:gd name="connsiteY1" fmla="*/ 0 h 647700"/>
                  <a:gd name="connsiteX2" fmla="*/ 281644 w 474348"/>
                  <a:gd name="connsiteY2" fmla="*/ 2381 h 647700"/>
                  <a:gd name="connsiteX3" fmla="*/ 474348 w 474348"/>
                  <a:gd name="connsiteY3" fmla="*/ 195085 h 647700"/>
                  <a:gd name="connsiteX4" fmla="*/ 474348 w 474348"/>
                  <a:gd name="connsiteY4" fmla="*/ 647700 h 647700"/>
                  <a:gd name="connsiteX5" fmla="*/ 474348 w 474348"/>
                  <a:gd name="connsiteY5" fmla="*/ 647700 h 647700"/>
                  <a:gd name="connsiteX6" fmla="*/ 248129 w 474348"/>
                  <a:gd name="connsiteY6" fmla="*/ 647700 h 647700"/>
                  <a:gd name="connsiteX7" fmla="*/ 0 w 474348"/>
                  <a:gd name="connsiteY7" fmla="*/ 647700 h 647700"/>
                  <a:gd name="connsiteX8" fmla="*/ 0 w 474348"/>
                  <a:gd name="connsiteY8" fmla="*/ 647700 h 647700"/>
                  <a:gd name="connsiteX9" fmla="*/ 0 w 474348"/>
                  <a:gd name="connsiteY9" fmla="*/ 195085 h 647700"/>
                  <a:gd name="connsiteX10" fmla="*/ 192704 w 474348"/>
                  <a:gd name="connsiteY10" fmla="*/ 2381 h 647700"/>
                  <a:gd name="connsiteX0" fmla="*/ 192704 w 474348"/>
                  <a:gd name="connsiteY0" fmla="*/ 42862 h 688181"/>
                  <a:gd name="connsiteX1" fmla="*/ 240986 w 474348"/>
                  <a:gd name="connsiteY1" fmla="*/ 0 h 688181"/>
                  <a:gd name="connsiteX2" fmla="*/ 281644 w 474348"/>
                  <a:gd name="connsiteY2" fmla="*/ 42862 h 688181"/>
                  <a:gd name="connsiteX3" fmla="*/ 474348 w 474348"/>
                  <a:gd name="connsiteY3" fmla="*/ 235566 h 688181"/>
                  <a:gd name="connsiteX4" fmla="*/ 474348 w 474348"/>
                  <a:gd name="connsiteY4" fmla="*/ 688181 h 688181"/>
                  <a:gd name="connsiteX5" fmla="*/ 474348 w 474348"/>
                  <a:gd name="connsiteY5" fmla="*/ 688181 h 688181"/>
                  <a:gd name="connsiteX6" fmla="*/ 248129 w 474348"/>
                  <a:gd name="connsiteY6" fmla="*/ 688181 h 688181"/>
                  <a:gd name="connsiteX7" fmla="*/ 0 w 474348"/>
                  <a:gd name="connsiteY7" fmla="*/ 688181 h 688181"/>
                  <a:gd name="connsiteX8" fmla="*/ 0 w 474348"/>
                  <a:gd name="connsiteY8" fmla="*/ 688181 h 688181"/>
                  <a:gd name="connsiteX9" fmla="*/ 0 w 474348"/>
                  <a:gd name="connsiteY9" fmla="*/ 235566 h 688181"/>
                  <a:gd name="connsiteX10" fmla="*/ 192704 w 474348"/>
                  <a:gd name="connsiteY10" fmla="*/ 42862 h 688181"/>
                  <a:gd name="connsiteX0" fmla="*/ 192704 w 474348"/>
                  <a:gd name="connsiteY0" fmla="*/ 23812 h 669131"/>
                  <a:gd name="connsiteX1" fmla="*/ 265690 w 474348"/>
                  <a:gd name="connsiteY1" fmla="*/ 0 h 669131"/>
                  <a:gd name="connsiteX2" fmla="*/ 281644 w 474348"/>
                  <a:gd name="connsiteY2" fmla="*/ 23812 h 669131"/>
                  <a:gd name="connsiteX3" fmla="*/ 474348 w 474348"/>
                  <a:gd name="connsiteY3" fmla="*/ 216516 h 669131"/>
                  <a:gd name="connsiteX4" fmla="*/ 474348 w 474348"/>
                  <a:gd name="connsiteY4" fmla="*/ 669131 h 669131"/>
                  <a:gd name="connsiteX5" fmla="*/ 474348 w 474348"/>
                  <a:gd name="connsiteY5" fmla="*/ 669131 h 669131"/>
                  <a:gd name="connsiteX6" fmla="*/ 248129 w 474348"/>
                  <a:gd name="connsiteY6" fmla="*/ 669131 h 669131"/>
                  <a:gd name="connsiteX7" fmla="*/ 0 w 474348"/>
                  <a:gd name="connsiteY7" fmla="*/ 669131 h 669131"/>
                  <a:gd name="connsiteX8" fmla="*/ 0 w 474348"/>
                  <a:gd name="connsiteY8" fmla="*/ 669131 h 669131"/>
                  <a:gd name="connsiteX9" fmla="*/ 0 w 474348"/>
                  <a:gd name="connsiteY9" fmla="*/ 216516 h 669131"/>
                  <a:gd name="connsiteX10" fmla="*/ 192704 w 474348"/>
                  <a:gd name="connsiteY10" fmla="*/ 23812 h 669131"/>
                  <a:gd name="connsiteX0" fmla="*/ 192704 w 474348"/>
                  <a:gd name="connsiteY0" fmla="*/ 23812 h 669131"/>
                  <a:gd name="connsiteX1" fmla="*/ 265690 w 474348"/>
                  <a:gd name="connsiteY1" fmla="*/ 0 h 669131"/>
                  <a:gd name="connsiteX2" fmla="*/ 281644 w 474348"/>
                  <a:gd name="connsiteY2" fmla="*/ 23812 h 669131"/>
                  <a:gd name="connsiteX3" fmla="*/ 474348 w 474348"/>
                  <a:gd name="connsiteY3" fmla="*/ 216516 h 669131"/>
                  <a:gd name="connsiteX4" fmla="*/ 474348 w 474348"/>
                  <a:gd name="connsiteY4" fmla="*/ 669131 h 669131"/>
                  <a:gd name="connsiteX5" fmla="*/ 474348 w 474348"/>
                  <a:gd name="connsiteY5" fmla="*/ 669131 h 669131"/>
                  <a:gd name="connsiteX6" fmla="*/ 248129 w 474348"/>
                  <a:gd name="connsiteY6" fmla="*/ 669131 h 669131"/>
                  <a:gd name="connsiteX7" fmla="*/ 0 w 474348"/>
                  <a:gd name="connsiteY7" fmla="*/ 669131 h 669131"/>
                  <a:gd name="connsiteX8" fmla="*/ 0 w 474348"/>
                  <a:gd name="connsiteY8" fmla="*/ 669131 h 669131"/>
                  <a:gd name="connsiteX9" fmla="*/ 0 w 474348"/>
                  <a:gd name="connsiteY9" fmla="*/ 216516 h 669131"/>
                  <a:gd name="connsiteX10" fmla="*/ 192704 w 474348"/>
                  <a:gd name="connsiteY10" fmla="*/ 23812 h 669131"/>
                  <a:gd name="connsiteX0" fmla="*/ 192704 w 474348"/>
                  <a:gd name="connsiteY0" fmla="*/ 23812 h 669131"/>
                  <a:gd name="connsiteX1" fmla="*/ 265690 w 474348"/>
                  <a:gd name="connsiteY1" fmla="*/ 0 h 669131"/>
                  <a:gd name="connsiteX2" fmla="*/ 281644 w 474348"/>
                  <a:gd name="connsiteY2" fmla="*/ 23812 h 669131"/>
                  <a:gd name="connsiteX3" fmla="*/ 474348 w 474348"/>
                  <a:gd name="connsiteY3" fmla="*/ 216516 h 669131"/>
                  <a:gd name="connsiteX4" fmla="*/ 474348 w 474348"/>
                  <a:gd name="connsiteY4" fmla="*/ 669131 h 669131"/>
                  <a:gd name="connsiteX5" fmla="*/ 474348 w 474348"/>
                  <a:gd name="connsiteY5" fmla="*/ 669131 h 669131"/>
                  <a:gd name="connsiteX6" fmla="*/ 248129 w 474348"/>
                  <a:gd name="connsiteY6" fmla="*/ 669131 h 669131"/>
                  <a:gd name="connsiteX7" fmla="*/ 0 w 474348"/>
                  <a:gd name="connsiteY7" fmla="*/ 669131 h 669131"/>
                  <a:gd name="connsiteX8" fmla="*/ 0 w 474348"/>
                  <a:gd name="connsiteY8" fmla="*/ 669131 h 669131"/>
                  <a:gd name="connsiteX9" fmla="*/ 0 w 474348"/>
                  <a:gd name="connsiteY9" fmla="*/ 216516 h 669131"/>
                  <a:gd name="connsiteX10" fmla="*/ 192704 w 474348"/>
                  <a:gd name="connsiteY10" fmla="*/ 23812 h 669131"/>
                  <a:gd name="connsiteX0" fmla="*/ 192704 w 474348"/>
                  <a:gd name="connsiteY0" fmla="*/ 23812 h 669131"/>
                  <a:gd name="connsiteX1" fmla="*/ 265690 w 474348"/>
                  <a:gd name="connsiteY1" fmla="*/ 0 h 669131"/>
                  <a:gd name="connsiteX2" fmla="*/ 314250 w 474348"/>
                  <a:gd name="connsiteY2" fmla="*/ 24047 h 669131"/>
                  <a:gd name="connsiteX3" fmla="*/ 474348 w 474348"/>
                  <a:gd name="connsiteY3" fmla="*/ 216516 h 669131"/>
                  <a:gd name="connsiteX4" fmla="*/ 474348 w 474348"/>
                  <a:gd name="connsiteY4" fmla="*/ 669131 h 669131"/>
                  <a:gd name="connsiteX5" fmla="*/ 474348 w 474348"/>
                  <a:gd name="connsiteY5" fmla="*/ 669131 h 669131"/>
                  <a:gd name="connsiteX6" fmla="*/ 248129 w 474348"/>
                  <a:gd name="connsiteY6" fmla="*/ 669131 h 669131"/>
                  <a:gd name="connsiteX7" fmla="*/ 0 w 474348"/>
                  <a:gd name="connsiteY7" fmla="*/ 669131 h 669131"/>
                  <a:gd name="connsiteX8" fmla="*/ 0 w 474348"/>
                  <a:gd name="connsiteY8" fmla="*/ 669131 h 669131"/>
                  <a:gd name="connsiteX9" fmla="*/ 0 w 474348"/>
                  <a:gd name="connsiteY9" fmla="*/ 216516 h 669131"/>
                  <a:gd name="connsiteX10" fmla="*/ 192704 w 474348"/>
                  <a:gd name="connsiteY10" fmla="*/ 23812 h 669131"/>
                  <a:gd name="connsiteX0" fmla="*/ 192704 w 474348"/>
                  <a:gd name="connsiteY0" fmla="*/ 23812 h 669131"/>
                  <a:gd name="connsiteX1" fmla="*/ 265690 w 474348"/>
                  <a:gd name="connsiteY1" fmla="*/ 0 h 669131"/>
                  <a:gd name="connsiteX2" fmla="*/ 314250 w 474348"/>
                  <a:gd name="connsiteY2" fmla="*/ 24047 h 669131"/>
                  <a:gd name="connsiteX3" fmla="*/ 474348 w 474348"/>
                  <a:gd name="connsiteY3" fmla="*/ 216516 h 669131"/>
                  <a:gd name="connsiteX4" fmla="*/ 474348 w 474348"/>
                  <a:gd name="connsiteY4" fmla="*/ 669131 h 669131"/>
                  <a:gd name="connsiteX5" fmla="*/ 474348 w 474348"/>
                  <a:gd name="connsiteY5" fmla="*/ 669131 h 669131"/>
                  <a:gd name="connsiteX6" fmla="*/ 248129 w 474348"/>
                  <a:gd name="connsiteY6" fmla="*/ 669131 h 669131"/>
                  <a:gd name="connsiteX7" fmla="*/ 0 w 474348"/>
                  <a:gd name="connsiteY7" fmla="*/ 669131 h 669131"/>
                  <a:gd name="connsiteX8" fmla="*/ 0 w 474348"/>
                  <a:gd name="connsiteY8" fmla="*/ 669131 h 669131"/>
                  <a:gd name="connsiteX9" fmla="*/ 0 w 474348"/>
                  <a:gd name="connsiteY9" fmla="*/ 216516 h 669131"/>
                  <a:gd name="connsiteX10" fmla="*/ 192704 w 474348"/>
                  <a:gd name="connsiteY10" fmla="*/ 23812 h 669131"/>
                  <a:gd name="connsiteX0" fmla="*/ 192704 w 474348"/>
                  <a:gd name="connsiteY0" fmla="*/ 23812 h 669131"/>
                  <a:gd name="connsiteX1" fmla="*/ 265690 w 474348"/>
                  <a:gd name="connsiteY1" fmla="*/ 0 h 669131"/>
                  <a:gd name="connsiteX2" fmla="*/ 314250 w 474348"/>
                  <a:gd name="connsiteY2" fmla="*/ 24047 h 669131"/>
                  <a:gd name="connsiteX3" fmla="*/ 474348 w 474348"/>
                  <a:gd name="connsiteY3" fmla="*/ 216516 h 669131"/>
                  <a:gd name="connsiteX4" fmla="*/ 474348 w 474348"/>
                  <a:gd name="connsiteY4" fmla="*/ 669131 h 669131"/>
                  <a:gd name="connsiteX5" fmla="*/ 474348 w 474348"/>
                  <a:gd name="connsiteY5" fmla="*/ 669131 h 669131"/>
                  <a:gd name="connsiteX6" fmla="*/ 248129 w 474348"/>
                  <a:gd name="connsiteY6" fmla="*/ 669131 h 669131"/>
                  <a:gd name="connsiteX7" fmla="*/ 0 w 474348"/>
                  <a:gd name="connsiteY7" fmla="*/ 669131 h 669131"/>
                  <a:gd name="connsiteX8" fmla="*/ 0 w 474348"/>
                  <a:gd name="connsiteY8" fmla="*/ 669131 h 669131"/>
                  <a:gd name="connsiteX9" fmla="*/ 0 w 474348"/>
                  <a:gd name="connsiteY9" fmla="*/ 216516 h 669131"/>
                  <a:gd name="connsiteX10" fmla="*/ 192704 w 474348"/>
                  <a:gd name="connsiteY10" fmla="*/ 23812 h 669131"/>
                  <a:gd name="connsiteX0" fmla="*/ 174282 w 474348"/>
                  <a:gd name="connsiteY0" fmla="*/ 23596 h 669131"/>
                  <a:gd name="connsiteX1" fmla="*/ 265690 w 474348"/>
                  <a:gd name="connsiteY1" fmla="*/ 0 h 669131"/>
                  <a:gd name="connsiteX2" fmla="*/ 314250 w 474348"/>
                  <a:gd name="connsiteY2" fmla="*/ 24047 h 669131"/>
                  <a:gd name="connsiteX3" fmla="*/ 474348 w 474348"/>
                  <a:gd name="connsiteY3" fmla="*/ 216516 h 669131"/>
                  <a:gd name="connsiteX4" fmla="*/ 474348 w 474348"/>
                  <a:gd name="connsiteY4" fmla="*/ 669131 h 669131"/>
                  <a:gd name="connsiteX5" fmla="*/ 474348 w 474348"/>
                  <a:gd name="connsiteY5" fmla="*/ 669131 h 669131"/>
                  <a:gd name="connsiteX6" fmla="*/ 248129 w 474348"/>
                  <a:gd name="connsiteY6" fmla="*/ 669131 h 669131"/>
                  <a:gd name="connsiteX7" fmla="*/ 0 w 474348"/>
                  <a:gd name="connsiteY7" fmla="*/ 669131 h 669131"/>
                  <a:gd name="connsiteX8" fmla="*/ 0 w 474348"/>
                  <a:gd name="connsiteY8" fmla="*/ 669131 h 669131"/>
                  <a:gd name="connsiteX9" fmla="*/ 0 w 474348"/>
                  <a:gd name="connsiteY9" fmla="*/ 216516 h 669131"/>
                  <a:gd name="connsiteX10" fmla="*/ 174282 w 474348"/>
                  <a:gd name="connsiteY10" fmla="*/ 23596 h 669131"/>
                  <a:gd name="connsiteX0" fmla="*/ 174282 w 474348"/>
                  <a:gd name="connsiteY0" fmla="*/ 24619 h 670154"/>
                  <a:gd name="connsiteX1" fmla="*/ 216121 w 474348"/>
                  <a:gd name="connsiteY1" fmla="*/ 0 h 670154"/>
                  <a:gd name="connsiteX2" fmla="*/ 314250 w 474348"/>
                  <a:gd name="connsiteY2" fmla="*/ 25070 h 670154"/>
                  <a:gd name="connsiteX3" fmla="*/ 474348 w 474348"/>
                  <a:gd name="connsiteY3" fmla="*/ 217539 h 670154"/>
                  <a:gd name="connsiteX4" fmla="*/ 474348 w 474348"/>
                  <a:gd name="connsiteY4" fmla="*/ 670154 h 670154"/>
                  <a:gd name="connsiteX5" fmla="*/ 474348 w 474348"/>
                  <a:gd name="connsiteY5" fmla="*/ 670154 h 670154"/>
                  <a:gd name="connsiteX6" fmla="*/ 248129 w 474348"/>
                  <a:gd name="connsiteY6" fmla="*/ 670154 h 670154"/>
                  <a:gd name="connsiteX7" fmla="*/ 0 w 474348"/>
                  <a:gd name="connsiteY7" fmla="*/ 670154 h 670154"/>
                  <a:gd name="connsiteX8" fmla="*/ 0 w 474348"/>
                  <a:gd name="connsiteY8" fmla="*/ 670154 h 670154"/>
                  <a:gd name="connsiteX9" fmla="*/ 0 w 474348"/>
                  <a:gd name="connsiteY9" fmla="*/ 217539 h 670154"/>
                  <a:gd name="connsiteX10" fmla="*/ 174282 w 474348"/>
                  <a:gd name="connsiteY10" fmla="*/ 24619 h 670154"/>
                  <a:gd name="connsiteX0" fmla="*/ 174282 w 474348"/>
                  <a:gd name="connsiteY0" fmla="*/ 24619 h 670154"/>
                  <a:gd name="connsiteX1" fmla="*/ 216121 w 474348"/>
                  <a:gd name="connsiteY1" fmla="*/ 0 h 670154"/>
                  <a:gd name="connsiteX2" fmla="*/ 314250 w 474348"/>
                  <a:gd name="connsiteY2" fmla="*/ 25070 h 670154"/>
                  <a:gd name="connsiteX3" fmla="*/ 474348 w 474348"/>
                  <a:gd name="connsiteY3" fmla="*/ 217539 h 670154"/>
                  <a:gd name="connsiteX4" fmla="*/ 474348 w 474348"/>
                  <a:gd name="connsiteY4" fmla="*/ 670154 h 670154"/>
                  <a:gd name="connsiteX5" fmla="*/ 474348 w 474348"/>
                  <a:gd name="connsiteY5" fmla="*/ 670154 h 670154"/>
                  <a:gd name="connsiteX6" fmla="*/ 248129 w 474348"/>
                  <a:gd name="connsiteY6" fmla="*/ 670154 h 670154"/>
                  <a:gd name="connsiteX7" fmla="*/ 0 w 474348"/>
                  <a:gd name="connsiteY7" fmla="*/ 670154 h 670154"/>
                  <a:gd name="connsiteX8" fmla="*/ 0 w 474348"/>
                  <a:gd name="connsiteY8" fmla="*/ 670154 h 670154"/>
                  <a:gd name="connsiteX9" fmla="*/ 0 w 474348"/>
                  <a:gd name="connsiteY9" fmla="*/ 217539 h 670154"/>
                  <a:gd name="connsiteX10" fmla="*/ 174282 w 474348"/>
                  <a:gd name="connsiteY10" fmla="*/ 24619 h 670154"/>
                  <a:gd name="connsiteX0" fmla="*/ 174282 w 474348"/>
                  <a:gd name="connsiteY0" fmla="*/ 24619 h 670154"/>
                  <a:gd name="connsiteX1" fmla="*/ 216121 w 474348"/>
                  <a:gd name="connsiteY1" fmla="*/ 0 h 670154"/>
                  <a:gd name="connsiteX2" fmla="*/ 314250 w 474348"/>
                  <a:gd name="connsiteY2" fmla="*/ 25070 h 670154"/>
                  <a:gd name="connsiteX3" fmla="*/ 474348 w 474348"/>
                  <a:gd name="connsiteY3" fmla="*/ 217539 h 670154"/>
                  <a:gd name="connsiteX4" fmla="*/ 474348 w 474348"/>
                  <a:gd name="connsiteY4" fmla="*/ 670154 h 670154"/>
                  <a:gd name="connsiteX5" fmla="*/ 474348 w 474348"/>
                  <a:gd name="connsiteY5" fmla="*/ 670154 h 670154"/>
                  <a:gd name="connsiteX6" fmla="*/ 248129 w 474348"/>
                  <a:gd name="connsiteY6" fmla="*/ 670154 h 670154"/>
                  <a:gd name="connsiteX7" fmla="*/ 0 w 474348"/>
                  <a:gd name="connsiteY7" fmla="*/ 670154 h 670154"/>
                  <a:gd name="connsiteX8" fmla="*/ 0 w 474348"/>
                  <a:gd name="connsiteY8" fmla="*/ 670154 h 670154"/>
                  <a:gd name="connsiteX9" fmla="*/ 0 w 474348"/>
                  <a:gd name="connsiteY9" fmla="*/ 217539 h 670154"/>
                  <a:gd name="connsiteX10" fmla="*/ 174282 w 474348"/>
                  <a:gd name="connsiteY10" fmla="*/ 24619 h 670154"/>
                  <a:gd name="connsiteX0" fmla="*/ 174282 w 474348"/>
                  <a:gd name="connsiteY0" fmla="*/ 24619 h 670154"/>
                  <a:gd name="connsiteX1" fmla="*/ 216121 w 474348"/>
                  <a:gd name="connsiteY1" fmla="*/ 0 h 670154"/>
                  <a:gd name="connsiteX2" fmla="*/ 314250 w 474348"/>
                  <a:gd name="connsiteY2" fmla="*/ 25070 h 670154"/>
                  <a:gd name="connsiteX3" fmla="*/ 474348 w 474348"/>
                  <a:gd name="connsiteY3" fmla="*/ 217539 h 670154"/>
                  <a:gd name="connsiteX4" fmla="*/ 474348 w 474348"/>
                  <a:gd name="connsiteY4" fmla="*/ 670154 h 670154"/>
                  <a:gd name="connsiteX5" fmla="*/ 474348 w 474348"/>
                  <a:gd name="connsiteY5" fmla="*/ 670154 h 670154"/>
                  <a:gd name="connsiteX6" fmla="*/ 248129 w 474348"/>
                  <a:gd name="connsiteY6" fmla="*/ 670154 h 670154"/>
                  <a:gd name="connsiteX7" fmla="*/ 0 w 474348"/>
                  <a:gd name="connsiteY7" fmla="*/ 670154 h 670154"/>
                  <a:gd name="connsiteX8" fmla="*/ 0 w 474348"/>
                  <a:gd name="connsiteY8" fmla="*/ 670154 h 670154"/>
                  <a:gd name="connsiteX9" fmla="*/ 0 w 474348"/>
                  <a:gd name="connsiteY9" fmla="*/ 217539 h 670154"/>
                  <a:gd name="connsiteX10" fmla="*/ 174282 w 474348"/>
                  <a:gd name="connsiteY10" fmla="*/ 24619 h 670154"/>
                  <a:gd name="connsiteX0" fmla="*/ 148557 w 474348"/>
                  <a:gd name="connsiteY0" fmla="*/ 27264 h 670154"/>
                  <a:gd name="connsiteX1" fmla="*/ 216121 w 474348"/>
                  <a:gd name="connsiteY1" fmla="*/ 0 h 670154"/>
                  <a:gd name="connsiteX2" fmla="*/ 314250 w 474348"/>
                  <a:gd name="connsiteY2" fmla="*/ 25070 h 670154"/>
                  <a:gd name="connsiteX3" fmla="*/ 474348 w 474348"/>
                  <a:gd name="connsiteY3" fmla="*/ 217539 h 670154"/>
                  <a:gd name="connsiteX4" fmla="*/ 474348 w 474348"/>
                  <a:gd name="connsiteY4" fmla="*/ 670154 h 670154"/>
                  <a:gd name="connsiteX5" fmla="*/ 474348 w 474348"/>
                  <a:gd name="connsiteY5" fmla="*/ 670154 h 670154"/>
                  <a:gd name="connsiteX6" fmla="*/ 248129 w 474348"/>
                  <a:gd name="connsiteY6" fmla="*/ 670154 h 670154"/>
                  <a:gd name="connsiteX7" fmla="*/ 0 w 474348"/>
                  <a:gd name="connsiteY7" fmla="*/ 670154 h 670154"/>
                  <a:gd name="connsiteX8" fmla="*/ 0 w 474348"/>
                  <a:gd name="connsiteY8" fmla="*/ 670154 h 670154"/>
                  <a:gd name="connsiteX9" fmla="*/ 0 w 474348"/>
                  <a:gd name="connsiteY9" fmla="*/ 217539 h 670154"/>
                  <a:gd name="connsiteX10" fmla="*/ 148557 w 474348"/>
                  <a:gd name="connsiteY10" fmla="*/ 27264 h 670154"/>
                  <a:gd name="connsiteX0" fmla="*/ 148557 w 474348"/>
                  <a:gd name="connsiteY0" fmla="*/ 20950 h 663840"/>
                  <a:gd name="connsiteX1" fmla="*/ 214238 w 474348"/>
                  <a:gd name="connsiteY1" fmla="*/ 0 h 663840"/>
                  <a:gd name="connsiteX2" fmla="*/ 314250 w 474348"/>
                  <a:gd name="connsiteY2" fmla="*/ 18756 h 663840"/>
                  <a:gd name="connsiteX3" fmla="*/ 474348 w 474348"/>
                  <a:gd name="connsiteY3" fmla="*/ 211225 h 663840"/>
                  <a:gd name="connsiteX4" fmla="*/ 474348 w 474348"/>
                  <a:gd name="connsiteY4" fmla="*/ 663840 h 663840"/>
                  <a:gd name="connsiteX5" fmla="*/ 474348 w 474348"/>
                  <a:gd name="connsiteY5" fmla="*/ 663840 h 663840"/>
                  <a:gd name="connsiteX6" fmla="*/ 248129 w 474348"/>
                  <a:gd name="connsiteY6" fmla="*/ 663840 h 663840"/>
                  <a:gd name="connsiteX7" fmla="*/ 0 w 474348"/>
                  <a:gd name="connsiteY7" fmla="*/ 663840 h 663840"/>
                  <a:gd name="connsiteX8" fmla="*/ 0 w 474348"/>
                  <a:gd name="connsiteY8" fmla="*/ 663840 h 663840"/>
                  <a:gd name="connsiteX9" fmla="*/ 0 w 474348"/>
                  <a:gd name="connsiteY9" fmla="*/ 211225 h 663840"/>
                  <a:gd name="connsiteX10" fmla="*/ 148557 w 474348"/>
                  <a:gd name="connsiteY10" fmla="*/ 20950 h 663840"/>
                  <a:gd name="connsiteX0" fmla="*/ 148557 w 474348"/>
                  <a:gd name="connsiteY0" fmla="*/ 20950 h 663840"/>
                  <a:gd name="connsiteX1" fmla="*/ 214238 w 474348"/>
                  <a:gd name="connsiteY1" fmla="*/ 0 h 663840"/>
                  <a:gd name="connsiteX2" fmla="*/ 314250 w 474348"/>
                  <a:gd name="connsiteY2" fmla="*/ 18756 h 663840"/>
                  <a:gd name="connsiteX3" fmla="*/ 474348 w 474348"/>
                  <a:gd name="connsiteY3" fmla="*/ 211225 h 663840"/>
                  <a:gd name="connsiteX4" fmla="*/ 474348 w 474348"/>
                  <a:gd name="connsiteY4" fmla="*/ 663840 h 663840"/>
                  <a:gd name="connsiteX5" fmla="*/ 474348 w 474348"/>
                  <a:gd name="connsiteY5" fmla="*/ 663840 h 663840"/>
                  <a:gd name="connsiteX6" fmla="*/ 248129 w 474348"/>
                  <a:gd name="connsiteY6" fmla="*/ 663840 h 663840"/>
                  <a:gd name="connsiteX7" fmla="*/ 0 w 474348"/>
                  <a:gd name="connsiteY7" fmla="*/ 663840 h 663840"/>
                  <a:gd name="connsiteX8" fmla="*/ 0 w 474348"/>
                  <a:gd name="connsiteY8" fmla="*/ 663840 h 663840"/>
                  <a:gd name="connsiteX9" fmla="*/ 0 w 474348"/>
                  <a:gd name="connsiteY9" fmla="*/ 211225 h 663840"/>
                  <a:gd name="connsiteX10" fmla="*/ 148557 w 474348"/>
                  <a:gd name="connsiteY10" fmla="*/ 20950 h 663840"/>
                  <a:gd name="connsiteX0" fmla="*/ 148557 w 474348"/>
                  <a:gd name="connsiteY0" fmla="*/ 20950 h 663840"/>
                  <a:gd name="connsiteX1" fmla="*/ 214238 w 474348"/>
                  <a:gd name="connsiteY1" fmla="*/ 0 h 663840"/>
                  <a:gd name="connsiteX2" fmla="*/ 314250 w 474348"/>
                  <a:gd name="connsiteY2" fmla="*/ 18756 h 663840"/>
                  <a:gd name="connsiteX3" fmla="*/ 474348 w 474348"/>
                  <a:gd name="connsiteY3" fmla="*/ 211225 h 663840"/>
                  <a:gd name="connsiteX4" fmla="*/ 474348 w 474348"/>
                  <a:gd name="connsiteY4" fmla="*/ 663840 h 663840"/>
                  <a:gd name="connsiteX5" fmla="*/ 474348 w 474348"/>
                  <a:gd name="connsiteY5" fmla="*/ 663840 h 663840"/>
                  <a:gd name="connsiteX6" fmla="*/ 248129 w 474348"/>
                  <a:gd name="connsiteY6" fmla="*/ 663840 h 663840"/>
                  <a:gd name="connsiteX7" fmla="*/ 0 w 474348"/>
                  <a:gd name="connsiteY7" fmla="*/ 663840 h 663840"/>
                  <a:gd name="connsiteX8" fmla="*/ 0 w 474348"/>
                  <a:gd name="connsiteY8" fmla="*/ 663840 h 663840"/>
                  <a:gd name="connsiteX9" fmla="*/ 0 w 474348"/>
                  <a:gd name="connsiteY9" fmla="*/ 211225 h 663840"/>
                  <a:gd name="connsiteX10" fmla="*/ 148557 w 474348"/>
                  <a:gd name="connsiteY10" fmla="*/ 20950 h 663840"/>
                  <a:gd name="connsiteX0" fmla="*/ 144178 w 474348"/>
                  <a:gd name="connsiteY0" fmla="*/ 22667 h 663840"/>
                  <a:gd name="connsiteX1" fmla="*/ 214238 w 474348"/>
                  <a:gd name="connsiteY1" fmla="*/ 0 h 663840"/>
                  <a:gd name="connsiteX2" fmla="*/ 314250 w 474348"/>
                  <a:gd name="connsiteY2" fmla="*/ 18756 h 663840"/>
                  <a:gd name="connsiteX3" fmla="*/ 474348 w 474348"/>
                  <a:gd name="connsiteY3" fmla="*/ 211225 h 663840"/>
                  <a:gd name="connsiteX4" fmla="*/ 474348 w 474348"/>
                  <a:gd name="connsiteY4" fmla="*/ 663840 h 663840"/>
                  <a:gd name="connsiteX5" fmla="*/ 474348 w 474348"/>
                  <a:gd name="connsiteY5" fmla="*/ 663840 h 663840"/>
                  <a:gd name="connsiteX6" fmla="*/ 248129 w 474348"/>
                  <a:gd name="connsiteY6" fmla="*/ 663840 h 663840"/>
                  <a:gd name="connsiteX7" fmla="*/ 0 w 474348"/>
                  <a:gd name="connsiteY7" fmla="*/ 663840 h 663840"/>
                  <a:gd name="connsiteX8" fmla="*/ 0 w 474348"/>
                  <a:gd name="connsiteY8" fmla="*/ 663840 h 663840"/>
                  <a:gd name="connsiteX9" fmla="*/ 0 w 474348"/>
                  <a:gd name="connsiteY9" fmla="*/ 211225 h 663840"/>
                  <a:gd name="connsiteX10" fmla="*/ 144178 w 474348"/>
                  <a:gd name="connsiteY10" fmla="*/ 22667 h 663840"/>
                  <a:gd name="connsiteX0" fmla="*/ 144178 w 474348"/>
                  <a:gd name="connsiteY0" fmla="*/ 22667 h 663840"/>
                  <a:gd name="connsiteX1" fmla="*/ 214238 w 474348"/>
                  <a:gd name="connsiteY1" fmla="*/ 0 h 663840"/>
                  <a:gd name="connsiteX2" fmla="*/ 314250 w 474348"/>
                  <a:gd name="connsiteY2" fmla="*/ 18756 h 663840"/>
                  <a:gd name="connsiteX3" fmla="*/ 474348 w 474348"/>
                  <a:gd name="connsiteY3" fmla="*/ 211225 h 663840"/>
                  <a:gd name="connsiteX4" fmla="*/ 474348 w 474348"/>
                  <a:gd name="connsiteY4" fmla="*/ 663840 h 663840"/>
                  <a:gd name="connsiteX5" fmla="*/ 474348 w 474348"/>
                  <a:gd name="connsiteY5" fmla="*/ 663840 h 663840"/>
                  <a:gd name="connsiteX6" fmla="*/ 248129 w 474348"/>
                  <a:gd name="connsiteY6" fmla="*/ 663840 h 663840"/>
                  <a:gd name="connsiteX7" fmla="*/ 0 w 474348"/>
                  <a:gd name="connsiteY7" fmla="*/ 663840 h 663840"/>
                  <a:gd name="connsiteX8" fmla="*/ 0 w 474348"/>
                  <a:gd name="connsiteY8" fmla="*/ 663840 h 663840"/>
                  <a:gd name="connsiteX9" fmla="*/ 0 w 474348"/>
                  <a:gd name="connsiteY9" fmla="*/ 211225 h 663840"/>
                  <a:gd name="connsiteX10" fmla="*/ 144178 w 474348"/>
                  <a:gd name="connsiteY10" fmla="*/ 22667 h 663840"/>
                  <a:gd name="connsiteX0" fmla="*/ 144178 w 474348"/>
                  <a:gd name="connsiteY0" fmla="*/ 22667 h 663840"/>
                  <a:gd name="connsiteX1" fmla="*/ 214238 w 474348"/>
                  <a:gd name="connsiteY1" fmla="*/ 0 h 663840"/>
                  <a:gd name="connsiteX2" fmla="*/ 314250 w 474348"/>
                  <a:gd name="connsiteY2" fmla="*/ 18756 h 663840"/>
                  <a:gd name="connsiteX3" fmla="*/ 474348 w 474348"/>
                  <a:gd name="connsiteY3" fmla="*/ 211225 h 663840"/>
                  <a:gd name="connsiteX4" fmla="*/ 474348 w 474348"/>
                  <a:gd name="connsiteY4" fmla="*/ 663840 h 663840"/>
                  <a:gd name="connsiteX5" fmla="*/ 474348 w 474348"/>
                  <a:gd name="connsiteY5" fmla="*/ 663840 h 663840"/>
                  <a:gd name="connsiteX6" fmla="*/ 248129 w 474348"/>
                  <a:gd name="connsiteY6" fmla="*/ 663840 h 663840"/>
                  <a:gd name="connsiteX7" fmla="*/ 0 w 474348"/>
                  <a:gd name="connsiteY7" fmla="*/ 663840 h 663840"/>
                  <a:gd name="connsiteX8" fmla="*/ 0 w 474348"/>
                  <a:gd name="connsiteY8" fmla="*/ 663840 h 663840"/>
                  <a:gd name="connsiteX9" fmla="*/ 0 w 474348"/>
                  <a:gd name="connsiteY9" fmla="*/ 211225 h 663840"/>
                  <a:gd name="connsiteX10" fmla="*/ 144178 w 474348"/>
                  <a:gd name="connsiteY10" fmla="*/ 22667 h 663840"/>
                  <a:gd name="connsiteX0" fmla="*/ 144178 w 474348"/>
                  <a:gd name="connsiteY0" fmla="*/ 22667 h 663840"/>
                  <a:gd name="connsiteX1" fmla="*/ 214238 w 474348"/>
                  <a:gd name="connsiteY1" fmla="*/ 0 h 663840"/>
                  <a:gd name="connsiteX2" fmla="*/ 314250 w 474348"/>
                  <a:gd name="connsiteY2" fmla="*/ 18756 h 663840"/>
                  <a:gd name="connsiteX3" fmla="*/ 474348 w 474348"/>
                  <a:gd name="connsiteY3" fmla="*/ 211225 h 663840"/>
                  <a:gd name="connsiteX4" fmla="*/ 474348 w 474348"/>
                  <a:gd name="connsiteY4" fmla="*/ 663840 h 663840"/>
                  <a:gd name="connsiteX5" fmla="*/ 474348 w 474348"/>
                  <a:gd name="connsiteY5" fmla="*/ 663840 h 663840"/>
                  <a:gd name="connsiteX6" fmla="*/ 248129 w 474348"/>
                  <a:gd name="connsiteY6" fmla="*/ 663840 h 663840"/>
                  <a:gd name="connsiteX7" fmla="*/ 0 w 474348"/>
                  <a:gd name="connsiteY7" fmla="*/ 663840 h 663840"/>
                  <a:gd name="connsiteX8" fmla="*/ 0 w 474348"/>
                  <a:gd name="connsiteY8" fmla="*/ 663840 h 663840"/>
                  <a:gd name="connsiteX9" fmla="*/ 0 w 474348"/>
                  <a:gd name="connsiteY9" fmla="*/ 211225 h 663840"/>
                  <a:gd name="connsiteX10" fmla="*/ 144178 w 474348"/>
                  <a:gd name="connsiteY10" fmla="*/ 22667 h 6638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74348" h="663840">
                    <a:moveTo>
                      <a:pt x="144178" y="22667"/>
                    </a:moveTo>
                    <a:cubicBezTo>
                      <a:pt x="211732" y="-970"/>
                      <a:pt x="181869" y="7990"/>
                      <a:pt x="214238" y="0"/>
                    </a:cubicBezTo>
                    <a:cubicBezTo>
                      <a:pt x="259321" y="7224"/>
                      <a:pt x="221757" y="369"/>
                      <a:pt x="314250" y="18756"/>
                    </a:cubicBezTo>
                    <a:cubicBezTo>
                      <a:pt x="399877" y="51074"/>
                      <a:pt x="474348" y="104798"/>
                      <a:pt x="474348" y="211225"/>
                    </a:cubicBezTo>
                    <a:lnTo>
                      <a:pt x="474348" y="663840"/>
                    </a:lnTo>
                    <a:lnTo>
                      <a:pt x="474348" y="663840"/>
                    </a:lnTo>
                    <a:lnTo>
                      <a:pt x="248129" y="663840"/>
                    </a:lnTo>
                    <a:lnTo>
                      <a:pt x="0" y="663840"/>
                    </a:lnTo>
                    <a:lnTo>
                      <a:pt x="0" y="663840"/>
                    </a:lnTo>
                    <a:lnTo>
                      <a:pt x="0" y="211225"/>
                    </a:lnTo>
                    <a:cubicBezTo>
                      <a:pt x="0" y="104798"/>
                      <a:pt x="80700" y="56026"/>
                      <a:pt x="144178" y="22667"/>
                    </a:cubicBezTo>
                    <a:close/>
                  </a:path>
                </a:pathLst>
              </a:cu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grpSp>
      </p:grpSp>
      <p:sp>
        <p:nvSpPr>
          <p:cNvPr id="134" name="Oval 133"/>
          <p:cNvSpPr/>
          <p:nvPr/>
        </p:nvSpPr>
        <p:spPr>
          <a:xfrm flipH="1">
            <a:off x="2973027" y="2926930"/>
            <a:ext cx="189078" cy="189077"/>
          </a:xfrm>
          <a:prstGeom prst="ellipse">
            <a:avLst/>
          </a:prstGeom>
          <a:solidFill>
            <a:schemeClr val="bg1"/>
          </a:solidFill>
          <a:ln w="50800">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35" name="Picture 134"/>
          <p:cNvPicPr>
            <a:picLocks noChangeAspect="1"/>
          </p:cNvPicPr>
          <p:nvPr/>
        </p:nvPicPr>
        <p:blipFill>
          <a:blip r:embed="rId9" cstate="print">
            <a:extLst>
              <a:ext uri="{BEBA8EAE-BF5A-486C-A8C5-ECC9F3942E4B}">
                <a14:imgProps xmlns:a14="http://schemas.microsoft.com/office/drawing/2010/main">
                  <a14:imgLayer r:embed="rId10">
                    <a14:imgEffect>
                      <a14:artisticBlur/>
                    </a14:imgEffect>
                  </a14:imgLayer>
                </a14:imgProps>
              </a:ext>
              <a:ext uri="{28A0092B-C50C-407E-A947-70E740481C1C}">
                <a14:useLocalDpi xmlns:a14="http://schemas.microsoft.com/office/drawing/2010/main" val="0"/>
              </a:ext>
            </a:extLst>
          </a:blip>
          <a:stretch>
            <a:fillRect/>
          </a:stretch>
        </p:blipFill>
        <p:spPr>
          <a:xfrm>
            <a:off x="1127422" y="3560393"/>
            <a:ext cx="732153" cy="732153"/>
          </a:xfrm>
          <a:prstGeom prst="rect">
            <a:avLst/>
          </a:prstGeom>
          <a:noFill/>
          <a:ln>
            <a:noFill/>
          </a:ln>
          <a:effectLst>
            <a:softEdge rad="50800"/>
          </a:effectLst>
        </p:spPr>
      </p:pic>
      <p:sp>
        <p:nvSpPr>
          <p:cNvPr id="136" name="Isosceles Triangle 135"/>
          <p:cNvSpPr/>
          <p:nvPr/>
        </p:nvSpPr>
        <p:spPr>
          <a:xfrm flipH="1">
            <a:off x="1828800" y="2875428"/>
            <a:ext cx="128280" cy="1314170"/>
          </a:xfrm>
          <a:prstGeom prst="triangle">
            <a:avLst>
              <a:gd name="adj" fmla="val 53309"/>
            </a:avLst>
          </a:prstGeom>
          <a:solidFill>
            <a:schemeClr val="bg1"/>
          </a:solidFill>
          <a:ln>
            <a:noFill/>
          </a:ln>
          <a:effectLst>
            <a:outerShdw blurRad="76200" dir="13500000" sy="23000" kx="1200000" algn="br" rotWithShape="0">
              <a:prstClr val="black">
                <a:alpha val="5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37" name="Group 136"/>
          <p:cNvGrpSpPr/>
          <p:nvPr/>
        </p:nvGrpSpPr>
        <p:grpSpPr>
          <a:xfrm>
            <a:off x="1099447" y="2131745"/>
            <a:ext cx="1564918" cy="1564918"/>
            <a:chOff x="6430508" y="1810678"/>
            <a:chExt cx="2108839" cy="2108839"/>
          </a:xfrm>
        </p:grpSpPr>
        <p:grpSp>
          <p:nvGrpSpPr>
            <p:cNvPr id="138" name="Group 137"/>
            <p:cNvGrpSpPr/>
            <p:nvPr/>
          </p:nvGrpSpPr>
          <p:grpSpPr>
            <a:xfrm rot="900000">
              <a:off x="6430508" y="2814389"/>
              <a:ext cx="2108839" cy="101418"/>
              <a:chOff x="6437694" y="2814389"/>
              <a:chExt cx="2108839" cy="101418"/>
            </a:xfrm>
          </p:grpSpPr>
          <p:sp>
            <p:nvSpPr>
              <p:cNvPr id="145" name="Round Same Side Corner Rectangle 11"/>
              <p:cNvSpPr/>
              <p:nvPr/>
            </p:nvSpPr>
            <p:spPr>
              <a:xfrm rot="5400000" flipH="1">
                <a:off x="7969911" y="2339184"/>
                <a:ext cx="101418" cy="1051827"/>
              </a:xfrm>
              <a:custGeom>
                <a:avLst/>
                <a:gdLst>
                  <a:gd name="connsiteX0" fmla="*/ 192704 w 474348"/>
                  <a:gd name="connsiteY0" fmla="*/ 0 h 645319"/>
                  <a:gd name="connsiteX1" fmla="*/ 281644 w 474348"/>
                  <a:gd name="connsiteY1" fmla="*/ 0 h 645319"/>
                  <a:gd name="connsiteX2" fmla="*/ 474348 w 474348"/>
                  <a:gd name="connsiteY2" fmla="*/ 192704 h 645319"/>
                  <a:gd name="connsiteX3" fmla="*/ 474348 w 474348"/>
                  <a:gd name="connsiteY3" fmla="*/ 645319 h 645319"/>
                  <a:gd name="connsiteX4" fmla="*/ 474348 w 474348"/>
                  <a:gd name="connsiteY4" fmla="*/ 645319 h 645319"/>
                  <a:gd name="connsiteX5" fmla="*/ 0 w 474348"/>
                  <a:gd name="connsiteY5" fmla="*/ 645319 h 645319"/>
                  <a:gd name="connsiteX6" fmla="*/ 0 w 474348"/>
                  <a:gd name="connsiteY6" fmla="*/ 645319 h 645319"/>
                  <a:gd name="connsiteX7" fmla="*/ 0 w 474348"/>
                  <a:gd name="connsiteY7" fmla="*/ 192704 h 645319"/>
                  <a:gd name="connsiteX8" fmla="*/ 192704 w 474348"/>
                  <a:gd name="connsiteY8" fmla="*/ 0 h 645319"/>
                  <a:gd name="connsiteX0" fmla="*/ 192704 w 474348"/>
                  <a:gd name="connsiteY0" fmla="*/ 0 h 645319"/>
                  <a:gd name="connsiteX1" fmla="*/ 281644 w 474348"/>
                  <a:gd name="connsiteY1" fmla="*/ 0 h 645319"/>
                  <a:gd name="connsiteX2" fmla="*/ 474348 w 474348"/>
                  <a:gd name="connsiteY2" fmla="*/ 192704 h 645319"/>
                  <a:gd name="connsiteX3" fmla="*/ 474348 w 474348"/>
                  <a:gd name="connsiteY3" fmla="*/ 645319 h 645319"/>
                  <a:gd name="connsiteX4" fmla="*/ 474348 w 474348"/>
                  <a:gd name="connsiteY4" fmla="*/ 645319 h 645319"/>
                  <a:gd name="connsiteX5" fmla="*/ 248129 w 474348"/>
                  <a:gd name="connsiteY5" fmla="*/ 645319 h 645319"/>
                  <a:gd name="connsiteX6" fmla="*/ 0 w 474348"/>
                  <a:gd name="connsiteY6" fmla="*/ 645319 h 645319"/>
                  <a:gd name="connsiteX7" fmla="*/ 0 w 474348"/>
                  <a:gd name="connsiteY7" fmla="*/ 645319 h 645319"/>
                  <a:gd name="connsiteX8" fmla="*/ 0 w 474348"/>
                  <a:gd name="connsiteY8" fmla="*/ 192704 h 645319"/>
                  <a:gd name="connsiteX9" fmla="*/ 192704 w 474348"/>
                  <a:gd name="connsiteY9" fmla="*/ 0 h 645319"/>
                  <a:gd name="connsiteX0" fmla="*/ 192704 w 474348"/>
                  <a:gd name="connsiteY0" fmla="*/ 2381 h 647700"/>
                  <a:gd name="connsiteX1" fmla="*/ 240986 w 474348"/>
                  <a:gd name="connsiteY1" fmla="*/ 0 h 647700"/>
                  <a:gd name="connsiteX2" fmla="*/ 281644 w 474348"/>
                  <a:gd name="connsiteY2" fmla="*/ 2381 h 647700"/>
                  <a:gd name="connsiteX3" fmla="*/ 474348 w 474348"/>
                  <a:gd name="connsiteY3" fmla="*/ 195085 h 647700"/>
                  <a:gd name="connsiteX4" fmla="*/ 474348 w 474348"/>
                  <a:gd name="connsiteY4" fmla="*/ 647700 h 647700"/>
                  <a:gd name="connsiteX5" fmla="*/ 474348 w 474348"/>
                  <a:gd name="connsiteY5" fmla="*/ 647700 h 647700"/>
                  <a:gd name="connsiteX6" fmla="*/ 248129 w 474348"/>
                  <a:gd name="connsiteY6" fmla="*/ 647700 h 647700"/>
                  <a:gd name="connsiteX7" fmla="*/ 0 w 474348"/>
                  <a:gd name="connsiteY7" fmla="*/ 647700 h 647700"/>
                  <a:gd name="connsiteX8" fmla="*/ 0 w 474348"/>
                  <a:gd name="connsiteY8" fmla="*/ 647700 h 647700"/>
                  <a:gd name="connsiteX9" fmla="*/ 0 w 474348"/>
                  <a:gd name="connsiteY9" fmla="*/ 195085 h 647700"/>
                  <a:gd name="connsiteX10" fmla="*/ 192704 w 474348"/>
                  <a:gd name="connsiteY10" fmla="*/ 2381 h 647700"/>
                  <a:gd name="connsiteX0" fmla="*/ 192704 w 474348"/>
                  <a:gd name="connsiteY0" fmla="*/ 42862 h 688181"/>
                  <a:gd name="connsiteX1" fmla="*/ 240986 w 474348"/>
                  <a:gd name="connsiteY1" fmla="*/ 0 h 688181"/>
                  <a:gd name="connsiteX2" fmla="*/ 281644 w 474348"/>
                  <a:gd name="connsiteY2" fmla="*/ 42862 h 688181"/>
                  <a:gd name="connsiteX3" fmla="*/ 474348 w 474348"/>
                  <a:gd name="connsiteY3" fmla="*/ 235566 h 688181"/>
                  <a:gd name="connsiteX4" fmla="*/ 474348 w 474348"/>
                  <a:gd name="connsiteY4" fmla="*/ 688181 h 688181"/>
                  <a:gd name="connsiteX5" fmla="*/ 474348 w 474348"/>
                  <a:gd name="connsiteY5" fmla="*/ 688181 h 688181"/>
                  <a:gd name="connsiteX6" fmla="*/ 248129 w 474348"/>
                  <a:gd name="connsiteY6" fmla="*/ 688181 h 688181"/>
                  <a:gd name="connsiteX7" fmla="*/ 0 w 474348"/>
                  <a:gd name="connsiteY7" fmla="*/ 688181 h 688181"/>
                  <a:gd name="connsiteX8" fmla="*/ 0 w 474348"/>
                  <a:gd name="connsiteY8" fmla="*/ 688181 h 688181"/>
                  <a:gd name="connsiteX9" fmla="*/ 0 w 474348"/>
                  <a:gd name="connsiteY9" fmla="*/ 235566 h 688181"/>
                  <a:gd name="connsiteX10" fmla="*/ 192704 w 474348"/>
                  <a:gd name="connsiteY10" fmla="*/ 42862 h 688181"/>
                  <a:gd name="connsiteX0" fmla="*/ 192704 w 474348"/>
                  <a:gd name="connsiteY0" fmla="*/ 23812 h 669131"/>
                  <a:gd name="connsiteX1" fmla="*/ 265690 w 474348"/>
                  <a:gd name="connsiteY1" fmla="*/ 0 h 669131"/>
                  <a:gd name="connsiteX2" fmla="*/ 281644 w 474348"/>
                  <a:gd name="connsiteY2" fmla="*/ 23812 h 669131"/>
                  <a:gd name="connsiteX3" fmla="*/ 474348 w 474348"/>
                  <a:gd name="connsiteY3" fmla="*/ 216516 h 669131"/>
                  <a:gd name="connsiteX4" fmla="*/ 474348 w 474348"/>
                  <a:gd name="connsiteY4" fmla="*/ 669131 h 669131"/>
                  <a:gd name="connsiteX5" fmla="*/ 474348 w 474348"/>
                  <a:gd name="connsiteY5" fmla="*/ 669131 h 669131"/>
                  <a:gd name="connsiteX6" fmla="*/ 248129 w 474348"/>
                  <a:gd name="connsiteY6" fmla="*/ 669131 h 669131"/>
                  <a:gd name="connsiteX7" fmla="*/ 0 w 474348"/>
                  <a:gd name="connsiteY7" fmla="*/ 669131 h 669131"/>
                  <a:gd name="connsiteX8" fmla="*/ 0 w 474348"/>
                  <a:gd name="connsiteY8" fmla="*/ 669131 h 669131"/>
                  <a:gd name="connsiteX9" fmla="*/ 0 w 474348"/>
                  <a:gd name="connsiteY9" fmla="*/ 216516 h 669131"/>
                  <a:gd name="connsiteX10" fmla="*/ 192704 w 474348"/>
                  <a:gd name="connsiteY10" fmla="*/ 23812 h 669131"/>
                  <a:gd name="connsiteX0" fmla="*/ 192704 w 474348"/>
                  <a:gd name="connsiteY0" fmla="*/ 23812 h 669131"/>
                  <a:gd name="connsiteX1" fmla="*/ 265690 w 474348"/>
                  <a:gd name="connsiteY1" fmla="*/ 0 h 669131"/>
                  <a:gd name="connsiteX2" fmla="*/ 281644 w 474348"/>
                  <a:gd name="connsiteY2" fmla="*/ 23812 h 669131"/>
                  <a:gd name="connsiteX3" fmla="*/ 474348 w 474348"/>
                  <a:gd name="connsiteY3" fmla="*/ 216516 h 669131"/>
                  <a:gd name="connsiteX4" fmla="*/ 474348 w 474348"/>
                  <a:gd name="connsiteY4" fmla="*/ 669131 h 669131"/>
                  <a:gd name="connsiteX5" fmla="*/ 474348 w 474348"/>
                  <a:gd name="connsiteY5" fmla="*/ 669131 h 669131"/>
                  <a:gd name="connsiteX6" fmla="*/ 248129 w 474348"/>
                  <a:gd name="connsiteY6" fmla="*/ 669131 h 669131"/>
                  <a:gd name="connsiteX7" fmla="*/ 0 w 474348"/>
                  <a:gd name="connsiteY7" fmla="*/ 669131 h 669131"/>
                  <a:gd name="connsiteX8" fmla="*/ 0 w 474348"/>
                  <a:gd name="connsiteY8" fmla="*/ 669131 h 669131"/>
                  <a:gd name="connsiteX9" fmla="*/ 0 w 474348"/>
                  <a:gd name="connsiteY9" fmla="*/ 216516 h 669131"/>
                  <a:gd name="connsiteX10" fmla="*/ 192704 w 474348"/>
                  <a:gd name="connsiteY10" fmla="*/ 23812 h 669131"/>
                  <a:gd name="connsiteX0" fmla="*/ 192704 w 474348"/>
                  <a:gd name="connsiteY0" fmla="*/ 23812 h 669131"/>
                  <a:gd name="connsiteX1" fmla="*/ 265690 w 474348"/>
                  <a:gd name="connsiteY1" fmla="*/ 0 h 669131"/>
                  <a:gd name="connsiteX2" fmla="*/ 281644 w 474348"/>
                  <a:gd name="connsiteY2" fmla="*/ 23812 h 669131"/>
                  <a:gd name="connsiteX3" fmla="*/ 474348 w 474348"/>
                  <a:gd name="connsiteY3" fmla="*/ 216516 h 669131"/>
                  <a:gd name="connsiteX4" fmla="*/ 474348 w 474348"/>
                  <a:gd name="connsiteY4" fmla="*/ 669131 h 669131"/>
                  <a:gd name="connsiteX5" fmla="*/ 474348 w 474348"/>
                  <a:gd name="connsiteY5" fmla="*/ 669131 h 669131"/>
                  <a:gd name="connsiteX6" fmla="*/ 248129 w 474348"/>
                  <a:gd name="connsiteY6" fmla="*/ 669131 h 669131"/>
                  <a:gd name="connsiteX7" fmla="*/ 0 w 474348"/>
                  <a:gd name="connsiteY7" fmla="*/ 669131 h 669131"/>
                  <a:gd name="connsiteX8" fmla="*/ 0 w 474348"/>
                  <a:gd name="connsiteY8" fmla="*/ 669131 h 669131"/>
                  <a:gd name="connsiteX9" fmla="*/ 0 w 474348"/>
                  <a:gd name="connsiteY9" fmla="*/ 216516 h 669131"/>
                  <a:gd name="connsiteX10" fmla="*/ 192704 w 474348"/>
                  <a:gd name="connsiteY10" fmla="*/ 23812 h 669131"/>
                  <a:gd name="connsiteX0" fmla="*/ 192704 w 474348"/>
                  <a:gd name="connsiteY0" fmla="*/ 23812 h 669131"/>
                  <a:gd name="connsiteX1" fmla="*/ 265690 w 474348"/>
                  <a:gd name="connsiteY1" fmla="*/ 0 h 669131"/>
                  <a:gd name="connsiteX2" fmla="*/ 314250 w 474348"/>
                  <a:gd name="connsiteY2" fmla="*/ 24047 h 669131"/>
                  <a:gd name="connsiteX3" fmla="*/ 474348 w 474348"/>
                  <a:gd name="connsiteY3" fmla="*/ 216516 h 669131"/>
                  <a:gd name="connsiteX4" fmla="*/ 474348 w 474348"/>
                  <a:gd name="connsiteY4" fmla="*/ 669131 h 669131"/>
                  <a:gd name="connsiteX5" fmla="*/ 474348 w 474348"/>
                  <a:gd name="connsiteY5" fmla="*/ 669131 h 669131"/>
                  <a:gd name="connsiteX6" fmla="*/ 248129 w 474348"/>
                  <a:gd name="connsiteY6" fmla="*/ 669131 h 669131"/>
                  <a:gd name="connsiteX7" fmla="*/ 0 w 474348"/>
                  <a:gd name="connsiteY7" fmla="*/ 669131 h 669131"/>
                  <a:gd name="connsiteX8" fmla="*/ 0 w 474348"/>
                  <a:gd name="connsiteY8" fmla="*/ 669131 h 669131"/>
                  <a:gd name="connsiteX9" fmla="*/ 0 w 474348"/>
                  <a:gd name="connsiteY9" fmla="*/ 216516 h 669131"/>
                  <a:gd name="connsiteX10" fmla="*/ 192704 w 474348"/>
                  <a:gd name="connsiteY10" fmla="*/ 23812 h 669131"/>
                  <a:gd name="connsiteX0" fmla="*/ 192704 w 474348"/>
                  <a:gd name="connsiteY0" fmla="*/ 23812 h 669131"/>
                  <a:gd name="connsiteX1" fmla="*/ 265690 w 474348"/>
                  <a:gd name="connsiteY1" fmla="*/ 0 h 669131"/>
                  <a:gd name="connsiteX2" fmla="*/ 314250 w 474348"/>
                  <a:gd name="connsiteY2" fmla="*/ 24047 h 669131"/>
                  <a:gd name="connsiteX3" fmla="*/ 474348 w 474348"/>
                  <a:gd name="connsiteY3" fmla="*/ 216516 h 669131"/>
                  <a:gd name="connsiteX4" fmla="*/ 474348 w 474348"/>
                  <a:gd name="connsiteY4" fmla="*/ 669131 h 669131"/>
                  <a:gd name="connsiteX5" fmla="*/ 474348 w 474348"/>
                  <a:gd name="connsiteY5" fmla="*/ 669131 h 669131"/>
                  <a:gd name="connsiteX6" fmla="*/ 248129 w 474348"/>
                  <a:gd name="connsiteY6" fmla="*/ 669131 h 669131"/>
                  <a:gd name="connsiteX7" fmla="*/ 0 w 474348"/>
                  <a:gd name="connsiteY7" fmla="*/ 669131 h 669131"/>
                  <a:gd name="connsiteX8" fmla="*/ 0 w 474348"/>
                  <a:gd name="connsiteY8" fmla="*/ 669131 h 669131"/>
                  <a:gd name="connsiteX9" fmla="*/ 0 w 474348"/>
                  <a:gd name="connsiteY9" fmla="*/ 216516 h 669131"/>
                  <a:gd name="connsiteX10" fmla="*/ 192704 w 474348"/>
                  <a:gd name="connsiteY10" fmla="*/ 23812 h 669131"/>
                  <a:gd name="connsiteX0" fmla="*/ 192704 w 474348"/>
                  <a:gd name="connsiteY0" fmla="*/ 23812 h 669131"/>
                  <a:gd name="connsiteX1" fmla="*/ 265690 w 474348"/>
                  <a:gd name="connsiteY1" fmla="*/ 0 h 669131"/>
                  <a:gd name="connsiteX2" fmla="*/ 314250 w 474348"/>
                  <a:gd name="connsiteY2" fmla="*/ 24047 h 669131"/>
                  <a:gd name="connsiteX3" fmla="*/ 474348 w 474348"/>
                  <a:gd name="connsiteY3" fmla="*/ 216516 h 669131"/>
                  <a:gd name="connsiteX4" fmla="*/ 474348 w 474348"/>
                  <a:gd name="connsiteY4" fmla="*/ 669131 h 669131"/>
                  <a:gd name="connsiteX5" fmla="*/ 474348 w 474348"/>
                  <a:gd name="connsiteY5" fmla="*/ 669131 h 669131"/>
                  <a:gd name="connsiteX6" fmla="*/ 248129 w 474348"/>
                  <a:gd name="connsiteY6" fmla="*/ 669131 h 669131"/>
                  <a:gd name="connsiteX7" fmla="*/ 0 w 474348"/>
                  <a:gd name="connsiteY7" fmla="*/ 669131 h 669131"/>
                  <a:gd name="connsiteX8" fmla="*/ 0 w 474348"/>
                  <a:gd name="connsiteY8" fmla="*/ 669131 h 669131"/>
                  <a:gd name="connsiteX9" fmla="*/ 0 w 474348"/>
                  <a:gd name="connsiteY9" fmla="*/ 216516 h 669131"/>
                  <a:gd name="connsiteX10" fmla="*/ 192704 w 474348"/>
                  <a:gd name="connsiteY10" fmla="*/ 23812 h 669131"/>
                  <a:gd name="connsiteX0" fmla="*/ 174282 w 474348"/>
                  <a:gd name="connsiteY0" fmla="*/ 23596 h 669131"/>
                  <a:gd name="connsiteX1" fmla="*/ 265690 w 474348"/>
                  <a:gd name="connsiteY1" fmla="*/ 0 h 669131"/>
                  <a:gd name="connsiteX2" fmla="*/ 314250 w 474348"/>
                  <a:gd name="connsiteY2" fmla="*/ 24047 h 669131"/>
                  <a:gd name="connsiteX3" fmla="*/ 474348 w 474348"/>
                  <a:gd name="connsiteY3" fmla="*/ 216516 h 669131"/>
                  <a:gd name="connsiteX4" fmla="*/ 474348 w 474348"/>
                  <a:gd name="connsiteY4" fmla="*/ 669131 h 669131"/>
                  <a:gd name="connsiteX5" fmla="*/ 474348 w 474348"/>
                  <a:gd name="connsiteY5" fmla="*/ 669131 h 669131"/>
                  <a:gd name="connsiteX6" fmla="*/ 248129 w 474348"/>
                  <a:gd name="connsiteY6" fmla="*/ 669131 h 669131"/>
                  <a:gd name="connsiteX7" fmla="*/ 0 w 474348"/>
                  <a:gd name="connsiteY7" fmla="*/ 669131 h 669131"/>
                  <a:gd name="connsiteX8" fmla="*/ 0 w 474348"/>
                  <a:gd name="connsiteY8" fmla="*/ 669131 h 669131"/>
                  <a:gd name="connsiteX9" fmla="*/ 0 w 474348"/>
                  <a:gd name="connsiteY9" fmla="*/ 216516 h 669131"/>
                  <a:gd name="connsiteX10" fmla="*/ 174282 w 474348"/>
                  <a:gd name="connsiteY10" fmla="*/ 23596 h 669131"/>
                  <a:gd name="connsiteX0" fmla="*/ 174282 w 474348"/>
                  <a:gd name="connsiteY0" fmla="*/ 24619 h 670154"/>
                  <a:gd name="connsiteX1" fmla="*/ 216121 w 474348"/>
                  <a:gd name="connsiteY1" fmla="*/ 0 h 670154"/>
                  <a:gd name="connsiteX2" fmla="*/ 314250 w 474348"/>
                  <a:gd name="connsiteY2" fmla="*/ 25070 h 670154"/>
                  <a:gd name="connsiteX3" fmla="*/ 474348 w 474348"/>
                  <a:gd name="connsiteY3" fmla="*/ 217539 h 670154"/>
                  <a:gd name="connsiteX4" fmla="*/ 474348 w 474348"/>
                  <a:gd name="connsiteY4" fmla="*/ 670154 h 670154"/>
                  <a:gd name="connsiteX5" fmla="*/ 474348 w 474348"/>
                  <a:gd name="connsiteY5" fmla="*/ 670154 h 670154"/>
                  <a:gd name="connsiteX6" fmla="*/ 248129 w 474348"/>
                  <a:gd name="connsiteY6" fmla="*/ 670154 h 670154"/>
                  <a:gd name="connsiteX7" fmla="*/ 0 w 474348"/>
                  <a:gd name="connsiteY7" fmla="*/ 670154 h 670154"/>
                  <a:gd name="connsiteX8" fmla="*/ 0 w 474348"/>
                  <a:gd name="connsiteY8" fmla="*/ 670154 h 670154"/>
                  <a:gd name="connsiteX9" fmla="*/ 0 w 474348"/>
                  <a:gd name="connsiteY9" fmla="*/ 217539 h 670154"/>
                  <a:gd name="connsiteX10" fmla="*/ 174282 w 474348"/>
                  <a:gd name="connsiteY10" fmla="*/ 24619 h 670154"/>
                  <a:gd name="connsiteX0" fmla="*/ 174282 w 474348"/>
                  <a:gd name="connsiteY0" fmla="*/ 24619 h 670154"/>
                  <a:gd name="connsiteX1" fmla="*/ 216121 w 474348"/>
                  <a:gd name="connsiteY1" fmla="*/ 0 h 670154"/>
                  <a:gd name="connsiteX2" fmla="*/ 314250 w 474348"/>
                  <a:gd name="connsiteY2" fmla="*/ 25070 h 670154"/>
                  <a:gd name="connsiteX3" fmla="*/ 474348 w 474348"/>
                  <a:gd name="connsiteY3" fmla="*/ 217539 h 670154"/>
                  <a:gd name="connsiteX4" fmla="*/ 474348 w 474348"/>
                  <a:gd name="connsiteY4" fmla="*/ 670154 h 670154"/>
                  <a:gd name="connsiteX5" fmla="*/ 474348 w 474348"/>
                  <a:gd name="connsiteY5" fmla="*/ 670154 h 670154"/>
                  <a:gd name="connsiteX6" fmla="*/ 248129 w 474348"/>
                  <a:gd name="connsiteY6" fmla="*/ 670154 h 670154"/>
                  <a:gd name="connsiteX7" fmla="*/ 0 w 474348"/>
                  <a:gd name="connsiteY7" fmla="*/ 670154 h 670154"/>
                  <a:gd name="connsiteX8" fmla="*/ 0 w 474348"/>
                  <a:gd name="connsiteY8" fmla="*/ 670154 h 670154"/>
                  <a:gd name="connsiteX9" fmla="*/ 0 w 474348"/>
                  <a:gd name="connsiteY9" fmla="*/ 217539 h 670154"/>
                  <a:gd name="connsiteX10" fmla="*/ 174282 w 474348"/>
                  <a:gd name="connsiteY10" fmla="*/ 24619 h 670154"/>
                  <a:gd name="connsiteX0" fmla="*/ 174282 w 474348"/>
                  <a:gd name="connsiteY0" fmla="*/ 24619 h 670154"/>
                  <a:gd name="connsiteX1" fmla="*/ 216121 w 474348"/>
                  <a:gd name="connsiteY1" fmla="*/ 0 h 670154"/>
                  <a:gd name="connsiteX2" fmla="*/ 314250 w 474348"/>
                  <a:gd name="connsiteY2" fmla="*/ 25070 h 670154"/>
                  <a:gd name="connsiteX3" fmla="*/ 474348 w 474348"/>
                  <a:gd name="connsiteY3" fmla="*/ 217539 h 670154"/>
                  <a:gd name="connsiteX4" fmla="*/ 474348 w 474348"/>
                  <a:gd name="connsiteY4" fmla="*/ 670154 h 670154"/>
                  <a:gd name="connsiteX5" fmla="*/ 474348 w 474348"/>
                  <a:gd name="connsiteY5" fmla="*/ 670154 h 670154"/>
                  <a:gd name="connsiteX6" fmla="*/ 248129 w 474348"/>
                  <a:gd name="connsiteY6" fmla="*/ 670154 h 670154"/>
                  <a:gd name="connsiteX7" fmla="*/ 0 w 474348"/>
                  <a:gd name="connsiteY7" fmla="*/ 670154 h 670154"/>
                  <a:gd name="connsiteX8" fmla="*/ 0 w 474348"/>
                  <a:gd name="connsiteY8" fmla="*/ 670154 h 670154"/>
                  <a:gd name="connsiteX9" fmla="*/ 0 w 474348"/>
                  <a:gd name="connsiteY9" fmla="*/ 217539 h 670154"/>
                  <a:gd name="connsiteX10" fmla="*/ 174282 w 474348"/>
                  <a:gd name="connsiteY10" fmla="*/ 24619 h 670154"/>
                  <a:gd name="connsiteX0" fmla="*/ 174282 w 474348"/>
                  <a:gd name="connsiteY0" fmla="*/ 24619 h 670154"/>
                  <a:gd name="connsiteX1" fmla="*/ 216121 w 474348"/>
                  <a:gd name="connsiteY1" fmla="*/ 0 h 670154"/>
                  <a:gd name="connsiteX2" fmla="*/ 314250 w 474348"/>
                  <a:gd name="connsiteY2" fmla="*/ 25070 h 670154"/>
                  <a:gd name="connsiteX3" fmla="*/ 474348 w 474348"/>
                  <a:gd name="connsiteY3" fmla="*/ 217539 h 670154"/>
                  <a:gd name="connsiteX4" fmla="*/ 474348 w 474348"/>
                  <a:gd name="connsiteY4" fmla="*/ 670154 h 670154"/>
                  <a:gd name="connsiteX5" fmla="*/ 474348 w 474348"/>
                  <a:gd name="connsiteY5" fmla="*/ 670154 h 670154"/>
                  <a:gd name="connsiteX6" fmla="*/ 248129 w 474348"/>
                  <a:gd name="connsiteY6" fmla="*/ 670154 h 670154"/>
                  <a:gd name="connsiteX7" fmla="*/ 0 w 474348"/>
                  <a:gd name="connsiteY7" fmla="*/ 670154 h 670154"/>
                  <a:gd name="connsiteX8" fmla="*/ 0 w 474348"/>
                  <a:gd name="connsiteY8" fmla="*/ 670154 h 670154"/>
                  <a:gd name="connsiteX9" fmla="*/ 0 w 474348"/>
                  <a:gd name="connsiteY9" fmla="*/ 217539 h 670154"/>
                  <a:gd name="connsiteX10" fmla="*/ 174282 w 474348"/>
                  <a:gd name="connsiteY10" fmla="*/ 24619 h 670154"/>
                  <a:gd name="connsiteX0" fmla="*/ 148557 w 474348"/>
                  <a:gd name="connsiteY0" fmla="*/ 27264 h 670154"/>
                  <a:gd name="connsiteX1" fmla="*/ 216121 w 474348"/>
                  <a:gd name="connsiteY1" fmla="*/ 0 h 670154"/>
                  <a:gd name="connsiteX2" fmla="*/ 314250 w 474348"/>
                  <a:gd name="connsiteY2" fmla="*/ 25070 h 670154"/>
                  <a:gd name="connsiteX3" fmla="*/ 474348 w 474348"/>
                  <a:gd name="connsiteY3" fmla="*/ 217539 h 670154"/>
                  <a:gd name="connsiteX4" fmla="*/ 474348 w 474348"/>
                  <a:gd name="connsiteY4" fmla="*/ 670154 h 670154"/>
                  <a:gd name="connsiteX5" fmla="*/ 474348 w 474348"/>
                  <a:gd name="connsiteY5" fmla="*/ 670154 h 670154"/>
                  <a:gd name="connsiteX6" fmla="*/ 248129 w 474348"/>
                  <a:gd name="connsiteY6" fmla="*/ 670154 h 670154"/>
                  <a:gd name="connsiteX7" fmla="*/ 0 w 474348"/>
                  <a:gd name="connsiteY7" fmla="*/ 670154 h 670154"/>
                  <a:gd name="connsiteX8" fmla="*/ 0 w 474348"/>
                  <a:gd name="connsiteY8" fmla="*/ 670154 h 670154"/>
                  <a:gd name="connsiteX9" fmla="*/ 0 w 474348"/>
                  <a:gd name="connsiteY9" fmla="*/ 217539 h 670154"/>
                  <a:gd name="connsiteX10" fmla="*/ 148557 w 474348"/>
                  <a:gd name="connsiteY10" fmla="*/ 27264 h 670154"/>
                  <a:gd name="connsiteX0" fmla="*/ 148557 w 474348"/>
                  <a:gd name="connsiteY0" fmla="*/ 20950 h 663840"/>
                  <a:gd name="connsiteX1" fmla="*/ 214238 w 474348"/>
                  <a:gd name="connsiteY1" fmla="*/ 0 h 663840"/>
                  <a:gd name="connsiteX2" fmla="*/ 314250 w 474348"/>
                  <a:gd name="connsiteY2" fmla="*/ 18756 h 663840"/>
                  <a:gd name="connsiteX3" fmla="*/ 474348 w 474348"/>
                  <a:gd name="connsiteY3" fmla="*/ 211225 h 663840"/>
                  <a:gd name="connsiteX4" fmla="*/ 474348 w 474348"/>
                  <a:gd name="connsiteY4" fmla="*/ 663840 h 663840"/>
                  <a:gd name="connsiteX5" fmla="*/ 474348 w 474348"/>
                  <a:gd name="connsiteY5" fmla="*/ 663840 h 663840"/>
                  <a:gd name="connsiteX6" fmla="*/ 248129 w 474348"/>
                  <a:gd name="connsiteY6" fmla="*/ 663840 h 663840"/>
                  <a:gd name="connsiteX7" fmla="*/ 0 w 474348"/>
                  <a:gd name="connsiteY7" fmla="*/ 663840 h 663840"/>
                  <a:gd name="connsiteX8" fmla="*/ 0 w 474348"/>
                  <a:gd name="connsiteY8" fmla="*/ 663840 h 663840"/>
                  <a:gd name="connsiteX9" fmla="*/ 0 w 474348"/>
                  <a:gd name="connsiteY9" fmla="*/ 211225 h 663840"/>
                  <a:gd name="connsiteX10" fmla="*/ 148557 w 474348"/>
                  <a:gd name="connsiteY10" fmla="*/ 20950 h 663840"/>
                  <a:gd name="connsiteX0" fmla="*/ 148557 w 474348"/>
                  <a:gd name="connsiteY0" fmla="*/ 20950 h 663840"/>
                  <a:gd name="connsiteX1" fmla="*/ 214238 w 474348"/>
                  <a:gd name="connsiteY1" fmla="*/ 0 h 663840"/>
                  <a:gd name="connsiteX2" fmla="*/ 314250 w 474348"/>
                  <a:gd name="connsiteY2" fmla="*/ 18756 h 663840"/>
                  <a:gd name="connsiteX3" fmla="*/ 474348 w 474348"/>
                  <a:gd name="connsiteY3" fmla="*/ 211225 h 663840"/>
                  <a:gd name="connsiteX4" fmla="*/ 474348 w 474348"/>
                  <a:gd name="connsiteY4" fmla="*/ 663840 h 663840"/>
                  <a:gd name="connsiteX5" fmla="*/ 474348 w 474348"/>
                  <a:gd name="connsiteY5" fmla="*/ 663840 h 663840"/>
                  <a:gd name="connsiteX6" fmla="*/ 248129 w 474348"/>
                  <a:gd name="connsiteY6" fmla="*/ 663840 h 663840"/>
                  <a:gd name="connsiteX7" fmla="*/ 0 w 474348"/>
                  <a:gd name="connsiteY7" fmla="*/ 663840 h 663840"/>
                  <a:gd name="connsiteX8" fmla="*/ 0 w 474348"/>
                  <a:gd name="connsiteY8" fmla="*/ 663840 h 663840"/>
                  <a:gd name="connsiteX9" fmla="*/ 0 w 474348"/>
                  <a:gd name="connsiteY9" fmla="*/ 211225 h 663840"/>
                  <a:gd name="connsiteX10" fmla="*/ 148557 w 474348"/>
                  <a:gd name="connsiteY10" fmla="*/ 20950 h 663840"/>
                  <a:gd name="connsiteX0" fmla="*/ 148557 w 474348"/>
                  <a:gd name="connsiteY0" fmla="*/ 20950 h 663840"/>
                  <a:gd name="connsiteX1" fmla="*/ 214238 w 474348"/>
                  <a:gd name="connsiteY1" fmla="*/ 0 h 663840"/>
                  <a:gd name="connsiteX2" fmla="*/ 314250 w 474348"/>
                  <a:gd name="connsiteY2" fmla="*/ 18756 h 663840"/>
                  <a:gd name="connsiteX3" fmla="*/ 474348 w 474348"/>
                  <a:gd name="connsiteY3" fmla="*/ 211225 h 663840"/>
                  <a:gd name="connsiteX4" fmla="*/ 474348 w 474348"/>
                  <a:gd name="connsiteY4" fmla="*/ 663840 h 663840"/>
                  <a:gd name="connsiteX5" fmla="*/ 474348 w 474348"/>
                  <a:gd name="connsiteY5" fmla="*/ 663840 h 663840"/>
                  <a:gd name="connsiteX6" fmla="*/ 248129 w 474348"/>
                  <a:gd name="connsiteY6" fmla="*/ 663840 h 663840"/>
                  <a:gd name="connsiteX7" fmla="*/ 0 w 474348"/>
                  <a:gd name="connsiteY7" fmla="*/ 663840 h 663840"/>
                  <a:gd name="connsiteX8" fmla="*/ 0 w 474348"/>
                  <a:gd name="connsiteY8" fmla="*/ 663840 h 663840"/>
                  <a:gd name="connsiteX9" fmla="*/ 0 w 474348"/>
                  <a:gd name="connsiteY9" fmla="*/ 211225 h 663840"/>
                  <a:gd name="connsiteX10" fmla="*/ 148557 w 474348"/>
                  <a:gd name="connsiteY10" fmla="*/ 20950 h 663840"/>
                  <a:gd name="connsiteX0" fmla="*/ 144178 w 474348"/>
                  <a:gd name="connsiteY0" fmla="*/ 22667 h 663840"/>
                  <a:gd name="connsiteX1" fmla="*/ 214238 w 474348"/>
                  <a:gd name="connsiteY1" fmla="*/ 0 h 663840"/>
                  <a:gd name="connsiteX2" fmla="*/ 314250 w 474348"/>
                  <a:gd name="connsiteY2" fmla="*/ 18756 h 663840"/>
                  <a:gd name="connsiteX3" fmla="*/ 474348 w 474348"/>
                  <a:gd name="connsiteY3" fmla="*/ 211225 h 663840"/>
                  <a:gd name="connsiteX4" fmla="*/ 474348 w 474348"/>
                  <a:gd name="connsiteY4" fmla="*/ 663840 h 663840"/>
                  <a:gd name="connsiteX5" fmla="*/ 474348 w 474348"/>
                  <a:gd name="connsiteY5" fmla="*/ 663840 h 663840"/>
                  <a:gd name="connsiteX6" fmla="*/ 248129 w 474348"/>
                  <a:gd name="connsiteY6" fmla="*/ 663840 h 663840"/>
                  <a:gd name="connsiteX7" fmla="*/ 0 w 474348"/>
                  <a:gd name="connsiteY7" fmla="*/ 663840 h 663840"/>
                  <a:gd name="connsiteX8" fmla="*/ 0 w 474348"/>
                  <a:gd name="connsiteY8" fmla="*/ 663840 h 663840"/>
                  <a:gd name="connsiteX9" fmla="*/ 0 w 474348"/>
                  <a:gd name="connsiteY9" fmla="*/ 211225 h 663840"/>
                  <a:gd name="connsiteX10" fmla="*/ 144178 w 474348"/>
                  <a:gd name="connsiteY10" fmla="*/ 22667 h 663840"/>
                  <a:gd name="connsiteX0" fmla="*/ 144178 w 474348"/>
                  <a:gd name="connsiteY0" fmla="*/ 22667 h 663840"/>
                  <a:gd name="connsiteX1" fmla="*/ 214238 w 474348"/>
                  <a:gd name="connsiteY1" fmla="*/ 0 h 663840"/>
                  <a:gd name="connsiteX2" fmla="*/ 314250 w 474348"/>
                  <a:gd name="connsiteY2" fmla="*/ 18756 h 663840"/>
                  <a:gd name="connsiteX3" fmla="*/ 474348 w 474348"/>
                  <a:gd name="connsiteY3" fmla="*/ 211225 h 663840"/>
                  <a:gd name="connsiteX4" fmla="*/ 474348 w 474348"/>
                  <a:gd name="connsiteY4" fmla="*/ 663840 h 663840"/>
                  <a:gd name="connsiteX5" fmla="*/ 474348 w 474348"/>
                  <a:gd name="connsiteY5" fmla="*/ 663840 h 663840"/>
                  <a:gd name="connsiteX6" fmla="*/ 248129 w 474348"/>
                  <a:gd name="connsiteY6" fmla="*/ 663840 h 663840"/>
                  <a:gd name="connsiteX7" fmla="*/ 0 w 474348"/>
                  <a:gd name="connsiteY7" fmla="*/ 663840 h 663840"/>
                  <a:gd name="connsiteX8" fmla="*/ 0 w 474348"/>
                  <a:gd name="connsiteY8" fmla="*/ 663840 h 663840"/>
                  <a:gd name="connsiteX9" fmla="*/ 0 w 474348"/>
                  <a:gd name="connsiteY9" fmla="*/ 211225 h 663840"/>
                  <a:gd name="connsiteX10" fmla="*/ 144178 w 474348"/>
                  <a:gd name="connsiteY10" fmla="*/ 22667 h 663840"/>
                  <a:gd name="connsiteX0" fmla="*/ 144178 w 474348"/>
                  <a:gd name="connsiteY0" fmla="*/ 22667 h 663840"/>
                  <a:gd name="connsiteX1" fmla="*/ 214238 w 474348"/>
                  <a:gd name="connsiteY1" fmla="*/ 0 h 663840"/>
                  <a:gd name="connsiteX2" fmla="*/ 314250 w 474348"/>
                  <a:gd name="connsiteY2" fmla="*/ 18756 h 663840"/>
                  <a:gd name="connsiteX3" fmla="*/ 474348 w 474348"/>
                  <a:gd name="connsiteY3" fmla="*/ 211225 h 663840"/>
                  <a:gd name="connsiteX4" fmla="*/ 474348 w 474348"/>
                  <a:gd name="connsiteY4" fmla="*/ 663840 h 663840"/>
                  <a:gd name="connsiteX5" fmla="*/ 474348 w 474348"/>
                  <a:gd name="connsiteY5" fmla="*/ 663840 h 663840"/>
                  <a:gd name="connsiteX6" fmla="*/ 248129 w 474348"/>
                  <a:gd name="connsiteY6" fmla="*/ 663840 h 663840"/>
                  <a:gd name="connsiteX7" fmla="*/ 0 w 474348"/>
                  <a:gd name="connsiteY7" fmla="*/ 663840 h 663840"/>
                  <a:gd name="connsiteX8" fmla="*/ 0 w 474348"/>
                  <a:gd name="connsiteY8" fmla="*/ 663840 h 663840"/>
                  <a:gd name="connsiteX9" fmla="*/ 0 w 474348"/>
                  <a:gd name="connsiteY9" fmla="*/ 211225 h 663840"/>
                  <a:gd name="connsiteX10" fmla="*/ 144178 w 474348"/>
                  <a:gd name="connsiteY10" fmla="*/ 22667 h 663840"/>
                  <a:gd name="connsiteX0" fmla="*/ 144178 w 474348"/>
                  <a:gd name="connsiteY0" fmla="*/ 22667 h 663840"/>
                  <a:gd name="connsiteX1" fmla="*/ 214238 w 474348"/>
                  <a:gd name="connsiteY1" fmla="*/ 0 h 663840"/>
                  <a:gd name="connsiteX2" fmla="*/ 314250 w 474348"/>
                  <a:gd name="connsiteY2" fmla="*/ 18756 h 663840"/>
                  <a:gd name="connsiteX3" fmla="*/ 474348 w 474348"/>
                  <a:gd name="connsiteY3" fmla="*/ 211225 h 663840"/>
                  <a:gd name="connsiteX4" fmla="*/ 474348 w 474348"/>
                  <a:gd name="connsiteY4" fmla="*/ 663840 h 663840"/>
                  <a:gd name="connsiteX5" fmla="*/ 474348 w 474348"/>
                  <a:gd name="connsiteY5" fmla="*/ 663840 h 663840"/>
                  <a:gd name="connsiteX6" fmla="*/ 248129 w 474348"/>
                  <a:gd name="connsiteY6" fmla="*/ 663840 h 663840"/>
                  <a:gd name="connsiteX7" fmla="*/ 0 w 474348"/>
                  <a:gd name="connsiteY7" fmla="*/ 663840 h 663840"/>
                  <a:gd name="connsiteX8" fmla="*/ 0 w 474348"/>
                  <a:gd name="connsiteY8" fmla="*/ 663840 h 663840"/>
                  <a:gd name="connsiteX9" fmla="*/ 0 w 474348"/>
                  <a:gd name="connsiteY9" fmla="*/ 211225 h 663840"/>
                  <a:gd name="connsiteX10" fmla="*/ 144178 w 474348"/>
                  <a:gd name="connsiteY10" fmla="*/ 22667 h 6638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74348" h="663840">
                    <a:moveTo>
                      <a:pt x="144178" y="22667"/>
                    </a:moveTo>
                    <a:cubicBezTo>
                      <a:pt x="211732" y="-970"/>
                      <a:pt x="181869" y="7990"/>
                      <a:pt x="214238" y="0"/>
                    </a:cubicBezTo>
                    <a:cubicBezTo>
                      <a:pt x="259321" y="7224"/>
                      <a:pt x="221757" y="369"/>
                      <a:pt x="314250" y="18756"/>
                    </a:cubicBezTo>
                    <a:cubicBezTo>
                      <a:pt x="399877" y="51074"/>
                      <a:pt x="474348" y="104798"/>
                      <a:pt x="474348" y="211225"/>
                    </a:cubicBezTo>
                    <a:lnTo>
                      <a:pt x="474348" y="663840"/>
                    </a:lnTo>
                    <a:lnTo>
                      <a:pt x="474348" y="663840"/>
                    </a:lnTo>
                    <a:lnTo>
                      <a:pt x="248129" y="663840"/>
                    </a:lnTo>
                    <a:lnTo>
                      <a:pt x="0" y="663840"/>
                    </a:lnTo>
                    <a:lnTo>
                      <a:pt x="0" y="663840"/>
                    </a:lnTo>
                    <a:lnTo>
                      <a:pt x="0" y="211225"/>
                    </a:lnTo>
                    <a:cubicBezTo>
                      <a:pt x="0" y="104798"/>
                      <a:pt x="80700" y="56026"/>
                      <a:pt x="144178" y="22667"/>
                    </a:cubicBezTo>
                    <a:close/>
                  </a:path>
                </a:pathLst>
              </a:cu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46" name="Round Same Side Corner Rectangle 11"/>
              <p:cNvSpPr/>
              <p:nvPr/>
            </p:nvSpPr>
            <p:spPr>
              <a:xfrm rot="16200000">
                <a:off x="6912899" y="2339184"/>
                <a:ext cx="101418" cy="1051827"/>
              </a:xfrm>
              <a:custGeom>
                <a:avLst/>
                <a:gdLst>
                  <a:gd name="connsiteX0" fmla="*/ 192704 w 474348"/>
                  <a:gd name="connsiteY0" fmla="*/ 0 h 645319"/>
                  <a:gd name="connsiteX1" fmla="*/ 281644 w 474348"/>
                  <a:gd name="connsiteY1" fmla="*/ 0 h 645319"/>
                  <a:gd name="connsiteX2" fmla="*/ 474348 w 474348"/>
                  <a:gd name="connsiteY2" fmla="*/ 192704 h 645319"/>
                  <a:gd name="connsiteX3" fmla="*/ 474348 w 474348"/>
                  <a:gd name="connsiteY3" fmla="*/ 645319 h 645319"/>
                  <a:gd name="connsiteX4" fmla="*/ 474348 w 474348"/>
                  <a:gd name="connsiteY4" fmla="*/ 645319 h 645319"/>
                  <a:gd name="connsiteX5" fmla="*/ 0 w 474348"/>
                  <a:gd name="connsiteY5" fmla="*/ 645319 h 645319"/>
                  <a:gd name="connsiteX6" fmla="*/ 0 w 474348"/>
                  <a:gd name="connsiteY6" fmla="*/ 645319 h 645319"/>
                  <a:gd name="connsiteX7" fmla="*/ 0 w 474348"/>
                  <a:gd name="connsiteY7" fmla="*/ 192704 h 645319"/>
                  <a:gd name="connsiteX8" fmla="*/ 192704 w 474348"/>
                  <a:gd name="connsiteY8" fmla="*/ 0 h 645319"/>
                  <a:gd name="connsiteX0" fmla="*/ 192704 w 474348"/>
                  <a:gd name="connsiteY0" fmla="*/ 0 h 645319"/>
                  <a:gd name="connsiteX1" fmla="*/ 281644 w 474348"/>
                  <a:gd name="connsiteY1" fmla="*/ 0 h 645319"/>
                  <a:gd name="connsiteX2" fmla="*/ 474348 w 474348"/>
                  <a:gd name="connsiteY2" fmla="*/ 192704 h 645319"/>
                  <a:gd name="connsiteX3" fmla="*/ 474348 w 474348"/>
                  <a:gd name="connsiteY3" fmla="*/ 645319 h 645319"/>
                  <a:gd name="connsiteX4" fmla="*/ 474348 w 474348"/>
                  <a:gd name="connsiteY4" fmla="*/ 645319 h 645319"/>
                  <a:gd name="connsiteX5" fmla="*/ 248129 w 474348"/>
                  <a:gd name="connsiteY5" fmla="*/ 645319 h 645319"/>
                  <a:gd name="connsiteX6" fmla="*/ 0 w 474348"/>
                  <a:gd name="connsiteY6" fmla="*/ 645319 h 645319"/>
                  <a:gd name="connsiteX7" fmla="*/ 0 w 474348"/>
                  <a:gd name="connsiteY7" fmla="*/ 645319 h 645319"/>
                  <a:gd name="connsiteX8" fmla="*/ 0 w 474348"/>
                  <a:gd name="connsiteY8" fmla="*/ 192704 h 645319"/>
                  <a:gd name="connsiteX9" fmla="*/ 192704 w 474348"/>
                  <a:gd name="connsiteY9" fmla="*/ 0 h 645319"/>
                  <a:gd name="connsiteX0" fmla="*/ 192704 w 474348"/>
                  <a:gd name="connsiteY0" fmla="*/ 2381 h 647700"/>
                  <a:gd name="connsiteX1" fmla="*/ 240986 w 474348"/>
                  <a:gd name="connsiteY1" fmla="*/ 0 h 647700"/>
                  <a:gd name="connsiteX2" fmla="*/ 281644 w 474348"/>
                  <a:gd name="connsiteY2" fmla="*/ 2381 h 647700"/>
                  <a:gd name="connsiteX3" fmla="*/ 474348 w 474348"/>
                  <a:gd name="connsiteY3" fmla="*/ 195085 h 647700"/>
                  <a:gd name="connsiteX4" fmla="*/ 474348 w 474348"/>
                  <a:gd name="connsiteY4" fmla="*/ 647700 h 647700"/>
                  <a:gd name="connsiteX5" fmla="*/ 474348 w 474348"/>
                  <a:gd name="connsiteY5" fmla="*/ 647700 h 647700"/>
                  <a:gd name="connsiteX6" fmla="*/ 248129 w 474348"/>
                  <a:gd name="connsiteY6" fmla="*/ 647700 h 647700"/>
                  <a:gd name="connsiteX7" fmla="*/ 0 w 474348"/>
                  <a:gd name="connsiteY7" fmla="*/ 647700 h 647700"/>
                  <a:gd name="connsiteX8" fmla="*/ 0 w 474348"/>
                  <a:gd name="connsiteY8" fmla="*/ 647700 h 647700"/>
                  <a:gd name="connsiteX9" fmla="*/ 0 w 474348"/>
                  <a:gd name="connsiteY9" fmla="*/ 195085 h 647700"/>
                  <a:gd name="connsiteX10" fmla="*/ 192704 w 474348"/>
                  <a:gd name="connsiteY10" fmla="*/ 2381 h 647700"/>
                  <a:gd name="connsiteX0" fmla="*/ 192704 w 474348"/>
                  <a:gd name="connsiteY0" fmla="*/ 42862 h 688181"/>
                  <a:gd name="connsiteX1" fmla="*/ 240986 w 474348"/>
                  <a:gd name="connsiteY1" fmla="*/ 0 h 688181"/>
                  <a:gd name="connsiteX2" fmla="*/ 281644 w 474348"/>
                  <a:gd name="connsiteY2" fmla="*/ 42862 h 688181"/>
                  <a:gd name="connsiteX3" fmla="*/ 474348 w 474348"/>
                  <a:gd name="connsiteY3" fmla="*/ 235566 h 688181"/>
                  <a:gd name="connsiteX4" fmla="*/ 474348 w 474348"/>
                  <a:gd name="connsiteY4" fmla="*/ 688181 h 688181"/>
                  <a:gd name="connsiteX5" fmla="*/ 474348 w 474348"/>
                  <a:gd name="connsiteY5" fmla="*/ 688181 h 688181"/>
                  <a:gd name="connsiteX6" fmla="*/ 248129 w 474348"/>
                  <a:gd name="connsiteY6" fmla="*/ 688181 h 688181"/>
                  <a:gd name="connsiteX7" fmla="*/ 0 w 474348"/>
                  <a:gd name="connsiteY7" fmla="*/ 688181 h 688181"/>
                  <a:gd name="connsiteX8" fmla="*/ 0 w 474348"/>
                  <a:gd name="connsiteY8" fmla="*/ 688181 h 688181"/>
                  <a:gd name="connsiteX9" fmla="*/ 0 w 474348"/>
                  <a:gd name="connsiteY9" fmla="*/ 235566 h 688181"/>
                  <a:gd name="connsiteX10" fmla="*/ 192704 w 474348"/>
                  <a:gd name="connsiteY10" fmla="*/ 42862 h 688181"/>
                  <a:gd name="connsiteX0" fmla="*/ 192704 w 474348"/>
                  <a:gd name="connsiteY0" fmla="*/ 23812 h 669131"/>
                  <a:gd name="connsiteX1" fmla="*/ 265690 w 474348"/>
                  <a:gd name="connsiteY1" fmla="*/ 0 h 669131"/>
                  <a:gd name="connsiteX2" fmla="*/ 281644 w 474348"/>
                  <a:gd name="connsiteY2" fmla="*/ 23812 h 669131"/>
                  <a:gd name="connsiteX3" fmla="*/ 474348 w 474348"/>
                  <a:gd name="connsiteY3" fmla="*/ 216516 h 669131"/>
                  <a:gd name="connsiteX4" fmla="*/ 474348 w 474348"/>
                  <a:gd name="connsiteY4" fmla="*/ 669131 h 669131"/>
                  <a:gd name="connsiteX5" fmla="*/ 474348 w 474348"/>
                  <a:gd name="connsiteY5" fmla="*/ 669131 h 669131"/>
                  <a:gd name="connsiteX6" fmla="*/ 248129 w 474348"/>
                  <a:gd name="connsiteY6" fmla="*/ 669131 h 669131"/>
                  <a:gd name="connsiteX7" fmla="*/ 0 w 474348"/>
                  <a:gd name="connsiteY7" fmla="*/ 669131 h 669131"/>
                  <a:gd name="connsiteX8" fmla="*/ 0 w 474348"/>
                  <a:gd name="connsiteY8" fmla="*/ 669131 h 669131"/>
                  <a:gd name="connsiteX9" fmla="*/ 0 w 474348"/>
                  <a:gd name="connsiteY9" fmla="*/ 216516 h 669131"/>
                  <a:gd name="connsiteX10" fmla="*/ 192704 w 474348"/>
                  <a:gd name="connsiteY10" fmla="*/ 23812 h 669131"/>
                  <a:gd name="connsiteX0" fmla="*/ 192704 w 474348"/>
                  <a:gd name="connsiteY0" fmla="*/ 23812 h 669131"/>
                  <a:gd name="connsiteX1" fmla="*/ 265690 w 474348"/>
                  <a:gd name="connsiteY1" fmla="*/ 0 h 669131"/>
                  <a:gd name="connsiteX2" fmla="*/ 281644 w 474348"/>
                  <a:gd name="connsiteY2" fmla="*/ 23812 h 669131"/>
                  <a:gd name="connsiteX3" fmla="*/ 474348 w 474348"/>
                  <a:gd name="connsiteY3" fmla="*/ 216516 h 669131"/>
                  <a:gd name="connsiteX4" fmla="*/ 474348 w 474348"/>
                  <a:gd name="connsiteY4" fmla="*/ 669131 h 669131"/>
                  <a:gd name="connsiteX5" fmla="*/ 474348 w 474348"/>
                  <a:gd name="connsiteY5" fmla="*/ 669131 h 669131"/>
                  <a:gd name="connsiteX6" fmla="*/ 248129 w 474348"/>
                  <a:gd name="connsiteY6" fmla="*/ 669131 h 669131"/>
                  <a:gd name="connsiteX7" fmla="*/ 0 w 474348"/>
                  <a:gd name="connsiteY7" fmla="*/ 669131 h 669131"/>
                  <a:gd name="connsiteX8" fmla="*/ 0 w 474348"/>
                  <a:gd name="connsiteY8" fmla="*/ 669131 h 669131"/>
                  <a:gd name="connsiteX9" fmla="*/ 0 w 474348"/>
                  <a:gd name="connsiteY9" fmla="*/ 216516 h 669131"/>
                  <a:gd name="connsiteX10" fmla="*/ 192704 w 474348"/>
                  <a:gd name="connsiteY10" fmla="*/ 23812 h 669131"/>
                  <a:gd name="connsiteX0" fmla="*/ 192704 w 474348"/>
                  <a:gd name="connsiteY0" fmla="*/ 23812 h 669131"/>
                  <a:gd name="connsiteX1" fmla="*/ 265690 w 474348"/>
                  <a:gd name="connsiteY1" fmla="*/ 0 h 669131"/>
                  <a:gd name="connsiteX2" fmla="*/ 281644 w 474348"/>
                  <a:gd name="connsiteY2" fmla="*/ 23812 h 669131"/>
                  <a:gd name="connsiteX3" fmla="*/ 474348 w 474348"/>
                  <a:gd name="connsiteY3" fmla="*/ 216516 h 669131"/>
                  <a:gd name="connsiteX4" fmla="*/ 474348 w 474348"/>
                  <a:gd name="connsiteY4" fmla="*/ 669131 h 669131"/>
                  <a:gd name="connsiteX5" fmla="*/ 474348 w 474348"/>
                  <a:gd name="connsiteY5" fmla="*/ 669131 h 669131"/>
                  <a:gd name="connsiteX6" fmla="*/ 248129 w 474348"/>
                  <a:gd name="connsiteY6" fmla="*/ 669131 h 669131"/>
                  <a:gd name="connsiteX7" fmla="*/ 0 w 474348"/>
                  <a:gd name="connsiteY7" fmla="*/ 669131 h 669131"/>
                  <a:gd name="connsiteX8" fmla="*/ 0 w 474348"/>
                  <a:gd name="connsiteY8" fmla="*/ 669131 h 669131"/>
                  <a:gd name="connsiteX9" fmla="*/ 0 w 474348"/>
                  <a:gd name="connsiteY9" fmla="*/ 216516 h 669131"/>
                  <a:gd name="connsiteX10" fmla="*/ 192704 w 474348"/>
                  <a:gd name="connsiteY10" fmla="*/ 23812 h 669131"/>
                  <a:gd name="connsiteX0" fmla="*/ 192704 w 474348"/>
                  <a:gd name="connsiteY0" fmla="*/ 23812 h 669131"/>
                  <a:gd name="connsiteX1" fmla="*/ 265690 w 474348"/>
                  <a:gd name="connsiteY1" fmla="*/ 0 h 669131"/>
                  <a:gd name="connsiteX2" fmla="*/ 314250 w 474348"/>
                  <a:gd name="connsiteY2" fmla="*/ 24047 h 669131"/>
                  <a:gd name="connsiteX3" fmla="*/ 474348 w 474348"/>
                  <a:gd name="connsiteY3" fmla="*/ 216516 h 669131"/>
                  <a:gd name="connsiteX4" fmla="*/ 474348 w 474348"/>
                  <a:gd name="connsiteY4" fmla="*/ 669131 h 669131"/>
                  <a:gd name="connsiteX5" fmla="*/ 474348 w 474348"/>
                  <a:gd name="connsiteY5" fmla="*/ 669131 h 669131"/>
                  <a:gd name="connsiteX6" fmla="*/ 248129 w 474348"/>
                  <a:gd name="connsiteY6" fmla="*/ 669131 h 669131"/>
                  <a:gd name="connsiteX7" fmla="*/ 0 w 474348"/>
                  <a:gd name="connsiteY7" fmla="*/ 669131 h 669131"/>
                  <a:gd name="connsiteX8" fmla="*/ 0 w 474348"/>
                  <a:gd name="connsiteY8" fmla="*/ 669131 h 669131"/>
                  <a:gd name="connsiteX9" fmla="*/ 0 w 474348"/>
                  <a:gd name="connsiteY9" fmla="*/ 216516 h 669131"/>
                  <a:gd name="connsiteX10" fmla="*/ 192704 w 474348"/>
                  <a:gd name="connsiteY10" fmla="*/ 23812 h 669131"/>
                  <a:gd name="connsiteX0" fmla="*/ 192704 w 474348"/>
                  <a:gd name="connsiteY0" fmla="*/ 23812 h 669131"/>
                  <a:gd name="connsiteX1" fmla="*/ 265690 w 474348"/>
                  <a:gd name="connsiteY1" fmla="*/ 0 h 669131"/>
                  <a:gd name="connsiteX2" fmla="*/ 314250 w 474348"/>
                  <a:gd name="connsiteY2" fmla="*/ 24047 h 669131"/>
                  <a:gd name="connsiteX3" fmla="*/ 474348 w 474348"/>
                  <a:gd name="connsiteY3" fmla="*/ 216516 h 669131"/>
                  <a:gd name="connsiteX4" fmla="*/ 474348 w 474348"/>
                  <a:gd name="connsiteY4" fmla="*/ 669131 h 669131"/>
                  <a:gd name="connsiteX5" fmla="*/ 474348 w 474348"/>
                  <a:gd name="connsiteY5" fmla="*/ 669131 h 669131"/>
                  <a:gd name="connsiteX6" fmla="*/ 248129 w 474348"/>
                  <a:gd name="connsiteY6" fmla="*/ 669131 h 669131"/>
                  <a:gd name="connsiteX7" fmla="*/ 0 w 474348"/>
                  <a:gd name="connsiteY7" fmla="*/ 669131 h 669131"/>
                  <a:gd name="connsiteX8" fmla="*/ 0 w 474348"/>
                  <a:gd name="connsiteY8" fmla="*/ 669131 h 669131"/>
                  <a:gd name="connsiteX9" fmla="*/ 0 w 474348"/>
                  <a:gd name="connsiteY9" fmla="*/ 216516 h 669131"/>
                  <a:gd name="connsiteX10" fmla="*/ 192704 w 474348"/>
                  <a:gd name="connsiteY10" fmla="*/ 23812 h 669131"/>
                  <a:gd name="connsiteX0" fmla="*/ 192704 w 474348"/>
                  <a:gd name="connsiteY0" fmla="*/ 23812 h 669131"/>
                  <a:gd name="connsiteX1" fmla="*/ 265690 w 474348"/>
                  <a:gd name="connsiteY1" fmla="*/ 0 h 669131"/>
                  <a:gd name="connsiteX2" fmla="*/ 314250 w 474348"/>
                  <a:gd name="connsiteY2" fmla="*/ 24047 h 669131"/>
                  <a:gd name="connsiteX3" fmla="*/ 474348 w 474348"/>
                  <a:gd name="connsiteY3" fmla="*/ 216516 h 669131"/>
                  <a:gd name="connsiteX4" fmla="*/ 474348 w 474348"/>
                  <a:gd name="connsiteY4" fmla="*/ 669131 h 669131"/>
                  <a:gd name="connsiteX5" fmla="*/ 474348 w 474348"/>
                  <a:gd name="connsiteY5" fmla="*/ 669131 h 669131"/>
                  <a:gd name="connsiteX6" fmla="*/ 248129 w 474348"/>
                  <a:gd name="connsiteY6" fmla="*/ 669131 h 669131"/>
                  <a:gd name="connsiteX7" fmla="*/ 0 w 474348"/>
                  <a:gd name="connsiteY7" fmla="*/ 669131 h 669131"/>
                  <a:gd name="connsiteX8" fmla="*/ 0 w 474348"/>
                  <a:gd name="connsiteY8" fmla="*/ 669131 h 669131"/>
                  <a:gd name="connsiteX9" fmla="*/ 0 w 474348"/>
                  <a:gd name="connsiteY9" fmla="*/ 216516 h 669131"/>
                  <a:gd name="connsiteX10" fmla="*/ 192704 w 474348"/>
                  <a:gd name="connsiteY10" fmla="*/ 23812 h 669131"/>
                  <a:gd name="connsiteX0" fmla="*/ 174282 w 474348"/>
                  <a:gd name="connsiteY0" fmla="*/ 23596 h 669131"/>
                  <a:gd name="connsiteX1" fmla="*/ 265690 w 474348"/>
                  <a:gd name="connsiteY1" fmla="*/ 0 h 669131"/>
                  <a:gd name="connsiteX2" fmla="*/ 314250 w 474348"/>
                  <a:gd name="connsiteY2" fmla="*/ 24047 h 669131"/>
                  <a:gd name="connsiteX3" fmla="*/ 474348 w 474348"/>
                  <a:gd name="connsiteY3" fmla="*/ 216516 h 669131"/>
                  <a:gd name="connsiteX4" fmla="*/ 474348 w 474348"/>
                  <a:gd name="connsiteY4" fmla="*/ 669131 h 669131"/>
                  <a:gd name="connsiteX5" fmla="*/ 474348 w 474348"/>
                  <a:gd name="connsiteY5" fmla="*/ 669131 h 669131"/>
                  <a:gd name="connsiteX6" fmla="*/ 248129 w 474348"/>
                  <a:gd name="connsiteY6" fmla="*/ 669131 h 669131"/>
                  <a:gd name="connsiteX7" fmla="*/ 0 w 474348"/>
                  <a:gd name="connsiteY7" fmla="*/ 669131 h 669131"/>
                  <a:gd name="connsiteX8" fmla="*/ 0 w 474348"/>
                  <a:gd name="connsiteY8" fmla="*/ 669131 h 669131"/>
                  <a:gd name="connsiteX9" fmla="*/ 0 w 474348"/>
                  <a:gd name="connsiteY9" fmla="*/ 216516 h 669131"/>
                  <a:gd name="connsiteX10" fmla="*/ 174282 w 474348"/>
                  <a:gd name="connsiteY10" fmla="*/ 23596 h 669131"/>
                  <a:gd name="connsiteX0" fmla="*/ 174282 w 474348"/>
                  <a:gd name="connsiteY0" fmla="*/ 24619 h 670154"/>
                  <a:gd name="connsiteX1" fmla="*/ 216121 w 474348"/>
                  <a:gd name="connsiteY1" fmla="*/ 0 h 670154"/>
                  <a:gd name="connsiteX2" fmla="*/ 314250 w 474348"/>
                  <a:gd name="connsiteY2" fmla="*/ 25070 h 670154"/>
                  <a:gd name="connsiteX3" fmla="*/ 474348 w 474348"/>
                  <a:gd name="connsiteY3" fmla="*/ 217539 h 670154"/>
                  <a:gd name="connsiteX4" fmla="*/ 474348 w 474348"/>
                  <a:gd name="connsiteY4" fmla="*/ 670154 h 670154"/>
                  <a:gd name="connsiteX5" fmla="*/ 474348 w 474348"/>
                  <a:gd name="connsiteY5" fmla="*/ 670154 h 670154"/>
                  <a:gd name="connsiteX6" fmla="*/ 248129 w 474348"/>
                  <a:gd name="connsiteY6" fmla="*/ 670154 h 670154"/>
                  <a:gd name="connsiteX7" fmla="*/ 0 w 474348"/>
                  <a:gd name="connsiteY7" fmla="*/ 670154 h 670154"/>
                  <a:gd name="connsiteX8" fmla="*/ 0 w 474348"/>
                  <a:gd name="connsiteY8" fmla="*/ 670154 h 670154"/>
                  <a:gd name="connsiteX9" fmla="*/ 0 w 474348"/>
                  <a:gd name="connsiteY9" fmla="*/ 217539 h 670154"/>
                  <a:gd name="connsiteX10" fmla="*/ 174282 w 474348"/>
                  <a:gd name="connsiteY10" fmla="*/ 24619 h 670154"/>
                  <a:gd name="connsiteX0" fmla="*/ 174282 w 474348"/>
                  <a:gd name="connsiteY0" fmla="*/ 24619 h 670154"/>
                  <a:gd name="connsiteX1" fmla="*/ 216121 w 474348"/>
                  <a:gd name="connsiteY1" fmla="*/ 0 h 670154"/>
                  <a:gd name="connsiteX2" fmla="*/ 314250 w 474348"/>
                  <a:gd name="connsiteY2" fmla="*/ 25070 h 670154"/>
                  <a:gd name="connsiteX3" fmla="*/ 474348 w 474348"/>
                  <a:gd name="connsiteY3" fmla="*/ 217539 h 670154"/>
                  <a:gd name="connsiteX4" fmla="*/ 474348 w 474348"/>
                  <a:gd name="connsiteY4" fmla="*/ 670154 h 670154"/>
                  <a:gd name="connsiteX5" fmla="*/ 474348 w 474348"/>
                  <a:gd name="connsiteY5" fmla="*/ 670154 h 670154"/>
                  <a:gd name="connsiteX6" fmla="*/ 248129 w 474348"/>
                  <a:gd name="connsiteY6" fmla="*/ 670154 h 670154"/>
                  <a:gd name="connsiteX7" fmla="*/ 0 w 474348"/>
                  <a:gd name="connsiteY7" fmla="*/ 670154 h 670154"/>
                  <a:gd name="connsiteX8" fmla="*/ 0 w 474348"/>
                  <a:gd name="connsiteY8" fmla="*/ 670154 h 670154"/>
                  <a:gd name="connsiteX9" fmla="*/ 0 w 474348"/>
                  <a:gd name="connsiteY9" fmla="*/ 217539 h 670154"/>
                  <a:gd name="connsiteX10" fmla="*/ 174282 w 474348"/>
                  <a:gd name="connsiteY10" fmla="*/ 24619 h 670154"/>
                  <a:gd name="connsiteX0" fmla="*/ 174282 w 474348"/>
                  <a:gd name="connsiteY0" fmla="*/ 24619 h 670154"/>
                  <a:gd name="connsiteX1" fmla="*/ 216121 w 474348"/>
                  <a:gd name="connsiteY1" fmla="*/ 0 h 670154"/>
                  <a:gd name="connsiteX2" fmla="*/ 314250 w 474348"/>
                  <a:gd name="connsiteY2" fmla="*/ 25070 h 670154"/>
                  <a:gd name="connsiteX3" fmla="*/ 474348 w 474348"/>
                  <a:gd name="connsiteY3" fmla="*/ 217539 h 670154"/>
                  <a:gd name="connsiteX4" fmla="*/ 474348 w 474348"/>
                  <a:gd name="connsiteY4" fmla="*/ 670154 h 670154"/>
                  <a:gd name="connsiteX5" fmla="*/ 474348 w 474348"/>
                  <a:gd name="connsiteY5" fmla="*/ 670154 h 670154"/>
                  <a:gd name="connsiteX6" fmla="*/ 248129 w 474348"/>
                  <a:gd name="connsiteY6" fmla="*/ 670154 h 670154"/>
                  <a:gd name="connsiteX7" fmla="*/ 0 w 474348"/>
                  <a:gd name="connsiteY7" fmla="*/ 670154 h 670154"/>
                  <a:gd name="connsiteX8" fmla="*/ 0 w 474348"/>
                  <a:gd name="connsiteY8" fmla="*/ 670154 h 670154"/>
                  <a:gd name="connsiteX9" fmla="*/ 0 w 474348"/>
                  <a:gd name="connsiteY9" fmla="*/ 217539 h 670154"/>
                  <a:gd name="connsiteX10" fmla="*/ 174282 w 474348"/>
                  <a:gd name="connsiteY10" fmla="*/ 24619 h 670154"/>
                  <a:gd name="connsiteX0" fmla="*/ 174282 w 474348"/>
                  <a:gd name="connsiteY0" fmla="*/ 24619 h 670154"/>
                  <a:gd name="connsiteX1" fmla="*/ 216121 w 474348"/>
                  <a:gd name="connsiteY1" fmla="*/ 0 h 670154"/>
                  <a:gd name="connsiteX2" fmla="*/ 314250 w 474348"/>
                  <a:gd name="connsiteY2" fmla="*/ 25070 h 670154"/>
                  <a:gd name="connsiteX3" fmla="*/ 474348 w 474348"/>
                  <a:gd name="connsiteY3" fmla="*/ 217539 h 670154"/>
                  <a:gd name="connsiteX4" fmla="*/ 474348 w 474348"/>
                  <a:gd name="connsiteY4" fmla="*/ 670154 h 670154"/>
                  <a:gd name="connsiteX5" fmla="*/ 474348 w 474348"/>
                  <a:gd name="connsiteY5" fmla="*/ 670154 h 670154"/>
                  <a:gd name="connsiteX6" fmla="*/ 248129 w 474348"/>
                  <a:gd name="connsiteY6" fmla="*/ 670154 h 670154"/>
                  <a:gd name="connsiteX7" fmla="*/ 0 w 474348"/>
                  <a:gd name="connsiteY7" fmla="*/ 670154 h 670154"/>
                  <a:gd name="connsiteX8" fmla="*/ 0 w 474348"/>
                  <a:gd name="connsiteY8" fmla="*/ 670154 h 670154"/>
                  <a:gd name="connsiteX9" fmla="*/ 0 w 474348"/>
                  <a:gd name="connsiteY9" fmla="*/ 217539 h 670154"/>
                  <a:gd name="connsiteX10" fmla="*/ 174282 w 474348"/>
                  <a:gd name="connsiteY10" fmla="*/ 24619 h 670154"/>
                  <a:gd name="connsiteX0" fmla="*/ 148557 w 474348"/>
                  <a:gd name="connsiteY0" fmla="*/ 27264 h 670154"/>
                  <a:gd name="connsiteX1" fmla="*/ 216121 w 474348"/>
                  <a:gd name="connsiteY1" fmla="*/ 0 h 670154"/>
                  <a:gd name="connsiteX2" fmla="*/ 314250 w 474348"/>
                  <a:gd name="connsiteY2" fmla="*/ 25070 h 670154"/>
                  <a:gd name="connsiteX3" fmla="*/ 474348 w 474348"/>
                  <a:gd name="connsiteY3" fmla="*/ 217539 h 670154"/>
                  <a:gd name="connsiteX4" fmla="*/ 474348 w 474348"/>
                  <a:gd name="connsiteY4" fmla="*/ 670154 h 670154"/>
                  <a:gd name="connsiteX5" fmla="*/ 474348 w 474348"/>
                  <a:gd name="connsiteY5" fmla="*/ 670154 h 670154"/>
                  <a:gd name="connsiteX6" fmla="*/ 248129 w 474348"/>
                  <a:gd name="connsiteY6" fmla="*/ 670154 h 670154"/>
                  <a:gd name="connsiteX7" fmla="*/ 0 w 474348"/>
                  <a:gd name="connsiteY7" fmla="*/ 670154 h 670154"/>
                  <a:gd name="connsiteX8" fmla="*/ 0 w 474348"/>
                  <a:gd name="connsiteY8" fmla="*/ 670154 h 670154"/>
                  <a:gd name="connsiteX9" fmla="*/ 0 w 474348"/>
                  <a:gd name="connsiteY9" fmla="*/ 217539 h 670154"/>
                  <a:gd name="connsiteX10" fmla="*/ 148557 w 474348"/>
                  <a:gd name="connsiteY10" fmla="*/ 27264 h 670154"/>
                  <a:gd name="connsiteX0" fmla="*/ 148557 w 474348"/>
                  <a:gd name="connsiteY0" fmla="*/ 20950 h 663840"/>
                  <a:gd name="connsiteX1" fmla="*/ 214238 w 474348"/>
                  <a:gd name="connsiteY1" fmla="*/ 0 h 663840"/>
                  <a:gd name="connsiteX2" fmla="*/ 314250 w 474348"/>
                  <a:gd name="connsiteY2" fmla="*/ 18756 h 663840"/>
                  <a:gd name="connsiteX3" fmla="*/ 474348 w 474348"/>
                  <a:gd name="connsiteY3" fmla="*/ 211225 h 663840"/>
                  <a:gd name="connsiteX4" fmla="*/ 474348 w 474348"/>
                  <a:gd name="connsiteY4" fmla="*/ 663840 h 663840"/>
                  <a:gd name="connsiteX5" fmla="*/ 474348 w 474348"/>
                  <a:gd name="connsiteY5" fmla="*/ 663840 h 663840"/>
                  <a:gd name="connsiteX6" fmla="*/ 248129 w 474348"/>
                  <a:gd name="connsiteY6" fmla="*/ 663840 h 663840"/>
                  <a:gd name="connsiteX7" fmla="*/ 0 w 474348"/>
                  <a:gd name="connsiteY7" fmla="*/ 663840 h 663840"/>
                  <a:gd name="connsiteX8" fmla="*/ 0 w 474348"/>
                  <a:gd name="connsiteY8" fmla="*/ 663840 h 663840"/>
                  <a:gd name="connsiteX9" fmla="*/ 0 w 474348"/>
                  <a:gd name="connsiteY9" fmla="*/ 211225 h 663840"/>
                  <a:gd name="connsiteX10" fmla="*/ 148557 w 474348"/>
                  <a:gd name="connsiteY10" fmla="*/ 20950 h 663840"/>
                  <a:gd name="connsiteX0" fmla="*/ 148557 w 474348"/>
                  <a:gd name="connsiteY0" fmla="*/ 20950 h 663840"/>
                  <a:gd name="connsiteX1" fmla="*/ 214238 w 474348"/>
                  <a:gd name="connsiteY1" fmla="*/ 0 h 663840"/>
                  <a:gd name="connsiteX2" fmla="*/ 314250 w 474348"/>
                  <a:gd name="connsiteY2" fmla="*/ 18756 h 663840"/>
                  <a:gd name="connsiteX3" fmla="*/ 474348 w 474348"/>
                  <a:gd name="connsiteY3" fmla="*/ 211225 h 663840"/>
                  <a:gd name="connsiteX4" fmla="*/ 474348 w 474348"/>
                  <a:gd name="connsiteY4" fmla="*/ 663840 h 663840"/>
                  <a:gd name="connsiteX5" fmla="*/ 474348 w 474348"/>
                  <a:gd name="connsiteY5" fmla="*/ 663840 h 663840"/>
                  <a:gd name="connsiteX6" fmla="*/ 248129 w 474348"/>
                  <a:gd name="connsiteY6" fmla="*/ 663840 h 663840"/>
                  <a:gd name="connsiteX7" fmla="*/ 0 w 474348"/>
                  <a:gd name="connsiteY7" fmla="*/ 663840 h 663840"/>
                  <a:gd name="connsiteX8" fmla="*/ 0 w 474348"/>
                  <a:gd name="connsiteY8" fmla="*/ 663840 h 663840"/>
                  <a:gd name="connsiteX9" fmla="*/ 0 w 474348"/>
                  <a:gd name="connsiteY9" fmla="*/ 211225 h 663840"/>
                  <a:gd name="connsiteX10" fmla="*/ 148557 w 474348"/>
                  <a:gd name="connsiteY10" fmla="*/ 20950 h 663840"/>
                  <a:gd name="connsiteX0" fmla="*/ 148557 w 474348"/>
                  <a:gd name="connsiteY0" fmla="*/ 20950 h 663840"/>
                  <a:gd name="connsiteX1" fmla="*/ 214238 w 474348"/>
                  <a:gd name="connsiteY1" fmla="*/ 0 h 663840"/>
                  <a:gd name="connsiteX2" fmla="*/ 314250 w 474348"/>
                  <a:gd name="connsiteY2" fmla="*/ 18756 h 663840"/>
                  <a:gd name="connsiteX3" fmla="*/ 474348 w 474348"/>
                  <a:gd name="connsiteY3" fmla="*/ 211225 h 663840"/>
                  <a:gd name="connsiteX4" fmla="*/ 474348 w 474348"/>
                  <a:gd name="connsiteY4" fmla="*/ 663840 h 663840"/>
                  <a:gd name="connsiteX5" fmla="*/ 474348 w 474348"/>
                  <a:gd name="connsiteY5" fmla="*/ 663840 h 663840"/>
                  <a:gd name="connsiteX6" fmla="*/ 248129 w 474348"/>
                  <a:gd name="connsiteY6" fmla="*/ 663840 h 663840"/>
                  <a:gd name="connsiteX7" fmla="*/ 0 w 474348"/>
                  <a:gd name="connsiteY7" fmla="*/ 663840 h 663840"/>
                  <a:gd name="connsiteX8" fmla="*/ 0 w 474348"/>
                  <a:gd name="connsiteY8" fmla="*/ 663840 h 663840"/>
                  <a:gd name="connsiteX9" fmla="*/ 0 w 474348"/>
                  <a:gd name="connsiteY9" fmla="*/ 211225 h 663840"/>
                  <a:gd name="connsiteX10" fmla="*/ 148557 w 474348"/>
                  <a:gd name="connsiteY10" fmla="*/ 20950 h 663840"/>
                  <a:gd name="connsiteX0" fmla="*/ 144178 w 474348"/>
                  <a:gd name="connsiteY0" fmla="*/ 22667 h 663840"/>
                  <a:gd name="connsiteX1" fmla="*/ 214238 w 474348"/>
                  <a:gd name="connsiteY1" fmla="*/ 0 h 663840"/>
                  <a:gd name="connsiteX2" fmla="*/ 314250 w 474348"/>
                  <a:gd name="connsiteY2" fmla="*/ 18756 h 663840"/>
                  <a:gd name="connsiteX3" fmla="*/ 474348 w 474348"/>
                  <a:gd name="connsiteY3" fmla="*/ 211225 h 663840"/>
                  <a:gd name="connsiteX4" fmla="*/ 474348 w 474348"/>
                  <a:gd name="connsiteY4" fmla="*/ 663840 h 663840"/>
                  <a:gd name="connsiteX5" fmla="*/ 474348 w 474348"/>
                  <a:gd name="connsiteY5" fmla="*/ 663840 h 663840"/>
                  <a:gd name="connsiteX6" fmla="*/ 248129 w 474348"/>
                  <a:gd name="connsiteY6" fmla="*/ 663840 h 663840"/>
                  <a:gd name="connsiteX7" fmla="*/ 0 w 474348"/>
                  <a:gd name="connsiteY7" fmla="*/ 663840 h 663840"/>
                  <a:gd name="connsiteX8" fmla="*/ 0 w 474348"/>
                  <a:gd name="connsiteY8" fmla="*/ 663840 h 663840"/>
                  <a:gd name="connsiteX9" fmla="*/ 0 w 474348"/>
                  <a:gd name="connsiteY9" fmla="*/ 211225 h 663840"/>
                  <a:gd name="connsiteX10" fmla="*/ 144178 w 474348"/>
                  <a:gd name="connsiteY10" fmla="*/ 22667 h 663840"/>
                  <a:gd name="connsiteX0" fmla="*/ 144178 w 474348"/>
                  <a:gd name="connsiteY0" fmla="*/ 22667 h 663840"/>
                  <a:gd name="connsiteX1" fmla="*/ 214238 w 474348"/>
                  <a:gd name="connsiteY1" fmla="*/ 0 h 663840"/>
                  <a:gd name="connsiteX2" fmla="*/ 314250 w 474348"/>
                  <a:gd name="connsiteY2" fmla="*/ 18756 h 663840"/>
                  <a:gd name="connsiteX3" fmla="*/ 474348 w 474348"/>
                  <a:gd name="connsiteY3" fmla="*/ 211225 h 663840"/>
                  <a:gd name="connsiteX4" fmla="*/ 474348 w 474348"/>
                  <a:gd name="connsiteY4" fmla="*/ 663840 h 663840"/>
                  <a:gd name="connsiteX5" fmla="*/ 474348 w 474348"/>
                  <a:gd name="connsiteY5" fmla="*/ 663840 h 663840"/>
                  <a:gd name="connsiteX6" fmla="*/ 248129 w 474348"/>
                  <a:gd name="connsiteY6" fmla="*/ 663840 h 663840"/>
                  <a:gd name="connsiteX7" fmla="*/ 0 w 474348"/>
                  <a:gd name="connsiteY7" fmla="*/ 663840 h 663840"/>
                  <a:gd name="connsiteX8" fmla="*/ 0 w 474348"/>
                  <a:gd name="connsiteY8" fmla="*/ 663840 h 663840"/>
                  <a:gd name="connsiteX9" fmla="*/ 0 w 474348"/>
                  <a:gd name="connsiteY9" fmla="*/ 211225 h 663840"/>
                  <a:gd name="connsiteX10" fmla="*/ 144178 w 474348"/>
                  <a:gd name="connsiteY10" fmla="*/ 22667 h 663840"/>
                  <a:gd name="connsiteX0" fmla="*/ 144178 w 474348"/>
                  <a:gd name="connsiteY0" fmla="*/ 22667 h 663840"/>
                  <a:gd name="connsiteX1" fmla="*/ 214238 w 474348"/>
                  <a:gd name="connsiteY1" fmla="*/ 0 h 663840"/>
                  <a:gd name="connsiteX2" fmla="*/ 314250 w 474348"/>
                  <a:gd name="connsiteY2" fmla="*/ 18756 h 663840"/>
                  <a:gd name="connsiteX3" fmla="*/ 474348 w 474348"/>
                  <a:gd name="connsiteY3" fmla="*/ 211225 h 663840"/>
                  <a:gd name="connsiteX4" fmla="*/ 474348 w 474348"/>
                  <a:gd name="connsiteY4" fmla="*/ 663840 h 663840"/>
                  <a:gd name="connsiteX5" fmla="*/ 474348 w 474348"/>
                  <a:gd name="connsiteY5" fmla="*/ 663840 h 663840"/>
                  <a:gd name="connsiteX6" fmla="*/ 248129 w 474348"/>
                  <a:gd name="connsiteY6" fmla="*/ 663840 h 663840"/>
                  <a:gd name="connsiteX7" fmla="*/ 0 w 474348"/>
                  <a:gd name="connsiteY7" fmla="*/ 663840 h 663840"/>
                  <a:gd name="connsiteX8" fmla="*/ 0 w 474348"/>
                  <a:gd name="connsiteY8" fmla="*/ 663840 h 663840"/>
                  <a:gd name="connsiteX9" fmla="*/ 0 w 474348"/>
                  <a:gd name="connsiteY9" fmla="*/ 211225 h 663840"/>
                  <a:gd name="connsiteX10" fmla="*/ 144178 w 474348"/>
                  <a:gd name="connsiteY10" fmla="*/ 22667 h 663840"/>
                  <a:gd name="connsiteX0" fmla="*/ 144178 w 474348"/>
                  <a:gd name="connsiteY0" fmla="*/ 22667 h 663840"/>
                  <a:gd name="connsiteX1" fmla="*/ 214238 w 474348"/>
                  <a:gd name="connsiteY1" fmla="*/ 0 h 663840"/>
                  <a:gd name="connsiteX2" fmla="*/ 314250 w 474348"/>
                  <a:gd name="connsiteY2" fmla="*/ 18756 h 663840"/>
                  <a:gd name="connsiteX3" fmla="*/ 474348 w 474348"/>
                  <a:gd name="connsiteY3" fmla="*/ 211225 h 663840"/>
                  <a:gd name="connsiteX4" fmla="*/ 474348 w 474348"/>
                  <a:gd name="connsiteY4" fmla="*/ 663840 h 663840"/>
                  <a:gd name="connsiteX5" fmla="*/ 474348 w 474348"/>
                  <a:gd name="connsiteY5" fmla="*/ 663840 h 663840"/>
                  <a:gd name="connsiteX6" fmla="*/ 248129 w 474348"/>
                  <a:gd name="connsiteY6" fmla="*/ 663840 h 663840"/>
                  <a:gd name="connsiteX7" fmla="*/ 0 w 474348"/>
                  <a:gd name="connsiteY7" fmla="*/ 663840 h 663840"/>
                  <a:gd name="connsiteX8" fmla="*/ 0 w 474348"/>
                  <a:gd name="connsiteY8" fmla="*/ 663840 h 663840"/>
                  <a:gd name="connsiteX9" fmla="*/ 0 w 474348"/>
                  <a:gd name="connsiteY9" fmla="*/ 211225 h 663840"/>
                  <a:gd name="connsiteX10" fmla="*/ 144178 w 474348"/>
                  <a:gd name="connsiteY10" fmla="*/ 22667 h 6638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74348" h="663840">
                    <a:moveTo>
                      <a:pt x="144178" y="22667"/>
                    </a:moveTo>
                    <a:cubicBezTo>
                      <a:pt x="211732" y="-970"/>
                      <a:pt x="181869" y="7990"/>
                      <a:pt x="214238" y="0"/>
                    </a:cubicBezTo>
                    <a:cubicBezTo>
                      <a:pt x="259321" y="7224"/>
                      <a:pt x="221757" y="369"/>
                      <a:pt x="314250" y="18756"/>
                    </a:cubicBezTo>
                    <a:cubicBezTo>
                      <a:pt x="399877" y="51074"/>
                      <a:pt x="474348" y="104798"/>
                      <a:pt x="474348" y="211225"/>
                    </a:cubicBezTo>
                    <a:lnTo>
                      <a:pt x="474348" y="663840"/>
                    </a:lnTo>
                    <a:lnTo>
                      <a:pt x="474348" y="663840"/>
                    </a:lnTo>
                    <a:lnTo>
                      <a:pt x="248129" y="663840"/>
                    </a:lnTo>
                    <a:lnTo>
                      <a:pt x="0" y="663840"/>
                    </a:lnTo>
                    <a:lnTo>
                      <a:pt x="0" y="663840"/>
                    </a:lnTo>
                    <a:lnTo>
                      <a:pt x="0" y="211225"/>
                    </a:lnTo>
                    <a:cubicBezTo>
                      <a:pt x="0" y="104798"/>
                      <a:pt x="80700" y="56026"/>
                      <a:pt x="144178" y="22667"/>
                    </a:cubicBezTo>
                    <a:close/>
                  </a:path>
                </a:pathLst>
              </a:cu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grpSp>
        <p:grpSp>
          <p:nvGrpSpPr>
            <p:cNvPr id="139" name="Group 138"/>
            <p:cNvGrpSpPr/>
            <p:nvPr/>
          </p:nvGrpSpPr>
          <p:grpSpPr>
            <a:xfrm rot="8100000">
              <a:off x="6430508" y="2814389"/>
              <a:ext cx="2108839" cy="101418"/>
              <a:chOff x="6437694" y="2814389"/>
              <a:chExt cx="2108839" cy="101418"/>
            </a:xfrm>
          </p:grpSpPr>
          <p:sp>
            <p:nvSpPr>
              <p:cNvPr id="143" name="Round Same Side Corner Rectangle 11"/>
              <p:cNvSpPr/>
              <p:nvPr/>
            </p:nvSpPr>
            <p:spPr>
              <a:xfrm rot="5400000" flipH="1">
                <a:off x="7969911" y="2339184"/>
                <a:ext cx="101418" cy="1051827"/>
              </a:xfrm>
              <a:custGeom>
                <a:avLst/>
                <a:gdLst>
                  <a:gd name="connsiteX0" fmla="*/ 192704 w 474348"/>
                  <a:gd name="connsiteY0" fmla="*/ 0 h 645319"/>
                  <a:gd name="connsiteX1" fmla="*/ 281644 w 474348"/>
                  <a:gd name="connsiteY1" fmla="*/ 0 h 645319"/>
                  <a:gd name="connsiteX2" fmla="*/ 474348 w 474348"/>
                  <a:gd name="connsiteY2" fmla="*/ 192704 h 645319"/>
                  <a:gd name="connsiteX3" fmla="*/ 474348 w 474348"/>
                  <a:gd name="connsiteY3" fmla="*/ 645319 h 645319"/>
                  <a:gd name="connsiteX4" fmla="*/ 474348 w 474348"/>
                  <a:gd name="connsiteY4" fmla="*/ 645319 h 645319"/>
                  <a:gd name="connsiteX5" fmla="*/ 0 w 474348"/>
                  <a:gd name="connsiteY5" fmla="*/ 645319 h 645319"/>
                  <a:gd name="connsiteX6" fmla="*/ 0 w 474348"/>
                  <a:gd name="connsiteY6" fmla="*/ 645319 h 645319"/>
                  <a:gd name="connsiteX7" fmla="*/ 0 w 474348"/>
                  <a:gd name="connsiteY7" fmla="*/ 192704 h 645319"/>
                  <a:gd name="connsiteX8" fmla="*/ 192704 w 474348"/>
                  <a:gd name="connsiteY8" fmla="*/ 0 h 645319"/>
                  <a:gd name="connsiteX0" fmla="*/ 192704 w 474348"/>
                  <a:gd name="connsiteY0" fmla="*/ 0 h 645319"/>
                  <a:gd name="connsiteX1" fmla="*/ 281644 w 474348"/>
                  <a:gd name="connsiteY1" fmla="*/ 0 h 645319"/>
                  <a:gd name="connsiteX2" fmla="*/ 474348 w 474348"/>
                  <a:gd name="connsiteY2" fmla="*/ 192704 h 645319"/>
                  <a:gd name="connsiteX3" fmla="*/ 474348 w 474348"/>
                  <a:gd name="connsiteY3" fmla="*/ 645319 h 645319"/>
                  <a:gd name="connsiteX4" fmla="*/ 474348 w 474348"/>
                  <a:gd name="connsiteY4" fmla="*/ 645319 h 645319"/>
                  <a:gd name="connsiteX5" fmla="*/ 248129 w 474348"/>
                  <a:gd name="connsiteY5" fmla="*/ 645319 h 645319"/>
                  <a:gd name="connsiteX6" fmla="*/ 0 w 474348"/>
                  <a:gd name="connsiteY6" fmla="*/ 645319 h 645319"/>
                  <a:gd name="connsiteX7" fmla="*/ 0 w 474348"/>
                  <a:gd name="connsiteY7" fmla="*/ 645319 h 645319"/>
                  <a:gd name="connsiteX8" fmla="*/ 0 w 474348"/>
                  <a:gd name="connsiteY8" fmla="*/ 192704 h 645319"/>
                  <a:gd name="connsiteX9" fmla="*/ 192704 w 474348"/>
                  <a:gd name="connsiteY9" fmla="*/ 0 h 645319"/>
                  <a:gd name="connsiteX0" fmla="*/ 192704 w 474348"/>
                  <a:gd name="connsiteY0" fmla="*/ 2381 h 647700"/>
                  <a:gd name="connsiteX1" fmla="*/ 240986 w 474348"/>
                  <a:gd name="connsiteY1" fmla="*/ 0 h 647700"/>
                  <a:gd name="connsiteX2" fmla="*/ 281644 w 474348"/>
                  <a:gd name="connsiteY2" fmla="*/ 2381 h 647700"/>
                  <a:gd name="connsiteX3" fmla="*/ 474348 w 474348"/>
                  <a:gd name="connsiteY3" fmla="*/ 195085 h 647700"/>
                  <a:gd name="connsiteX4" fmla="*/ 474348 w 474348"/>
                  <a:gd name="connsiteY4" fmla="*/ 647700 h 647700"/>
                  <a:gd name="connsiteX5" fmla="*/ 474348 w 474348"/>
                  <a:gd name="connsiteY5" fmla="*/ 647700 h 647700"/>
                  <a:gd name="connsiteX6" fmla="*/ 248129 w 474348"/>
                  <a:gd name="connsiteY6" fmla="*/ 647700 h 647700"/>
                  <a:gd name="connsiteX7" fmla="*/ 0 w 474348"/>
                  <a:gd name="connsiteY7" fmla="*/ 647700 h 647700"/>
                  <a:gd name="connsiteX8" fmla="*/ 0 w 474348"/>
                  <a:gd name="connsiteY8" fmla="*/ 647700 h 647700"/>
                  <a:gd name="connsiteX9" fmla="*/ 0 w 474348"/>
                  <a:gd name="connsiteY9" fmla="*/ 195085 h 647700"/>
                  <a:gd name="connsiteX10" fmla="*/ 192704 w 474348"/>
                  <a:gd name="connsiteY10" fmla="*/ 2381 h 647700"/>
                  <a:gd name="connsiteX0" fmla="*/ 192704 w 474348"/>
                  <a:gd name="connsiteY0" fmla="*/ 42862 h 688181"/>
                  <a:gd name="connsiteX1" fmla="*/ 240986 w 474348"/>
                  <a:gd name="connsiteY1" fmla="*/ 0 h 688181"/>
                  <a:gd name="connsiteX2" fmla="*/ 281644 w 474348"/>
                  <a:gd name="connsiteY2" fmla="*/ 42862 h 688181"/>
                  <a:gd name="connsiteX3" fmla="*/ 474348 w 474348"/>
                  <a:gd name="connsiteY3" fmla="*/ 235566 h 688181"/>
                  <a:gd name="connsiteX4" fmla="*/ 474348 w 474348"/>
                  <a:gd name="connsiteY4" fmla="*/ 688181 h 688181"/>
                  <a:gd name="connsiteX5" fmla="*/ 474348 w 474348"/>
                  <a:gd name="connsiteY5" fmla="*/ 688181 h 688181"/>
                  <a:gd name="connsiteX6" fmla="*/ 248129 w 474348"/>
                  <a:gd name="connsiteY6" fmla="*/ 688181 h 688181"/>
                  <a:gd name="connsiteX7" fmla="*/ 0 w 474348"/>
                  <a:gd name="connsiteY7" fmla="*/ 688181 h 688181"/>
                  <a:gd name="connsiteX8" fmla="*/ 0 w 474348"/>
                  <a:gd name="connsiteY8" fmla="*/ 688181 h 688181"/>
                  <a:gd name="connsiteX9" fmla="*/ 0 w 474348"/>
                  <a:gd name="connsiteY9" fmla="*/ 235566 h 688181"/>
                  <a:gd name="connsiteX10" fmla="*/ 192704 w 474348"/>
                  <a:gd name="connsiteY10" fmla="*/ 42862 h 688181"/>
                  <a:gd name="connsiteX0" fmla="*/ 192704 w 474348"/>
                  <a:gd name="connsiteY0" fmla="*/ 23812 h 669131"/>
                  <a:gd name="connsiteX1" fmla="*/ 265690 w 474348"/>
                  <a:gd name="connsiteY1" fmla="*/ 0 h 669131"/>
                  <a:gd name="connsiteX2" fmla="*/ 281644 w 474348"/>
                  <a:gd name="connsiteY2" fmla="*/ 23812 h 669131"/>
                  <a:gd name="connsiteX3" fmla="*/ 474348 w 474348"/>
                  <a:gd name="connsiteY3" fmla="*/ 216516 h 669131"/>
                  <a:gd name="connsiteX4" fmla="*/ 474348 w 474348"/>
                  <a:gd name="connsiteY4" fmla="*/ 669131 h 669131"/>
                  <a:gd name="connsiteX5" fmla="*/ 474348 w 474348"/>
                  <a:gd name="connsiteY5" fmla="*/ 669131 h 669131"/>
                  <a:gd name="connsiteX6" fmla="*/ 248129 w 474348"/>
                  <a:gd name="connsiteY6" fmla="*/ 669131 h 669131"/>
                  <a:gd name="connsiteX7" fmla="*/ 0 w 474348"/>
                  <a:gd name="connsiteY7" fmla="*/ 669131 h 669131"/>
                  <a:gd name="connsiteX8" fmla="*/ 0 w 474348"/>
                  <a:gd name="connsiteY8" fmla="*/ 669131 h 669131"/>
                  <a:gd name="connsiteX9" fmla="*/ 0 w 474348"/>
                  <a:gd name="connsiteY9" fmla="*/ 216516 h 669131"/>
                  <a:gd name="connsiteX10" fmla="*/ 192704 w 474348"/>
                  <a:gd name="connsiteY10" fmla="*/ 23812 h 669131"/>
                  <a:gd name="connsiteX0" fmla="*/ 192704 w 474348"/>
                  <a:gd name="connsiteY0" fmla="*/ 23812 h 669131"/>
                  <a:gd name="connsiteX1" fmla="*/ 265690 w 474348"/>
                  <a:gd name="connsiteY1" fmla="*/ 0 h 669131"/>
                  <a:gd name="connsiteX2" fmla="*/ 281644 w 474348"/>
                  <a:gd name="connsiteY2" fmla="*/ 23812 h 669131"/>
                  <a:gd name="connsiteX3" fmla="*/ 474348 w 474348"/>
                  <a:gd name="connsiteY3" fmla="*/ 216516 h 669131"/>
                  <a:gd name="connsiteX4" fmla="*/ 474348 w 474348"/>
                  <a:gd name="connsiteY4" fmla="*/ 669131 h 669131"/>
                  <a:gd name="connsiteX5" fmla="*/ 474348 w 474348"/>
                  <a:gd name="connsiteY5" fmla="*/ 669131 h 669131"/>
                  <a:gd name="connsiteX6" fmla="*/ 248129 w 474348"/>
                  <a:gd name="connsiteY6" fmla="*/ 669131 h 669131"/>
                  <a:gd name="connsiteX7" fmla="*/ 0 w 474348"/>
                  <a:gd name="connsiteY7" fmla="*/ 669131 h 669131"/>
                  <a:gd name="connsiteX8" fmla="*/ 0 w 474348"/>
                  <a:gd name="connsiteY8" fmla="*/ 669131 h 669131"/>
                  <a:gd name="connsiteX9" fmla="*/ 0 w 474348"/>
                  <a:gd name="connsiteY9" fmla="*/ 216516 h 669131"/>
                  <a:gd name="connsiteX10" fmla="*/ 192704 w 474348"/>
                  <a:gd name="connsiteY10" fmla="*/ 23812 h 669131"/>
                  <a:gd name="connsiteX0" fmla="*/ 192704 w 474348"/>
                  <a:gd name="connsiteY0" fmla="*/ 23812 h 669131"/>
                  <a:gd name="connsiteX1" fmla="*/ 265690 w 474348"/>
                  <a:gd name="connsiteY1" fmla="*/ 0 h 669131"/>
                  <a:gd name="connsiteX2" fmla="*/ 281644 w 474348"/>
                  <a:gd name="connsiteY2" fmla="*/ 23812 h 669131"/>
                  <a:gd name="connsiteX3" fmla="*/ 474348 w 474348"/>
                  <a:gd name="connsiteY3" fmla="*/ 216516 h 669131"/>
                  <a:gd name="connsiteX4" fmla="*/ 474348 w 474348"/>
                  <a:gd name="connsiteY4" fmla="*/ 669131 h 669131"/>
                  <a:gd name="connsiteX5" fmla="*/ 474348 w 474348"/>
                  <a:gd name="connsiteY5" fmla="*/ 669131 h 669131"/>
                  <a:gd name="connsiteX6" fmla="*/ 248129 w 474348"/>
                  <a:gd name="connsiteY6" fmla="*/ 669131 h 669131"/>
                  <a:gd name="connsiteX7" fmla="*/ 0 w 474348"/>
                  <a:gd name="connsiteY7" fmla="*/ 669131 h 669131"/>
                  <a:gd name="connsiteX8" fmla="*/ 0 w 474348"/>
                  <a:gd name="connsiteY8" fmla="*/ 669131 h 669131"/>
                  <a:gd name="connsiteX9" fmla="*/ 0 w 474348"/>
                  <a:gd name="connsiteY9" fmla="*/ 216516 h 669131"/>
                  <a:gd name="connsiteX10" fmla="*/ 192704 w 474348"/>
                  <a:gd name="connsiteY10" fmla="*/ 23812 h 669131"/>
                  <a:gd name="connsiteX0" fmla="*/ 192704 w 474348"/>
                  <a:gd name="connsiteY0" fmla="*/ 23812 h 669131"/>
                  <a:gd name="connsiteX1" fmla="*/ 265690 w 474348"/>
                  <a:gd name="connsiteY1" fmla="*/ 0 h 669131"/>
                  <a:gd name="connsiteX2" fmla="*/ 314250 w 474348"/>
                  <a:gd name="connsiteY2" fmla="*/ 24047 h 669131"/>
                  <a:gd name="connsiteX3" fmla="*/ 474348 w 474348"/>
                  <a:gd name="connsiteY3" fmla="*/ 216516 h 669131"/>
                  <a:gd name="connsiteX4" fmla="*/ 474348 w 474348"/>
                  <a:gd name="connsiteY4" fmla="*/ 669131 h 669131"/>
                  <a:gd name="connsiteX5" fmla="*/ 474348 w 474348"/>
                  <a:gd name="connsiteY5" fmla="*/ 669131 h 669131"/>
                  <a:gd name="connsiteX6" fmla="*/ 248129 w 474348"/>
                  <a:gd name="connsiteY6" fmla="*/ 669131 h 669131"/>
                  <a:gd name="connsiteX7" fmla="*/ 0 w 474348"/>
                  <a:gd name="connsiteY7" fmla="*/ 669131 h 669131"/>
                  <a:gd name="connsiteX8" fmla="*/ 0 w 474348"/>
                  <a:gd name="connsiteY8" fmla="*/ 669131 h 669131"/>
                  <a:gd name="connsiteX9" fmla="*/ 0 w 474348"/>
                  <a:gd name="connsiteY9" fmla="*/ 216516 h 669131"/>
                  <a:gd name="connsiteX10" fmla="*/ 192704 w 474348"/>
                  <a:gd name="connsiteY10" fmla="*/ 23812 h 669131"/>
                  <a:gd name="connsiteX0" fmla="*/ 192704 w 474348"/>
                  <a:gd name="connsiteY0" fmla="*/ 23812 h 669131"/>
                  <a:gd name="connsiteX1" fmla="*/ 265690 w 474348"/>
                  <a:gd name="connsiteY1" fmla="*/ 0 h 669131"/>
                  <a:gd name="connsiteX2" fmla="*/ 314250 w 474348"/>
                  <a:gd name="connsiteY2" fmla="*/ 24047 h 669131"/>
                  <a:gd name="connsiteX3" fmla="*/ 474348 w 474348"/>
                  <a:gd name="connsiteY3" fmla="*/ 216516 h 669131"/>
                  <a:gd name="connsiteX4" fmla="*/ 474348 w 474348"/>
                  <a:gd name="connsiteY4" fmla="*/ 669131 h 669131"/>
                  <a:gd name="connsiteX5" fmla="*/ 474348 w 474348"/>
                  <a:gd name="connsiteY5" fmla="*/ 669131 h 669131"/>
                  <a:gd name="connsiteX6" fmla="*/ 248129 w 474348"/>
                  <a:gd name="connsiteY6" fmla="*/ 669131 h 669131"/>
                  <a:gd name="connsiteX7" fmla="*/ 0 w 474348"/>
                  <a:gd name="connsiteY7" fmla="*/ 669131 h 669131"/>
                  <a:gd name="connsiteX8" fmla="*/ 0 w 474348"/>
                  <a:gd name="connsiteY8" fmla="*/ 669131 h 669131"/>
                  <a:gd name="connsiteX9" fmla="*/ 0 w 474348"/>
                  <a:gd name="connsiteY9" fmla="*/ 216516 h 669131"/>
                  <a:gd name="connsiteX10" fmla="*/ 192704 w 474348"/>
                  <a:gd name="connsiteY10" fmla="*/ 23812 h 669131"/>
                  <a:gd name="connsiteX0" fmla="*/ 192704 w 474348"/>
                  <a:gd name="connsiteY0" fmla="*/ 23812 h 669131"/>
                  <a:gd name="connsiteX1" fmla="*/ 265690 w 474348"/>
                  <a:gd name="connsiteY1" fmla="*/ 0 h 669131"/>
                  <a:gd name="connsiteX2" fmla="*/ 314250 w 474348"/>
                  <a:gd name="connsiteY2" fmla="*/ 24047 h 669131"/>
                  <a:gd name="connsiteX3" fmla="*/ 474348 w 474348"/>
                  <a:gd name="connsiteY3" fmla="*/ 216516 h 669131"/>
                  <a:gd name="connsiteX4" fmla="*/ 474348 w 474348"/>
                  <a:gd name="connsiteY4" fmla="*/ 669131 h 669131"/>
                  <a:gd name="connsiteX5" fmla="*/ 474348 w 474348"/>
                  <a:gd name="connsiteY5" fmla="*/ 669131 h 669131"/>
                  <a:gd name="connsiteX6" fmla="*/ 248129 w 474348"/>
                  <a:gd name="connsiteY6" fmla="*/ 669131 h 669131"/>
                  <a:gd name="connsiteX7" fmla="*/ 0 w 474348"/>
                  <a:gd name="connsiteY7" fmla="*/ 669131 h 669131"/>
                  <a:gd name="connsiteX8" fmla="*/ 0 w 474348"/>
                  <a:gd name="connsiteY8" fmla="*/ 669131 h 669131"/>
                  <a:gd name="connsiteX9" fmla="*/ 0 w 474348"/>
                  <a:gd name="connsiteY9" fmla="*/ 216516 h 669131"/>
                  <a:gd name="connsiteX10" fmla="*/ 192704 w 474348"/>
                  <a:gd name="connsiteY10" fmla="*/ 23812 h 669131"/>
                  <a:gd name="connsiteX0" fmla="*/ 174282 w 474348"/>
                  <a:gd name="connsiteY0" fmla="*/ 23596 h 669131"/>
                  <a:gd name="connsiteX1" fmla="*/ 265690 w 474348"/>
                  <a:gd name="connsiteY1" fmla="*/ 0 h 669131"/>
                  <a:gd name="connsiteX2" fmla="*/ 314250 w 474348"/>
                  <a:gd name="connsiteY2" fmla="*/ 24047 h 669131"/>
                  <a:gd name="connsiteX3" fmla="*/ 474348 w 474348"/>
                  <a:gd name="connsiteY3" fmla="*/ 216516 h 669131"/>
                  <a:gd name="connsiteX4" fmla="*/ 474348 w 474348"/>
                  <a:gd name="connsiteY4" fmla="*/ 669131 h 669131"/>
                  <a:gd name="connsiteX5" fmla="*/ 474348 w 474348"/>
                  <a:gd name="connsiteY5" fmla="*/ 669131 h 669131"/>
                  <a:gd name="connsiteX6" fmla="*/ 248129 w 474348"/>
                  <a:gd name="connsiteY6" fmla="*/ 669131 h 669131"/>
                  <a:gd name="connsiteX7" fmla="*/ 0 w 474348"/>
                  <a:gd name="connsiteY7" fmla="*/ 669131 h 669131"/>
                  <a:gd name="connsiteX8" fmla="*/ 0 w 474348"/>
                  <a:gd name="connsiteY8" fmla="*/ 669131 h 669131"/>
                  <a:gd name="connsiteX9" fmla="*/ 0 w 474348"/>
                  <a:gd name="connsiteY9" fmla="*/ 216516 h 669131"/>
                  <a:gd name="connsiteX10" fmla="*/ 174282 w 474348"/>
                  <a:gd name="connsiteY10" fmla="*/ 23596 h 669131"/>
                  <a:gd name="connsiteX0" fmla="*/ 174282 w 474348"/>
                  <a:gd name="connsiteY0" fmla="*/ 24619 h 670154"/>
                  <a:gd name="connsiteX1" fmla="*/ 216121 w 474348"/>
                  <a:gd name="connsiteY1" fmla="*/ 0 h 670154"/>
                  <a:gd name="connsiteX2" fmla="*/ 314250 w 474348"/>
                  <a:gd name="connsiteY2" fmla="*/ 25070 h 670154"/>
                  <a:gd name="connsiteX3" fmla="*/ 474348 w 474348"/>
                  <a:gd name="connsiteY3" fmla="*/ 217539 h 670154"/>
                  <a:gd name="connsiteX4" fmla="*/ 474348 w 474348"/>
                  <a:gd name="connsiteY4" fmla="*/ 670154 h 670154"/>
                  <a:gd name="connsiteX5" fmla="*/ 474348 w 474348"/>
                  <a:gd name="connsiteY5" fmla="*/ 670154 h 670154"/>
                  <a:gd name="connsiteX6" fmla="*/ 248129 w 474348"/>
                  <a:gd name="connsiteY6" fmla="*/ 670154 h 670154"/>
                  <a:gd name="connsiteX7" fmla="*/ 0 w 474348"/>
                  <a:gd name="connsiteY7" fmla="*/ 670154 h 670154"/>
                  <a:gd name="connsiteX8" fmla="*/ 0 w 474348"/>
                  <a:gd name="connsiteY8" fmla="*/ 670154 h 670154"/>
                  <a:gd name="connsiteX9" fmla="*/ 0 w 474348"/>
                  <a:gd name="connsiteY9" fmla="*/ 217539 h 670154"/>
                  <a:gd name="connsiteX10" fmla="*/ 174282 w 474348"/>
                  <a:gd name="connsiteY10" fmla="*/ 24619 h 670154"/>
                  <a:gd name="connsiteX0" fmla="*/ 174282 w 474348"/>
                  <a:gd name="connsiteY0" fmla="*/ 24619 h 670154"/>
                  <a:gd name="connsiteX1" fmla="*/ 216121 w 474348"/>
                  <a:gd name="connsiteY1" fmla="*/ 0 h 670154"/>
                  <a:gd name="connsiteX2" fmla="*/ 314250 w 474348"/>
                  <a:gd name="connsiteY2" fmla="*/ 25070 h 670154"/>
                  <a:gd name="connsiteX3" fmla="*/ 474348 w 474348"/>
                  <a:gd name="connsiteY3" fmla="*/ 217539 h 670154"/>
                  <a:gd name="connsiteX4" fmla="*/ 474348 w 474348"/>
                  <a:gd name="connsiteY4" fmla="*/ 670154 h 670154"/>
                  <a:gd name="connsiteX5" fmla="*/ 474348 w 474348"/>
                  <a:gd name="connsiteY5" fmla="*/ 670154 h 670154"/>
                  <a:gd name="connsiteX6" fmla="*/ 248129 w 474348"/>
                  <a:gd name="connsiteY6" fmla="*/ 670154 h 670154"/>
                  <a:gd name="connsiteX7" fmla="*/ 0 w 474348"/>
                  <a:gd name="connsiteY7" fmla="*/ 670154 h 670154"/>
                  <a:gd name="connsiteX8" fmla="*/ 0 w 474348"/>
                  <a:gd name="connsiteY8" fmla="*/ 670154 h 670154"/>
                  <a:gd name="connsiteX9" fmla="*/ 0 w 474348"/>
                  <a:gd name="connsiteY9" fmla="*/ 217539 h 670154"/>
                  <a:gd name="connsiteX10" fmla="*/ 174282 w 474348"/>
                  <a:gd name="connsiteY10" fmla="*/ 24619 h 670154"/>
                  <a:gd name="connsiteX0" fmla="*/ 174282 w 474348"/>
                  <a:gd name="connsiteY0" fmla="*/ 24619 h 670154"/>
                  <a:gd name="connsiteX1" fmla="*/ 216121 w 474348"/>
                  <a:gd name="connsiteY1" fmla="*/ 0 h 670154"/>
                  <a:gd name="connsiteX2" fmla="*/ 314250 w 474348"/>
                  <a:gd name="connsiteY2" fmla="*/ 25070 h 670154"/>
                  <a:gd name="connsiteX3" fmla="*/ 474348 w 474348"/>
                  <a:gd name="connsiteY3" fmla="*/ 217539 h 670154"/>
                  <a:gd name="connsiteX4" fmla="*/ 474348 w 474348"/>
                  <a:gd name="connsiteY4" fmla="*/ 670154 h 670154"/>
                  <a:gd name="connsiteX5" fmla="*/ 474348 w 474348"/>
                  <a:gd name="connsiteY5" fmla="*/ 670154 h 670154"/>
                  <a:gd name="connsiteX6" fmla="*/ 248129 w 474348"/>
                  <a:gd name="connsiteY6" fmla="*/ 670154 h 670154"/>
                  <a:gd name="connsiteX7" fmla="*/ 0 w 474348"/>
                  <a:gd name="connsiteY7" fmla="*/ 670154 h 670154"/>
                  <a:gd name="connsiteX8" fmla="*/ 0 w 474348"/>
                  <a:gd name="connsiteY8" fmla="*/ 670154 h 670154"/>
                  <a:gd name="connsiteX9" fmla="*/ 0 w 474348"/>
                  <a:gd name="connsiteY9" fmla="*/ 217539 h 670154"/>
                  <a:gd name="connsiteX10" fmla="*/ 174282 w 474348"/>
                  <a:gd name="connsiteY10" fmla="*/ 24619 h 670154"/>
                  <a:gd name="connsiteX0" fmla="*/ 174282 w 474348"/>
                  <a:gd name="connsiteY0" fmla="*/ 24619 h 670154"/>
                  <a:gd name="connsiteX1" fmla="*/ 216121 w 474348"/>
                  <a:gd name="connsiteY1" fmla="*/ 0 h 670154"/>
                  <a:gd name="connsiteX2" fmla="*/ 314250 w 474348"/>
                  <a:gd name="connsiteY2" fmla="*/ 25070 h 670154"/>
                  <a:gd name="connsiteX3" fmla="*/ 474348 w 474348"/>
                  <a:gd name="connsiteY3" fmla="*/ 217539 h 670154"/>
                  <a:gd name="connsiteX4" fmla="*/ 474348 w 474348"/>
                  <a:gd name="connsiteY4" fmla="*/ 670154 h 670154"/>
                  <a:gd name="connsiteX5" fmla="*/ 474348 w 474348"/>
                  <a:gd name="connsiteY5" fmla="*/ 670154 h 670154"/>
                  <a:gd name="connsiteX6" fmla="*/ 248129 w 474348"/>
                  <a:gd name="connsiteY6" fmla="*/ 670154 h 670154"/>
                  <a:gd name="connsiteX7" fmla="*/ 0 w 474348"/>
                  <a:gd name="connsiteY7" fmla="*/ 670154 h 670154"/>
                  <a:gd name="connsiteX8" fmla="*/ 0 w 474348"/>
                  <a:gd name="connsiteY8" fmla="*/ 670154 h 670154"/>
                  <a:gd name="connsiteX9" fmla="*/ 0 w 474348"/>
                  <a:gd name="connsiteY9" fmla="*/ 217539 h 670154"/>
                  <a:gd name="connsiteX10" fmla="*/ 174282 w 474348"/>
                  <a:gd name="connsiteY10" fmla="*/ 24619 h 670154"/>
                  <a:gd name="connsiteX0" fmla="*/ 148557 w 474348"/>
                  <a:gd name="connsiteY0" fmla="*/ 27264 h 670154"/>
                  <a:gd name="connsiteX1" fmla="*/ 216121 w 474348"/>
                  <a:gd name="connsiteY1" fmla="*/ 0 h 670154"/>
                  <a:gd name="connsiteX2" fmla="*/ 314250 w 474348"/>
                  <a:gd name="connsiteY2" fmla="*/ 25070 h 670154"/>
                  <a:gd name="connsiteX3" fmla="*/ 474348 w 474348"/>
                  <a:gd name="connsiteY3" fmla="*/ 217539 h 670154"/>
                  <a:gd name="connsiteX4" fmla="*/ 474348 w 474348"/>
                  <a:gd name="connsiteY4" fmla="*/ 670154 h 670154"/>
                  <a:gd name="connsiteX5" fmla="*/ 474348 w 474348"/>
                  <a:gd name="connsiteY5" fmla="*/ 670154 h 670154"/>
                  <a:gd name="connsiteX6" fmla="*/ 248129 w 474348"/>
                  <a:gd name="connsiteY6" fmla="*/ 670154 h 670154"/>
                  <a:gd name="connsiteX7" fmla="*/ 0 w 474348"/>
                  <a:gd name="connsiteY7" fmla="*/ 670154 h 670154"/>
                  <a:gd name="connsiteX8" fmla="*/ 0 w 474348"/>
                  <a:gd name="connsiteY8" fmla="*/ 670154 h 670154"/>
                  <a:gd name="connsiteX9" fmla="*/ 0 w 474348"/>
                  <a:gd name="connsiteY9" fmla="*/ 217539 h 670154"/>
                  <a:gd name="connsiteX10" fmla="*/ 148557 w 474348"/>
                  <a:gd name="connsiteY10" fmla="*/ 27264 h 670154"/>
                  <a:gd name="connsiteX0" fmla="*/ 148557 w 474348"/>
                  <a:gd name="connsiteY0" fmla="*/ 20950 h 663840"/>
                  <a:gd name="connsiteX1" fmla="*/ 214238 w 474348"/>
                  <a:gd name="connsiteY1" fmla="*/ 0 h 663840"/>
                  <a:gd name="connsiteX2" fmla="*/ 314250 w 474348"/>
                  <a:gd name="connsiteY2" fmla="*/ 18756 h 663840"/>
                  <a:gd name="connsiteX3" fmla="*/ 474348 w 474348"/>
                  <a:gd name="connsiteY3" fmla="*/ 211225 h 663840"/>
                  <a:gd name="connsiteX4" fmla="*/ 474348 w 474348"/>
                  <a:gd name="connsiteY4" fmla="*/ 663840 h 663840"/>
                  <a:gd name="connsiteX5" fmla="*/ 474348 w 474348"/>
                  <a:gd name="connsiteY5" fmla="*/ 663840 h 663840"/>
                  <a:gd name="connsiteX6" fmla="*/ 248129 w 474348"/>
                  <a:gd name="connsiteY6" fmla="*/ 663840 h 663840"/>
                  <a:gd name="connsiteX7" fmla="*/ 0 w 474348"/>
                  <a:gd name="connsiteY7" fmla="*/ 663840 h 663840"/>
                  <a:gd name="connsiteX8" fmla="*/ 0 w 474348"/>
                  <a:gd name="connsiteY8" fmla="*/ 663840 h 663840"/>
                  <a:gd name="connsiteX9" fmla="*/ 0 w 474348"/>
                  <a:gd name="connsiteY9" fmla="*/ 211225 h 663840"/>
                  <a:gd name="connsiteX10" fmla="*/ 148557 w 474348"/>
                  <a:gd name="connsiteY10" fmla="*/ 20950 h 663840"/>
                  <a:gd name="connsiteX0" fmla="*/ 148557 w 474348"/>
                  <a:gd name="connsiteY0" fmla="*/ 20950 h 663840"/>
                  <a:gd name="connsiteX1" fmla="*/ 214238 w 474348"/>
                  <a:gd name="connsiteY1" fmla="*/ 0 h 663840"/>
                  <a:gd name="connsiteX2" fmla="*/ 314250 w 474348"/>
                  <a:gd name="connsiteY2" fmla="*/ 18756 h 663840"/>
                  <a:gd name="connsiteX3" fmla="*/ 474348 w 474348"/>
                  <a:gd name="connsiteY3" fmla="*/ 211225 h 663840"/>
                  <a:gd name="connsiteX4" fmla="*/ 474348 w 474348"/>
                  <a:gd name="connsiteY4" fmla="*/ 663840 h 663840"/>
                  <a:gd name="connsiteX5" fmla="*/ 474348 w 474348"/>
                  <a:gd name="connsiteY5" fmla="*/ 663840 h 663840"/>
                  <a:gd name="connsiteX6" fmla="*/ 248129 w 474348"/>
                  <a:gd name="connsiteY6" fmla="*/ 663840 h 663840"/>
                  <a:gd name="connsiteX7" fmla="*/ 0 w 474348"/>
                  <a:gd name="connsiteY7" fmla="*/ 663840 h 663840"/>
                  <a:gd name="connsiteX8" fmla="*/ 0 w 474348"/>
                  <a:gd name="connsiteY8" fmla="*/ 663840 h 663840"/>
                  <a:gd name="connsiteX9" fmla="*/ 0 w 474348"/>
                  <a:gd name="connsiteY9" fmla="*/ 211225 h 663840"/>
                  <a:gd name="connsiteX10" fmla="*/ 148557 w 474348"/>
                  <a:gd name="connsiteY10" fmla="*/ 20950 h 663840"/>
                  <a:gd name="connsiteX0" fmla="*/ 148557 w 474348"/>
                  <a:gd name="connsiteY0" fmla="*/ 20950 h 663840"/>
                  <a:gd name="connsiteX1" fmla="*/ 214238 w 474348"/>
                  <a:gd name="connsiteY1" fmla="*/ 0 h 663840"/>
                  <a:gd name="connsiteX2" fmla="*/ 314250 w 474348"/>
                  <a:gd name="connsiteY2" fmla="*/ 18756 h 663840"/>
                  <a:gd name="connsiteX3" fmla="*/ 474348 w 474348"/>
                  <a:gd name="connsiteY3" fmla="*/ 211225 h 663840"/>
                  <a:gd name="connsiteX4" fmla="*/ 474348 w 474348"/>
                  <a:gd name="connsiteY4" fmla="*/ 663840 h 663840"/>
                  <a:gd name="connsiteX5" fmla="*/ 474348 w 474348"/>
                  <a:gd name="connsiteY5" fmla="*/ 663840 h 663840"/>
                  <a:gd name="connsiteX6" fmla="*/ 248129 w 474348"/>
                  <a:gd name="connsiteY6" fmla="*/ 663840 h 663840"/>
                  <a:gd name="connsiteX7" fmla="*/ 0 w 474348"/>
                  <a:gd name="connsiteY7" fmla="*/ 663840 h 663840"/>
                  <a:gd name="connsiteX8" fmla="*/ 0 w 474348"/>
                  <a:gd name="connsiteY8" fmla="*/ 663840 h 663840"/>
                  <a:gd name="connsiteX9" fmla="*/ 0 w 474348"/>
                  <a:gd name="connsiteY9" fmla="*/ 211225 h 663840"/>
                  <a:gd name="connsiteX10" fmla="*/ 148557 w 474348"/>
                  <a:gd name="connsiteY10" fmla="*/ 20950 h 663840"/>
                  <a:gd name="connsiteX0" fmla="*/ 144178 w 474348"/>
                  <a:gd name="connsiteY0" fmla="*/ 22667 h 663840"/>
                  <a:gd name="connsiteX1" fmla="*/ 214238 w 474348"/>
                  <a:gd name="connsiteY1" fmla="*/ 0 h 663840"/>
                  <a:gd name="connsiteX2" fmla="*/ 314250 w 474348"/>
                  <a:gd name="connsiteY2" fmla="*/ 18756 h 663840"/>
                  <a:gd name="connsiteX3" fmla="*/ 474348 w 474348"/>
                  <a:gd name="connsiteY3" fmla="*/ 211225 h 663840"/>
                  <a:gd name="connsiteX4" fmla="*/ 474348 w 474348"/>
                  <a:gd name="connsiteY4" fmla="*/ 663840 h 663840"/>
                  <a:gd name="connsiteX5" fmla="*/ 474348 w 474348"/>
                  <a:gd name="connsiteY5" fmla="*/ 663840 h 663840"/>
                  <a:gd name="connsiteX6" fmla="*/ 248129 w 474348"/>
                  <a:gd name="connsiteY6" fmla="*/ 663840 h 663840"/>
                  <a:gd name="connsiteX7" fmla="*/ 0 w 474348"/>
                  <a:gd name="connsiteY7" fmla="*/ 663840 h 663840"/>
                  <a:gd name="connsiteX8" fmla="*/ 0 w 474348"/>
                  <a:gd name="connsiteY8" fmla="*/ 663840 h 663840"/>
                  <a:gd name="connsiteX9" fmla="*/ 0 w 474348"/>
                  <a:gd name="connsiteY9" fmla="*/ 211225 h 663840"/>
                  <a:gd name="connsiteX10" fmla="*/ 144178 w 474348"/>
                  <a:gd name="connsiteY10" fmla="*/ 22667 h 663840"/>
                  <a:gd name="connsiteX0" fmla="*/ 144178 w 474348"/>
                  <a:gd name="connsiteY0" fmla="*/ 22667 h 663840"/>
                  <a:gd name="connsiteX1" fmla="*/ 214238 w 474348"/>
                  <a:gd name="connsiteY1" fmla="*/ 0 h 663840"/>
                  <a:gd name="connsiteX2" fmla="*/ 314250 w 474348"/>
                  <a:gd name="connsiteY2" fmla="*/ 18756 h 663840"/>
                  <a:gd name="connsiteX3" fmla="*/ 474348 w 474348"/>
                  <a:gd name="connsiteY3" fmla="*/ 211225 h 663840"/>
                  <a:gd name="connsiteX4" fmla="*/ 474348 w 474348"/>
                  <a:gd name="connsiteY4" fmla="*/ 663840 h 663840"/>
                  <a:gd name="connsiteX5" fmla="*/ 474348 w 474348"/>
                  <a:gd name="connsiteY5" fmla="*/ 663840 h 663840"/>
                  <a:gd name="connsiteX6" fmla="*/ 248129 w 474348"/>
                  <a:gd name="connsiteY6" fmla="*/ 663840 h 663840"/>
                  <a:gd name="connsiteX7" fmla="*/ 0 w 474348"/>
                  <a:gd name="connsiteY7" fmla="*/ 663840 h 663840"/>
                  <a:gd name="connsiteX8" fmla="*/ 0 w 474348"/>
                  <a:gd name="connsiteY8" fmla="*/ 663840 h 663840"/>
                  <a:gd name="connsiteX9" fmla="*/ 0 w 474348"/>
                  <a:gd name="connsiteY9" fmla="*/ 211225 h 663840"/>
                  <a:gd name="connsiteX10" fmla="*/ 144178 w 474348"/>
                  <a:gd name="connsiteY10" fmla="*/ 22667 h 663840"/>
                  <a:gd name="connsiteX0" fmla="*/ 144178 w 474348"/>
                  <a:gd name="connsiteY0" fmla="*/ 22667 h 663840"/>
                  <a:gd name="connsiteX1" fmla="*/ 214238 w 474348"/>
                  <a:gd name="connsiteY1" fmla="*/ 0 h 663840"/>
                  <a:gd name="connsiteX2" fmla="*/ 314250 w 474348"/>
                  <a:gd name="connsiteY2" fmla="*/ 18756 h 663840"/>
                  <a:gd name="connsiteX3" fmla="*/ 474348 w 474348"/>
                  <a:gd name="connsiteY3" fmla="*/ 211225 h 663840"/>
                  <a:gd name="connsiteX4" fmla="*/ 474348 w 474348"/>
                  <a:gd name="connsiteY4" fmla="*/ 663840 h 663840"/>
                  <a:gd name="connsiteX5" fmla="*/ 474348 w 474348"/>
                  <a:gd name="connsiteY5" fmla="*/ 663840 h 663840"/>
                  <a:gd name="connsiteX6" fmla="*/ 248129 w 474348"/>
                  <a:gd name="connsiteY6" fmla="*/ 663840 h 663840"/>
                  <a:gd name="connsiteX7" fmla="*/ 0 w 474348"/>
                  <a:gd name="connsiteY7" fmla="*/ 663840 h 663840"/>
                  <a:gd name="connsiteX8" fmla="*/ 0 w 474348"/>
                  <a:gd name="connsiteY8" fmla="*/ 663840 h 663840"/>
                  <a:gd name="connsiteX9" fmla="*/ 0 w 474348"/>
                  <a:gd name="connsiteY9" fmla="*/ 211225 h 663840"/>
                  <a:gd name="connsiteX10" fmla="*/ 144178 w 474348"/>
                  <a:gd name="connsiteY10" fmla="*/ 22667 h 663840"/>
                  <a:gd name="connsiteX0" fmla="*/ 144178 w 474348"/>
                  <a:gd name="connsiteY0" fmla="*/ 22667 h 663840"/>
                  <a:gd name="connsiteX1" fmla="*/ 214238 w 474348"/>
                  <a:gd name="connsiteY1" fmla="*/ 0 h 663840"/>
                  <a:gd name="connsiteX2" fmla="*/ 314250 w 474348"/>
                  <a:gd name="connsiteY2" fmla="*/ 18756 h 663840"/>
                  <a:gd name="connsiteX3" fmla="*/ 474348 w 474348"/>
                  <a:gd name="connsiteY3" fmla="*/ 211225 h 663840"/>
                  <a:gd name="connsiteX4" fmla="*/ 474348 w 474348"/>
                  <a:gd name="connsiteY4" fmla="*/ 663840 h 663840"/>
                  <a:gd name="connsiteX5" fmla="*/ 474348 w 474348"/>
                  <a:gd name="connsiteY5" fmla="*/ 663840 h 663840"/>
                  <a:gd name="connsiteX6" fmla="*/ 248129 w 474348"/>
                  <a:gd name="connsiteY6" fmla="*/ 663840 h 663840"/>
                  <a:gd name="connsiteX7" fmla="*/ 0 w 474348"/>
                  <a:gd name="connsiteY7" fmla="*/ 663840 h 663840"/>
                  <a:gd name="connsiteX8" fmla="*/ 0 w 474348"/>
                  <a:gd name="connsiteY8" fmla="*/ 663840 h 663840"/>
                  <a:gd name="connsiteX9" fmla="*/ 0 w 474348"/>
                  <a:gd name="connsiteY9" fmla="*/ 211225 h 663840"/>
                  <a:gd name="connsiteX10" fmla="*/ 144178 w 474348"/>
                  <a:gd name="connsiteY10" fmla="*/ 22667 h 6638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74348" h="663840">
                    <a:moveTo>
                      <a:pt x="144178" y="22667"/>
                    </a:moveTo>
                    <a:cubicBezTo>
                      <a:pt x="211732" y="-970"/>
                      <a:pt x="181869" y="7990"/>
                      <a:pt x="214238" y="0"/>
                    </a:cubicBezTo>
                    <a:cubicBezTo>
                      <a:pt x="259321" y="7224"/>
                      <a:pt x="221757" y="369"/>
                      <a:pt x="314250" y="18756"/>
                    </a:cubicBezTo>
                    <a:cubicBezTo>
                      <a:pt x="399877" y="51074"/>
                      <a:pt x="474348" y="104798"/>
                      <a:pt x="474348" y="211225"/>
                    </a:cubicBezTo>
                    <a:lnTo>
                      <a:pt x="474348" y="663840"/>
                    </a:lnTo>
                    <a:lnTo>
                      <a:pt x="474348" y="663840"/>
                    </a:lnTo>
                    <a:lnTo>
                      <a:pt x="248129" y="663840"/>
                    </a:lnTo>
                    <a:lnTo>
                      <a:pt x="0" y="663840"/>
                    </a:lnTo>
                    <a:lnTo>
                      <a:pt x="0" y="663840"/>
                    </a:lnTo>
                    <a:lnTo>
                      <a:pt x="0" y="211225"/>
                    </a:lnTo>
                    <a:cubicBezTo>
                      <a:pt x="0" y="104798"/>
                      <a:pt x="80700" y="56026"/>
                      <a:pt x="144178" y="22667"/>
                    </a:cubicBezTo>
                    <a:close/>
                  </a:path>
                </a:pathLst>
              </a:cu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44" name="Round Same Side Corner Rectangle 11"/>
              <p:cNvSpPr/>
              <p:nvPr/>
            </p:nvSpPr>
            <p:spPr>
              <a:xfrm rot="16200000">
                <a:off x="6912899" y="2339184"/>
                <a:ext cx="101418" cy="1051827"/>
              </a:xfrm>
              <a:custGeom>
                <a:avLst/>
                <a:gdLst>
                  <a:gd name="connsiteX0" fmla="*/ 192704 w 474348"/>
                  <a:gd name="connsiteY0" fmla="*/ 0 h 645319"/>
                  <a:gd name="connsiteX1" fmla="*/ 281644 w 474348"/>
                  <a:gd name="connsiteY1" fmla="*/ 0 h 645319"/>
                  <a:gd name="connsiteX2" fmla="*/ 474348 w 474348"/>
                  <a:gd name="connsiteY2" fmla="*/ 192704 h 645319"/>
                  <a:gd name="connsiteX3" fmla="*/ 474348 w 474348"/>
                  <a:gd name="connsiteY3" fmla="*/ 645319 h 645319"/>
                  <a:gd name="connsiteX4" fmla="*/ 474348 w 474348"/>
                  <a:gd name="connsiteY4" fmla="*/ 645319 h 645319"/>
                  <a:gd name="connsiteX5" fmla="*/ 0 w 474348"/>
                  <a:gd name="connsiteY5" fmla="*/ 645319 h 645319"/>
                  <a:gd name="connsiteX6" fmla="*/ 0 w 474348"/>
                  <a:gd name="connsiteY6" fmla="*/ 645319 h 645319"/>
                  <a:gd name="connsiteX7" fmla="*/ 0 w 474348"/>
                  <a:gd name="connsiteY7" fmla="*/ 192704 h 645319"/>
                  <a:gd name="connsiteX8" fmla="*/ 192704 w 474348"/>
                  <a:gd name="connsiteY8" fmla="*/ 0 h 645319"/>
                  <a:gd name="connsiteX0" fmla="*/ 192704 w 474348"/>
                  <a:gd name="connsiteY0" fmla="*/ 0 h 645319"/>
                  <a:gd name="connsiteX1" fmla="*/ 281644 w 474348"/>
                  <a:gd name="connsiteY1" fmla="*/ 0 h 645319"/>
                  <a:gd name="connsiteX2" fmla="*/ 474348 w 474348"/>
                  <a:gd name="connsiteY2" fmla="*/ 192704 h 645319"/>
                  <a:gd name="connsiteX3" fmla="*/ 474348 w 474348"/>
                  <a:gd name="connsiteY3" fmla="*/ 645319 h 645319"/>
                  <a:gd name="connsiteX4" fmla="*/ 474348 w 474348"/>
                  <a:gd name="connsiteY4" fmla="*/ 645319 h 645319"/>
                  <a:gd name="connsiteX5" fmla="*/ 248129 w 474348"/>
                  <a:gd name="connsiteY5" fmla="*/ 645319 h 645319"/>
                  <a:gd name="connsiteX6" fmla="*/ 0 w 474348"/>
                  <a:gd name="connsiteY6" fmla="*/ 645319 h 645319"/>
                  <a:gd name="connsiteX7" fmla="*/ 0 w 474348"/>
                  <a:gd name="connsiteY7" fmla="*/ 645319 h 645319"/>
                  <a:gd name="connsiteX8" fmla="*/ 0 w 474348"/>
                  <a:gd name="connsiteY8" fmla="*/ 192704 h 645319"/>
                  <a:gd name="connsiteX9" fmla="*/ 192704 w 474348"/>
                  <a:gd name="connsiteY9" fmla="*/ 0 h 645319"/>
                  <a:gd name="connsiteX0" fmla="*/ 192704 w 474348"/>
                  <a:gd name="connsiteY0" fmla="*/ 2381 h 647700"/>
                  <a:gd name="connsiteX1" fmla="*/ 240986 w 474348"/>
                  <a:gd name="connsiteY1" fmla="*/ 0 h 647700"/>
                  <a:gd name="connsiteX2" fmla="*/ 281644 w 474348"/>
                  <a:gd name="connsiteY2" fmla="*/ 2381 h 647700"/>
                  <a:gd name="connsiteX3" fmla="*/ 474348 w 474348"/>
                  <a:gd name="connsiteY3" fmla="*/ 195085 h 647700"/>
                  <a:gd name="connsiteX4" fmla="*/ 474348 w 474348"/>
                  <a:gd name="connsiteY4" fmla="*/ 647700 h 647700"/>
                  <a:gd name="connsiteX5" fmla="*/ 474348 w 474348"/>
                  <a:gd name="connsiteY5" fmla="*/ 647700 h 647700"/>
                  <a:gd name="connsiteX6" fmla="*/ 248129 w 474348"/>
                  <a:gd name="connsiteY6" fmla="*/ 647700 h 647700"/>
                  <a:gd name="connsiteX7" fmla="*/ 0 w 474348"/>
                  <a:gd name="connsiteY7" fmla="*/ 647700 h 647700"/>
                  <a:gd name="connsiteX8" fmla="*/ 0 w 474348"/>
                  <a:gd name="connsiteY8" fmla="*/ 647700 h 647700"/>
                  <a:gd name="connsiteX9" fmla="*/ 0 w 474348"/>
                  <a:gd name="connsiteY9" fmla="*/ 195085 h 647700"/>
                  <a:gd name="connsiteX10" fmla="*/ 192704 w 474348"/>
                  <a:gd name="connsiteY10" fmla="*/ 2381 h 647700"/>
                  <a:gd name="connsiteX0" fmla="*/ 192704 w 474348"/>
                  <a:gd name="connsiteY0" fmla="*/ 42862 h 688181"/>
                  <a:gd name="connsiteX1" fmla="*/ 240986 w 474348"/>
                  <a:gd name="connsiteY1" fmla="*/ 0 h 688181"/>
                  <a:gd name="connsiteX2" fmla="*/ 281644 w 474348"/>
                  <a:gd name="connsiteY2" fmla="*/ 42862 h 688181"/>
                  <a:gd name="connsiteX3" fmla="*/ 474348 w 474348"/>
                  <a:gd name="connsiteY3" fmla="*/ 235566 h 688181"/>
                  <a:gd name="connsiteX4" fmla="*/ 474348 w 474348"/>
                  <a:gd name="connsiteY4" fmla="*/ 688181 h 688181"/>
                  <a:gd name="connsiteX5" fmla="*/ 474348 w 474348"/>
                  <a:gd name="connsiteY5" fmla="*/ 688181 h 688181"/>
                  <a:gd name="connsiteX6" fmla="*/ 248129 w 474348"/>
                  <a:gd name="connsiteY6" fmla="*/ 688181 h 688181"/>
                  <a:gd name="connsiteX7" fmla="*/ 0 w 474348"/>
                  <a:gd name="connsiteY7" fmla="*/ 688181 h 688181"/>
                  <a:gd name="connsiteX8" fmla="*/ 0 w 474348"/>
                  <a:gd name="connsiteY8" fmla="*/ 688181 h 688181"/>
                  <a:gd name="connsiteX9" fmla="*/ 0 w 474348"/>
                  <a:gd name="connsiteY9" fmla="*/ 235566 h 688181"/>
                  <a:gd name="connsiteX10" fmla="*/ 192704 w 474348"/>
                  <a:gd name="connsiteY10" fmla="*/ 42862 h 688181"/>
                  <a:gd name="connsiteX0" fmla="*/ 192704 w 474348"/>
                  <a:gd name="connsiteY0" fmla="*/ 23812 h 669131"/>
                  <a:gd name="connsiteX1" fmla="*/ 265690 w 474348"/>
                  <a:gd name="connsiteY1" fmla="*/ 0 h 669131"/>
                  <a:gd name="connsiteX2" fmla="*/ 281644 w 474348"/>
                  <a:gd name="connsiteY2" fmla="*/ 23812 h 669131"/>
                  <a:gd name="connsiteX3" fmla="*/ 474348 w 474348"/>
                  <a:gd name="connsiteY3" fmla="*/ 216516 h 669131"/>
                  <a:gd name="connsiteX4" fmla="*/ 474348 w 474348"/>
                  <a:gd name="connsiteY4" fmla="*/ 669131 h 669131"/>
                  <a:gd name="connsiteX5" fmla="*/ 474348 w 474348"/>
                  <a:gd name="connsiteY5" fmla="*/ 669131 h 669131"/>
                  <a:gd name="connsiteX6" fmla="*/ 248129 w 474348"/>
                  <a:gd name="connsiteY6" fmla="*/ 669131 h 669131"/>
                  <a:gd name="connsiteX7" fmla="*/ 0 w 474348"/>
                  <a:gd name="connsiteY7" fmla="*/ 669131 h 669131"/>
                  <a:gd name="connsiteX8" fmla="*/ 0 w 474348"/>
                  <a:gd name="connsiteY8" fmla="*/ 669131 h 669131"/>
                  <a:gd name="connsiteX9" fmla="*/ 0 w 474348"/>
                  <a:gd name="connsiteY9" fmla="*/ 216516 h 669131"/>
                  <a:gd name="connsiteX10" fmla="*/ 192704 w 474348"/>
                  <a:gd name="connsiteY10" fmla="*/ 23812 h 669131"/>
                  <a:gd name="connsiteX0" fmla="*/ 192704 w 474348"/>
                  <a:gd name="connsiteY0" fmla="*/ 23812 h 669131"/>
                  <a:gd name="connsiteX1" fmla="*/ 265690 w 474348"/>
                  <a:gd name="connsiteY1" fmla="*/ 0 h 669131"/>
                  <a:gd name="connsiteX2" fmla="*/ 281644 w 474348"/>
                  <a:gd name="connsiteY2" fmla="*/ 23812 h 669131"/>
                  <a:gd name="connsiteX3" fmla="*/ 474348 w 474348"/>
                  <a:gd name="connsiteY3" fmla="*/ 216516 h 669131"/>
                  <a:gd name="connsiteX4" fmla="*/ 474348 w 474348"/>
                  <a:gd name="connsiteY4" fmla="*/ 669131 h 669131"/>
                  <a:gd name="connsiteX5" fmla="*/ 474348 w 474348"/>
                  <a:gd name="connsiteY5" fmla="*/ 669131 h 669131"/>
                  <a:gd name="connsiteX6" fmla="*/ 248129 w 474348"/>
                  <a:gd name="connsiteY6" fmla="*/ 669131 h 669131"/>
                  <a:gd name="connsiteX7" fmla="*/ 0 w 474348"/>
                  <a:gd name="connsiteY7" fmla="*/ 669131 h 669131"/>
                  <a:gd name="connsiteX8" fmla="*/ 0 w 474348"/>
                  <a:gd name="connsiteY8" fmla="*/ 669131 h 669131"/>
                  <a:gd name="connsiteX9" fmla="*/ 0 w 474348"/>
                  <a:gd name="connsiteY9" fmla="*/ 216516 h 669131"/>
                  <a:gd name="connsiteX10" fmla="*/ 192704 w 474348"/>
                  <a:gd name="connsiteY10" fmla="*/ 23812 h 669131"/>
                  <a:gd name="connsiteX0" fmla="*/ 192704 w 474348"/>
                  <a:gd name="connsiteY0" fmla="*/ 23812 h 669131"/>
                  <a:gd name="connsiteX1" fmla="*/ 265690 w 474348"/>
                  <a:gd name="connsiteY1" fmla="*/ 0 h 669131"/>
                  <a:gd name="connsiteX2" fmla="*/ 281644 w 474348"/>
                  <a:gd name="connsiteY2" fmla="*/ 23812 h 669131"/>
                  <a:gd name="connsiteX3" fmla="*/ 474348 w 474348"/>
                  <a:gd name="connsiteY3" fmla="*/ 216516 h 669131"/>
                  <a:gd name="connsiteX4" fmla="*/ 474348 w 474348"/>
                  <a:gd name="connsiteY4" fmla="*/ 669131 h 669131"/>
                  <a:gd name="connsiteX5" fmla="*/ 474348 w 474348"/>
                  <a:gd name="connsiteY5" fmla="*/ 669131 h 669131"/>
                  <a:gd name="connsiteX6" fmla="*/ 248129 w 474348"/>
                  <a:gd name="connsiteY6" fmla="*/ 669131 h 669131"/>
                  <a:gd name="connsiteX7" fmla="*/ 0 w 474348"/>
                  <a:gd name="connsiteY7" fmla="*/ 669131 h 669131"/>
                  <a:gd name="connsiteX8" fmla="*/ 0 w 474348"/>
                  <a:gd name="connsiteY8" fmla="*/ 669131 h 669131"/>
                  <a:gd name="connsiteX9" fmla="*/ 0 w 474348"/>
                  <a:gd name="connsiteY9" fmla="*/ 216516 h 669131"/>
                  <a:gd name="connsiteX10" fmla="*/ 192704 w 474348"/>
                  <a:gd name="connsiteY10" fmla="*/ 23812 h 669131"/>
                  <a:gd name="connsiteX0" fmla="*/ 192704 w 474348"/>
                  <a:gd name="connsiteY0" fmla="*/ 23812 h 669131"/>
                  <a:gd name="connsiteX1" fmla="*/ 265690 w 474348"/>
                  <a:gd name="connsiteY1" fmla="*/ 0 h 669131"/>
                  <a:gd name="connsiteX2" fmla="*/ 314250 w 474348"/>
                  <a:gd name="connsiteY2" fmla="*/ 24047 h 669131"/>
                  <a:gd name="connsiteX3" fmla="*/ 474348 w 474348"/>
                  <a:gd name="connsiteY3" fmla="*/ 216516 h 669131"/>
                  <a:gd name="connsiteX4" fmla="*/ 474348 w 474348"/>
                  <a:gd name="connsiteY4" fmla="*/ 669131 h 669131"/>
                  <a:gd name="connsiteX5" fmla="*/ 474348 w 474348"/>
                  <a:gd name="connsiteY5" fmla="*/ 669131 h 669131"/>
                  <a:gd name="connsiteX6" fmla="*/ 248129 w 474348"/>
                  <a:gd name="connsiteY6" fmla="*/ 669131 h 669131"/>
                  <a:gd name="connsiteX7" fmla="*/ 0 w 474348"/>
                  <a:gd name="connsiteY7" fmla="*/ 669131 h 669131"/>
                  <a:gd name="connsiteX8" fmla="*/ 0 w 474348"/>
                  <a:gd name="connsiteY8" fmla="*/ 669131 h 669131"/>
                  <a:gd name="connsiteX9" fmla="*/ 0 w 474348"/>
                  <a:gd name="connsiteY9" fmla="*/ 216516 h 669131"/>
                  <a:gd name="connsiteX10" fmla="*/ 192704 w 474348"/>
                  <a:gd name="connsiteY10" fmla="*/ 23812 h 669131"/>
                  <a:gd name="connsiteX0" fmla="*/ 192704 w 474348"/>
                  <a:gd name="connsiteY0" fmla="*/ 23812 h 669131"/>
                  <a:gd name="connsiteX1" fmla="*/ 265690 w 474348"/>
                  <a:gd name="connsiteY1" fmla="*/ 0 h 669131"/>
                  <a:gd name="connsiteX2" fmla="*/ 314250 w 474348"/>
                  <a:gd name="connsiteY2" fmla="*/ 24047 h 669131"/>
                  <a:gd name="connsiteX3" fmla="*/ 474348 w 474348"/>
                  <a:gd name="connsiteY3" fmla="*/ 216516 h 669131"/>
                  <a:gd name="connsiteX4" fmla="*/ 474348 w 474348"/>
                  <a:gd name="connsiteY4" fmla="*/ 669131 h 669131"/>
                  <a:gd name="connsiteX5" fmla="*/ 474348 w 474348"/>
                  <a:gd name="connsiteY5" fmla="*/ 669131 h 669131"/>
                  <a:gd name="connsiteX6" fmla="*/ 248129 w 474348"/>
                  <a:gd name="connsiteY6" fmla="*/ 669131 h 669131"/>
                  <a:gd name="connsiteX7" fmla="*/ 0 w 474348"/>
                  <a:gd name="connsiteY7" fmla="*/ 669131 h 669131"/>
                  <a:gd name="connsiteX8" fmla="*/ 0 w 474348"/>
                  <a:gd name="connsiteY8" fmla="*/ 669131 h 669131"/>
                  <a:gd name="connsiteX9" fmla="*/ 0 w 474348"/>
                  <a:gd name="connsiteY9" fmla="*/ 216516 h 669131"/>
                  <a:gd name="connsiteX10" fmla="*/ 192704 w 474348"/>
                  <a:gd name="connsiteY10" fmla="*/ 23812 h 669131"/>
                  <a:gd name="connsiteX0" fmla="*/ 192704 w 474348"/>
                  <a:gd name="connsiteY0" fmla="*/ 23812 h 669131"/>
                  <a:gd name="connsiteX1" fmla="*/ 265690 w 474348"/>
                  <a:gd name="connsiteY1" fmla="*/ 0 h 669131"/>
                  <a:gd name="connsiteX2" fmla="*/ 314250 w 474348"/>
                  <a:gd name="connsiteY2" fmla="*/ 24047 h 669131"/>
                  <a:gd name="connsiteX3" fmla="*/ 474348 w 474348"/>
                  <a:gd name="connsiteY3" fmla="*/ 216516 h 669131"/>
                  <a:gd name="connsiteX4" fmla="*/ 474348 w 474348"/>
                  <a:gd name="connsiteY4" fmla="*/ 669131 h 669131"/>
                  <a:gd name="connsiteX5" fmla="*/ 474348 w 474348"/>
                  <a:gd name="connsiteY5" fmla="*/ 669131 h 669131"/>
                  <a:gd name="connsiteX6" fmla="*/ 248129 w 474348"/>
                  <a:gd name="connsiteY6" fmla="*/ 669131 h 669131"/>
                  <a:gd name="connsiteX7" fmla="*/ 0 w 474348"/>
                  <a:gd name="connsiteY7" fmla="*/ 669131 h 669131"/>
                  <a:gd name="connsiteX8" fmla="*/ 0 w 474348"/>
                  <a:gd name="connsiteY8" fmla="*/ 669131 h 669131"/>
                  <a:gd name="connsiteX9" fmla="*/ 0 w 474348"/>
                  <a:gd name="connsiteY9" fmla="*/ 216516 h 669131"/>
                  <a:gd name="connsiteX10" fmla="*/ 192704 w 474348"/>
                  <a:gd name="connsiteY10" fmla="*/ 23812 h 669131"/>
                  <a:gd name="connsiteX0" fmla="*/ 174282 w 474348"/>
                  <a:gd name="connsiteY0" fmla="*/ 23596 h 669131"/>
                  <a:gd name="connsiteX1" fmla="*/ 265690 w 474348"/>
                  <a:gd name="connsiteY1" fmla="*/ 0 h 669131"/>
                  <a:gd name="connsiteX2" fmla="*/ 314250 w 474348"/>
                  <a:gd name="connsiteY2" fmla="*/ 24047 h 669131"/>
                  <a:gd name="connsiteX3" fmla="*/ 474348 w 474348"/>
                  <a:gd name="connsiteY3" fmla="*/ 216516 h 669131"/>
                  <a:gd name="connsiteX4" fmla="*/ 474348 w 474348"/>
                  <a:gd name="connsiteY4" fmla="*/ 669131 h 669131"/>
                  <a:gd name="connsiteX5" fmla="*/ 474348 w 474348"/>
                  <a:gd name="connsiteY5" fmla="*/ 669131 h 669131"/>
                  <a:gd name="connsiteX6" fmla="*/ 248129 w 474348"/>
                  <a:gd name="connsiteY6" fmla="*/ 669131 h 669131"/>
                  <a:gd name="connsiteX7" fmla="*/ 0 w 474348"/>
                  <a:gd name="connsiteY7" fmla="*/ 669131 h 669131"/>
                  <a:gd name="connsiteX8" fmla="*/ 0 w 474348"/>
                  <a:gd name="connsiteY8" fmla="*/ 669131 h 669131"/>
                  <a:gd name="connsiteX9" fmla="*/ 0 w 474348"/>
                  <a:gd name="connsiteY9" fmla="*/ 216516 h 669131"/>
                  <a:gd name="connsiteX10" fmla="*/ 174282 w 474348"/>
                  <a:gd name="connsiteY10" fmla="*/ 23596 h 669131"/>
                  <a:gd name="connsiteX0" fmla="*/ 174282 w 474348"/>
                  <a:gd name="connsiteY0" fmla="*/ 24619 h 670154"/>
                  <a:gd name="connsiteX1" fmla="*/ 216121 w 474348"/>
                  <a:gd name="connsiteY1" fmla="*/ 0 h 670154"/>
                  <a:gd name="connsiteX2" fmla="*/ 314250 w 474348"/>
                  <a:gd name="connsiteY2" fmla="*/ 25070 h 670154"/>
                  <a:gd name="connsiteX3" fmla="*/ 474348 w 474348"/>
                  <a:gd name="connsiteY3" fmla="*/ 217539 h 670154"/>
                  <a:gd name="connsiteX4" fmla="*/ 474348 w 474348"/>
                  <a:gd name="connsiteY4" fmla="*/ 670154 h 670154"/>
                  <a:gd name="connsiteX5" fmla="*/ 474348 w 474348"/>
                  <a:gd name="connsiteY5" fmla="*/ 670154 h 670154"/>
                  <a:gd name="connsiteX6" fmla="*/ 248129 w 474348"/>
                  <a:gd name="connsiteY6" fmla="*/ 670154 h 670154"/>
                  <a:gd name="connsiteX7" fmla="*/ 0 w 474348"/>
                  <a:gd name="connsiteY7" fmla="*/ 670154 h 670154"/>
                  <a:gd name="connsiteX8" fmla="*/ 0 w 474348"/>
                  <a:gd name="connsiteY8" fmla="*/ 670154 h 670154"/>
                  <a:gd name="connsiteX9" fmla="*/ 0 w 474348"/>
                  <a:gd name="connsiteY9" fmla="*/ 217539 h 670154"/>
                  <a:gd name="connsiteX10" fmla="*/ 174282 w 474348"/>
                  <a:gd name="connsiteY10" fmla="*/ 24619 h 670154"/>
                  <a:gd name="connsiteX0" fmla="*/ 174282 w 474348"/>
                  <a:gd name="connsiteY0" fmla="*/ 24619 h 670154"/>
                  <a:gd name="connsiteX1" fmla="*/ 216121 w 474348"/>
                  <a:gd name="connsiteY1" fmla="*/ 0 h 670154"/>
                  <a:gd name="connsiteX2" fmla="*/ 314250 w 474348"/>
                  <a:gd name="connsiteY2" fmla="*/ 25070 h 670154"/>
                  <a:gd name="connsiteX3" fmla="*/ 474348 w 474348"/>
                  <a:gd name="connsiteY3" fmla="*/ 217539 h 670154"/>
                  <a:gd name="connsiteX4" fmla="*/ 474348 w 474348"/>
                  <a:gd name="connsiteY4" fmla="*/ 670154 h 670154"/>
                  <a:gd name="connsiteX5" fmla="*/ 474348 w 474348"/>
                  <a:gd name="connsiteY5" fmla="*/ 670154 h 670154"/>
                  <a:gd name="connsiteX6" fmla="*/ 248129 w 474348"/>
                  <a:gd name="connsiteY6" fmla="*/ 670154 h 670154"/>
                  <a:gd name="connsiteX7" fmla="*/ 0 w 474348"/>
                  <a:gd name="connsiteY7" fmla="*/ 670154 h 670154"/>
                  <a:gd name="connsiteX8" fmla="*/ 0 w 474348"/>
                  <a:gd name="connsiteY8" fmla="*/ 670154 h 670154"/>
                  <a:gd name="connsiteX9" fmla="*/ 0 w 474348"/>
                  <a:gd name="connsiteY9" fmla="*/ 217539 h 670154"/>
                  <a:gd name="connsiteX10" fmla="*/ 174282 w 474348"/>
                  <a:gd name="connsiteY10" fmla="*/ 24619 h 670154"/>
                  <a:gd name="connsiteX0" fmla="*/ 174282 w 474348"/>
                  <a:gd name="connsiteY0" fmla="*/ 24619 h 670154"/>
                  <a:gd name="connsiteX1" fmla="*/ 216121 w 474348"/>
                  <a:gd name="connsiteY1" fmla="*/ 0 h 670154"/>
                  <a:gd name="connsiteX2" fmla="*/ 314250 w 474348"/>
                  <a:gd name="connsiteY2" fmla="*/ 25070 h 670154"/>
                  <a:gd name="connsiteX3" fmla="*/ 474348 w 474348"/>
                  <a:gd name="connsiteY3" fmla="*/ 217539 h 670154"/>
                  <a:gd name="connsiteX4" fmla="*/ 474348 w 474348"/>
                  <a:gd name="connsiteY4" fmla="*/ 670154 h 670154"/>
                  <a:gd name="connsiteX5" fmla="*/ 474348 w 474348"/>
                  <a:gd name="connsiteY5" fmla="*/ 670154 h 670154"/>
                  <a:gd name="connsiteX6" fmla="*/ 248129 w 474348"/>
                  <a:gd name="connsiteY6" fmla="*/ 670154 h 670154"/>
                  <a:gd name="connsiteX7" fmla="*/ 0 w 474348"/>
                  <a:gd name="connsiteY7" fmla="*/ 670154 h 670154"/>
                  <a:gd name="connsiteX8" fmla="*/ 0 w 474348"/>
                  <a:gd name="connsiteY8" fmla="*/ 670154 h 670154"/>
                  <a:gd name="connsiteX9" fmla="*/ 0 w 474348"/>
                  <a:gd name="connsiteY9" fmla="*/ 217539 h 670154"/>
                  <a:gd name="connsiteX10" fmla="*/ 174282 w 474348"/>
                  <a:gd name="connsiteY10" fmla="*/ 24619 h 670154"/>
                  <a:gd name="connsiteX0" fmla="*/ 174282 w 474348"/>
                  <a:gd name="connsiteY0" fmla="*/ 24619 h 670154"/>
                  <a:gd name="connsiteX1" fmla="*/ 216121 w 474348"/>
                  <a:gd name="connsiteY1" fmla="*/ 0 h 670154"/>
                  <a:gd name="connsiteX2" fmla="*/ 314250 w 474348"/>
                  <a:gd name="connsiteY2" fmla="*/ 25070 h 670154"/>
                  <a:gd name="connsiteX3" fmla="*/ 474348 w 474348"/>
                  <a:gd name="connsiteY3" fmla="*/ 217539 h 670154"/>
                  <a:gd name="connsiteX4" fmla="*/ 474348 w 474348"/>
                  <a:gd name="connsiteY4" fmla="*/ 670154 h 670154"/>
                  <a:gd name="connsiteX5" fmla="*/ 474348 w 474348"/>
                  <a:gd name="connsiteY5" fmla="*/ 670154 h 670154"/>
                  <a:gd name="connsiteX6" fmla="*/ 248129 w 474348"/>
                  <a:gd name="connsiteY6" fmla="*/ 670154 h 670154"/>
                  <a:gd name="connsiteX7" fmla="*/ 0 w 474348"/>
                  <a:gd name="connsiteY7" fmla="*/ 670154 h 670154"/>
                  <a:gd name="connsiteX8" fmla="*/ 0 w 474348"/>
                  <a:gd name="connsiteY8" fmla="*/ 670154 h 670154"/>
                  <a:gd name="connsiteX9" fmla="*/ 0 w 474348"/>
                  <a:gd name="connsiteY9" fmla="*/ 217539 h 670154"/>
                  <a:gd name="connsiteX10" fmla="*/ 174282 w 474348"/>
                  <a:gd name="connsiteY10" fmla="*/ 24619 h 670154"/>
                  <a:gd name="connsiteX0" fmla="*/ 148557 w 474348"/>
                  <a:gd name="connsiteY0" fmla="*/ 27264 h 670154"/>
                  <a:gd name="connsiteX1" fmla="*/ 216121 w 474348"/>
                  <a:gd name="connsiteY1" fmla="*/ 0 h 670154"/>
                  <a:gd name="connsiteX2" fmla="*/ 314250 w 474348"/>
                  <a:gd name="connsiteY2" fmla="*/ 25070 h 670154"/>
                  <a:gd name="connsiteX3" fmla="*/ 474348 w 474348"/>
                  <a:gd name="connsiteY3" fmla="*/ 217539 h 670154"/>
                  <a:gd name="connsiteX4" fmla="*/ 474348 w 474348"/>
                  <a:gd name="connsiteY4" fmla="*/ 670154 h 670154"/>
                  <a:gd name="connsiteX5" fmla="*/ 474348 w 474348"/>
                  <a:gd name="connsiteY5" fmla="*/ 670154 h 670154"/>
                  <a:gd name="connsiteX6" fmla="*/ 248129 w 474348"/>
                  <a:gd name="connsiteY6" fmla="*/ 670154 h 670154"/>
                  <a:gd name="connsiteX7" fmla="*/ 0 w 474348"/>
                  <a:gd name="connsiteY7" fmla="*/ 670154 h 670154"/>
                  <a:gd name="connsiteX8" fmla="*/ 0 w 474348"/>
                  <a:gd name="connsiteY8" fmla="*/ 670154 h 670154"/>
                  <a:gd name="connsiteX9" fmla="*/ 0 w 474348"/>
                  <a:gd name="connsiteY9" fmla="*/ 217539 h 670154"/>
                  <a:gd name="connsiteX10" fmla="*/ 148557 w 474348"/>
                  <a:gd name="connsiteY10" fmla="*/ 27264 h 670154"/>
                  <a:gd name="connsiteX0" fmla="*/ 148557 w 474348"/>
                  <a:gd name="connsiteY0" fmla="*/ 20950 h 663840"/>
                  <a:gd name="connsiteX1" fmla="*/ 214238 w 474348"/>
                  <a:gd name="connsiteY1" fmla="*/ 0 h 663840"/>
                  <a:gd name="connsiteX2" fmla="*/ 314250 w 474348"/>
                  <a:gd name="connsiteY2" fmla="*/ 18756 h 663840"/>
                  <a:gd name="connsiteX3" fmla="*/ 474348 w 474348"/>
                  <a:gd name="connsiteY3" fmla="*/ 211225 h 663840"/>
                  <a:gd name="connsiteX4" fmla="*/ 474348 w 474348"/>
                  <a:gd name="connsiteY4" fmla="*/ 663840 h 663840"/>
                  <a:gd name="connsiteX5" fmla="*/ 474348 w 474348"/>
                  <a:gd name="connsiteY5" fmla="*/ 663840 h 663840"/>
                  <a:gd name="connsiteX6" fmla="*/ 248129 w 474348"/>
                  <a:gd name="connsiteY6" fmla="*/ 663840 h 663840"/>
                  <a:gd name="connsiteX7" fmla="*/ 0 w 474348"/>
                  <a:gd name="connsiteY7" fmla="*/ 663840 h 663840"/>
                  <a:gd name="connsiteX8" fmla="*/ 0 w 474348"/>
                  <a:gd name="connsiteY8" fmla="*/ 663840 h 663840"/>
                  <a:gd name="connsiteX9" fmla="*/ 0 w 474348"/>
                  <a:gd name="connsiteY9" fmla="*/ 211225 h 663840"/>
                  <a:gd name="connsiteX10" fmla="*/ 148557 w 474348"/>
                  <a:gd name="connsiteY10" fmla="*/ 20950 h 663840"/>
                  <a:gd name="connsiteX0" fmla="*/ 148557 w 474348"/>
                  <a:gd name="connsiteY0" fmla="*/ 20950 h 663840"/>
                  <a:gd name="connsiteX1" fmla="*/ 214238 w 474348"/>
                  <a:gd name="connsiteY1" fmla="*/ 0 h 663840"/>
                  <a:gd name="connsiteX2" fmla="*/ 314250 w 474348"/>
                  <a:gd name="connsiteY2" fmla="*/ 18756 h 663840"/>
                  <a:gd name="connsiteX3" fmla="*/ 474348 w 474348"/>
                  <a:gd name="connsiteY3" fmla="*/ 211225 h 663840"/>
                  <a:gd name="connsiteX4" fmla="*/ 474348 w 474348"/>
                  <a:gd name="connsiteY4" fmla="*/ 663840 h 663840"/>
                  <a:gd name="connsiteX5" fmla="*/ 474348 w 474348"/>
                  <a:gd name="connsiteY5" fmla="*/ 663840 h 663840"/>
                  <a:gd name="connsiteX6" fmla="*/ 248129 w 474348"/>
                  <a:gd name="connsiteY6" fmla="*/ 663840 h 663840"/>
                  <a:gd name="connsiteX7" fmla="*/ 0 w 474348"/>
                  <a:gd name="connsiteY7" fmla="*/ 663840 h 663840"/>
                  <a:gd name="connsiteX8" fmla="*/ 0 w 474348"/>
                  <a:gd name="connsiteY8" fmla="*/ 663840 h 663840"/>
                  <a:gd name="connsiteX9" fmla="*/ 0 w 474348"/>
                  <a:gd name="connsiteY9" fmla="*/ 211225 h 663840"/>
                  <a:gd name="connsiteX10" fmla="*/ 148557 w 474348"/>
                  <a:gd name="connsiteY10" fmla="*/ 20950 h 663840"/>
                  <a:gd name="connsiteX0" fmla="*/ 148557 w 474348"/>
                  <a:gd name="connsiteY0" fmla="*/ 20950 h 663840"/>
                  <a:gd name="connsiteX1" fmla="*/ 214238 w 474348"/>
                  <a:gd name="connsiteY1" fmla="*/ 0 h 663840"/>
                  <a:gd name="connsiteX2" fmla="*/ 314250 w 474348"/>
                  <a:gd name="connsiteY2" fmla="*/ 18756 h 663840"/>
                  <a:gd name="connsiteX3" fmla="*/ 474348 w 474348"/>
                  <a:gd name="connsiteY3" fmla="*/ 211225 h 663840"/>
                  <a:gd name="connsiteX4" fmla="*/ 474348 w 474348"/>
                  <a:gd name="connsiteY4" fmla="*/ 663840 h 663840"/>
                  <a:gd name="connsiteX5" fmla="*/ 474348 w 474348"/>
                  <a:gd name="connsiteY5" fmla="*/ 663840 h 663840"/>
                  <a:gd name="connsiteX6" fmla="*/ 248129 w 474348"/>
                  <a:gd name="connsiteY6" fmla="*/ 663840 h 663840"/>
                  <a:gd name="connsiteX7" fmla="*/ 0 w 474348"/>
                  <a:gd name="connsiteY7" fmla="*/ 663840 h 663840"/>
                  <a:gd name="connsiteX8" fmla="*/ 0 w 474348"/>
                  <a:gd name="connsiteY8" fmla="*/ 663840 h 663840"/>
                  <a:gd name="connsiteX9" fmla="*/ 0 w 474348"/>
                  <a:gd name="connsiteY9" fmla="*/ 211225 h 663840"/>
                  <a:gd name="connsiteX10" fmla="*/ 148557 w 474348"/>
                  <a:gd name="connsiteY10" fmla="*/ 20950 h 663840"/>
                  <a:gd name="connsiteX0" fmla="*/ 144178 w 474348"/>
                  <a:gd name="connsiteY0" fmla="*/ 22667 h 663840"/>
                  <a:gd name="connsiteX1" fmla="*/ 214238 w 474348"/>
                  <a:gd name="connsiteY1" fmla="*/ 0 h 663840"/>
                  <a:gd name="connsiteX2" fmla="*/ 314250 w 474348"/>
                  <a:gd name="connsiteY2" fmla="*/ 18756 h 663840"/>
                  <a:gd name="connsiteX3" fmla="*/ 474348 w 474348"/>
                  <a:gd name="connsiteY3" fmla="*/ 211225 h 663840"/>
                  <a:gd name="connsiteX4" fmla="*/ 474348 w 474348"/>
                  <a:gd name="connsiteY4" fmla="*/ 663840 h 663840"/>
                  <a:gd name="connsiteX5" fmla="*/ 474348 w 474348"/>
                  <a:gd name="connsiteY5" fmla="*/ 663840 h 663840"/>
                  <a:gd name="connsiteX6" fmla="*/ 248129 w 474348"/>
                  <a:gd name="connsiteY6" fmla="*/ 663840 h 663840"/>
                  <a:gd name="connsiteX7" fmla="*/ 0 w 474348"/>
                  <a:gd name="connsiteY7" fmla="*/ 663840 h 663840"/>
                  <a:gd name="connsiteX8" fmla="*/ 0 w 474348"/>
                  <a:gd name="connsiteY8" fmla="*/ 663840 h 663840"/>
                  <a:gd name="connsiteX9" fmla="*/ 0 w 474348"/>
                  <a:gd name="connsiteY9" fmla="*/ 211225 h 663840"/>
                  <a:gd name="connsiteX10" fmla="*/ 144178 w 474348"/>
                  <a:gd name="connsiteY10" fmla="*/ 22667 h 663840"/>
                  <a:gd name="connsiteX0" fmla="*/ 144178 w 474348"/>
                  <a:gd name="connsiteY0" fmla="*/ 22667 h 663840"/>
                  <a:gd name="connsiteX1" fmla="*/ 214238 w 474348"/>
                  <a:gd name="connsiteY1" fmla="*/ 0 h 663840"/>
                  <a:gd name="connsiteX2" fmla="*/ 314250 w 474348"/>
                  <a:gd name="connsiteY2" fmla="*/ 18756 h 663840"/>
                  <a:gd name="connsiteX3" fmla="*/ 474348 w 474348"/>
                  <a:gd name="connsiteY3" fmla="*/ 211225 h 663840"/>
                  <a:gd name="connsiteX4" fmla="*/ 474348 w 474348"/>
                  <a:gd name="connsiteY4" fmla="*/ 663840 h 663840"/>
                  <a:gd name="connsiteX5" fmla="*/ 474348 w 474348"/>
                  <a:gd name="connsiteY5" fmla="*/ 663840 h 663840"/>
                  <a:gd name="connsiteX6" fmla="*/ 248129 w 474348"/>
                  <a:gd name="connsiteY6" fmla="*/ 663840 h 663840"/>
                  <a:gd name="connsiteX7" fmla="*/ 0 w 474348"/>
                  <a:gd name="connsiteY7" fmla="*/ 663840 h 663840"/>
                  <a:gd name="connsiteX8" fmla="*/ 0 w 474348"/>
                  <a:gd name="connsiteY8" fmla="*/ 663840 h 663840"/>
                  <a:gd name="connsiteX9" fmla="*/ 0 w 474348"/>
                  <a:gd name="connsiteY9" fmla="*/ 211225 h 663840"/>
                  <a:gd name="connsiteX10" fmla="*/ 144178 w 474348"/>
                  <a:gd name="connsiteY10" fmla="*/ 22667 h 663840"/>
                  <a:gd name="connsiteX0" fmla="*/ 144178 w 474348"/>
                  <a:gd name="connsiteY0" fmla="*/ 22667 h 663840"/>
                  <a:gd name="connsiteX1" fmla="*/ 214238 w 474348"/>
                  <a:gd name="connsiteY1" fmla="*/ 0 h 663840"/>
                  <a:gd name="connsiteX2" fmla="*/ 314250 w 474348"/>
                  <a:gd name="connsiteY2" fmla="*/ 18756 h 663840"/>
                  <a:gd name="connsiteX3" fmla="*/ 474348 w 474348"/>
                  <a:gd name="connsiteY3" fmla="*/ 211225 h 663840"/>
                  <a:gd name="connsiteX4" fmla="*/ 474348 w 474348"/>
                  <a:gd name="connsiteY4" fmla="*/ 663840 h 663840"/>
                  <a:gd name="connsiteX5" fmla="*/ 474348 w 474348"/>
                  <a:gd name="connsiteY5" fmla="*/ 663840 h 663840"/>
                  <a:gd name="connsiteX6" fmla="*/ 248129 w 474348"/>
                  <a:gd name="connsiteY6" fmla="*/ 663840 h 663840"/>
                  <a:gd name="connsiteX7" fmla="*/ 0 w 474348"/>
                  <a:gd name="connsiteY7" fmla="*/ 663840 h 663840"/>
                  <a:gd name="connsiteX8" fmla="*/ 0 w 474348"/>
                  <a:gd name="connsiteY8" fmla="*/ 663840 h 663840"/>
                  <a:gd name="connsiteX9" fmla="*/ 0 w 474348"/>
                  <a:gd name="connsiteY9" fmla="*/ 211225 h 663840"/>
                  <a:gd name="connsiteX10" fmla="*/ 144178 w 474348"/>
                  <a:gd name="connsiteY10" fmla="*/ 22667 h 663840"/>
                  <a:gd name="connsiteX0" fmla="*/ 144178 w 474348"/>
                  <a:gd name="connsiteY0" fmla="*/ 22667 h 663840"/>
                  <a:gd name="connsiteX1" fmla="*/ 214238 w 474348"/>
                  <a:gd name="connsiteY1" fmla="*/ 0 h 663840"/>
                  <a:gd name="connsiteX2" fmla="*/ 314250 w 474348"/>
                  <a:gd name="connsiteY2" fmla="*/ 18756 h 663840"/>
                  <a:gd name="connsiteX3" fmla="*/ 474348 w 474348"/>
                  <a:gd name="connsiteY3" fmla="*/ 211225 h 663840"/>
                  <a:gd name="connsiteX4" fmla="*/ 474348 w 474348"/>
                  <a:gd name="connsiteY4" fmla="*/ 663840 h 663840"/>
                  <a:gd name="connsiteX5" fmla="*/ 474348 w 474348"/>
                  <a:gd name="connsiteY5" fmla="*/ 663840 h 663840"/>
                  <a:gd name="connsiteX6" fmla="*/ 248129 w 474348"/>
                  <a:gd name="connsiteY6" fmla="*/ 663840 h 663840"/>
                  <a:gd name="connsiteX7" fmla="*/ 0 w 474348"/>
                  <a:gd name="connsiteY7" fmla="*/ 663840 h 663840"/>
                  <a:gd name="connsiteX8" fmla="*/ 0 w 474348"/>
                  <a:gd name="connsiteY8" fmla="*/ 663840 h 663840"/>
                  <a:gd name="connsiteX9" fmla="*/ 0 w 474348"/>
                  <a:gd name="connsiteY9" fmla="*/ 211225 h 663840"/>
                  <a:gd name="connsiteX10" fmla="*/ 144178 w 474348"/>
                  <a:gd name="connsiteY10" fmla="*/ 22667 h 6638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74348" h="663840">
                    <a:moveTo>
                      <a:pt x="144178" y="22667"/>
                    </a:moveTo>
                    <a:cubicBezTo>
                      <a:pt x="211732" y="-970"/>
                      <a:pt x="181869" y="7990"/>
                      <a:pt x="214238" y="0"/>
                    </a:cubicBezTo>
                    <a:cubicBezTo>
                      <a:pt x="259321" y="7224"/>
                      <a:pt x="221757" y="369"/>
                      <a:pt x="314250" y="18756"/>
                    </a:cubicBezTo>
                    <a:cubicBezTo>
                      <a:pt x="399877" y="51074"/>
                      <a:pt x="474348" y="104798"/>
                      <a:pt x="474348" y="211225"/>
                    </a:cubicBezTo>
                    <a:lnTo>
                      <a:pt x="474348" y="663840"/>
                    </a:lnTo>
                    <a:lnTo>
                      <a:pt x="474348" y="663840"/>
                    </a:lnTo>
                    <a:lnTo>
                      <a:pt x="248129" y="663840"/>
                    </a:lnTo>
                    <a:lnTo>
                      <a:pt x="0" y="663840"/>
                    </a:lnTo>
                    <a:lnTo>
                      <a:pt x="0" y="663840"/>
                    </a:lnTo>
                    <a:lnTo>
                      <a:pt x="0" y="211225"/>
                    </a:lnTo>
                    <a:cubicBezTo>
                      <a:pt x="0" y="104798"/>
                      <a:pt x="80700" y="56026"/>
                      <a:pt x="144178" y="22667"/>
                    </a:cubicBezTo>
                    <a:close/>
                  </a:path>
                </a:pathLst>
              </a:cu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grpSp>
        <p:grpSp>
          <p:nvGrpSpPr>
            <p:cNvPr id="140" name="Group 139"/>
            <p:cNvGrpSpPr/>
            <p:nvPr/>
          </p:nvGrpSpPr>
          <p:grpSpPr>
            <a:xfrm rot="15300000">
              <a:off x="6430508" y="2814389"/>
              <a:ext cx="2108839" cy="101418"/>
              <a:chOff x="6437694" y="2814389"/>
              <a:chExt cx="2108839" cy="101418"/>
            </a:xfrm>
          </p:grpSpPr>
          <p:sp>
            <p:nvSpPr>
              <p:cNvPr id="141" name="Round Same Side Corner Rectangle 11"/>
              <p:cNvSpPr/>
              <p:nvPr/>
            </p:nvSpPr>
            <p:spPr>
              <a:xfrm rot="5400000" flipH="1">
                <a:off x="7969911" y="2339184"/>
                <a:ext cx="101418" cy="1051827"/>
              </a:xfrm>
              <a:custGeom>
                <a:avLst/>
                <a:gdLst>
                  <a:gd name="connsiteX0" fmla="*/ 192704 w 474348"/>
                  <a:gd name="connsiteY0" fmla="*/ 0 h 645319"/>
                  <a:gd name="connsiteX1" fmla="*/ 281644 w 474348"/>
                  <a:gd name="connsiteY1" fmla="*/ 0 h 645319"/>
                  <a:gd name="connsiteX2" fmla="*/ 474348 w 474348"/>
                  <a:gd name="connsiteY2" fmla="*/ 192704 h 645319"/>
                  <a:gd name="connsiteX3" fmla="*/ 474348 w 474348"/>
                  <a:gd name="connsiteY3" fmla="*/ 645319 h 645319"/>
                  <a:gd name="connsiteX4" fmla="*/ 474348 w 474348"/>
                  <a:gd name="connsiteY4" fmla="*/ 645319 h 645319"/>
                  <a:gd name="connsiteX5" fmla="*/ 0 w 474348"/>
                  <a:gd name="connsiteY5" fmla="*/ 645319 h 645319"/>
                  <a:gd name="connsiteX6" fmla="*/ 0 w 474348"/>
                  <a:gd name="connsiteY6" fmla="*/ 645319 h 645319"/>
                  <a:gd name="connsiteX7" fmla="*/ 0 w 474348"/>
                  <a:gd name="connsiteY7" fmla="*/ 192704 h 645319"/>
                  <a:gd name="connsiteX8" fmla="*/ 192704 w 474348"/>
                  <a:gd name="connsiteY8" fmla="*/ 0 h 645319"/>
                  <a:gd name="connsiteX0" fmla="*/ 192704 w 474348"/>
                  <a:gd name="connsiteY0" fmla="*/ 0 h 645319"/>
                  <a:gd name="connsiteX1" fmla="*/ 281644 w 474348"/>
                  <a:gd name="connsiteY1" fmla="*/ 0 h 645319"/>
                  <a:gd name="connsiteX2" fmla="*/ 474348 w 474348"/>
                  <a:gd name="connsiteY2" fmla="*/ 192704 h 645319"/>
                  <a:gd name="connsiteX3" fmla="*/ 474348 w 474348"/>
                  <a:gd name="connsiteY3" fmla="*/ 645319 h 645319"/>
                  <a:gd name="connsiteX4" fmla="*/ 474348 w 474348"/>
                  <a:gd name="connsiteY4" fmla="*/ 645319 h 645319"/>
                  <a:gd name="connsiteX5" fmla="*/ 248129 w 474348"/>
                  <a:gd name="connsiteY5" fmla="*/ 645319 h 645319"/>
                  <a:gd name="connsiteX6" fmla="*/ 0 w 474348"/>
                  <a:gd name="connsiteY6" fmla="*/ 645319 h 645319"/>
                  <a:gd name="connsiteX7" fmla="*/ 0 w 474348"/>
                  <a:gd name="connsiteY7" fmla="*/ 645319 h 645319"/>
                  <a:gd name="connsiteX8" fmla="*/ 0 w 474348"/>
                  <a:gd name="connsiteY8" fmla="*/ 192704 h 645319"/>
                  <a:gd name="connsiteX9" fmla="*/ 192704 w 474348"/>
                  <a:gd name="connsiteY9" fmla="*/ 0 h 645319"/>
                  <a:gd name="connsiteX0" fmla="*/ 192704 w 474348"/>
                  <a:gd name="connsiteY0" fmla="*/ 2381 h 647700"/>
                  <a:gd name="connsiteX1" fmla="*/ 240986 w 474348"/>
                  <a:gd name="connsiteY1" fmla="*/ 0 h 647700"/>
                  <a:gd name="connsiteX2" fmla="*/ 281644 w 474348"/>
                  <a:gd name="connsiteY2" fmla="*/ 2381 h 647700"/>
                  <a:gd name="connsiteX3" fmla="*/ 474348 w 474348"/>
                  <a:gd name="connsiteY3" fmla="*/ 195085 h 647700"/>
                  <a:gd name="connsiteX4" fmla="*/ 474348 w 474348"/>
                  <a:gd name="connsiteY4" fmla="*/ 647700 h 647700"/>
                  <a:gd name="connsiteX5" fmla="*/ 474348 w 474348"/>
                  <a:gd name="connsiteY5" fmla="*/ 647700 h 647700"/>
                  <a:gd name="connsiteX6" fmla="*/ 248129 w 474348"/>
                  <a:gd name="connsiteY6" fmla="*/ 647700 h 647700"/>
                  <a:gd name="connsiteX7" fmla="*/ 0 w 474348"/>
                  <a:gd name="connsiteY7" fmla="*/ 647700 h 647700"/>
                  <a:gd name="connsiteX8" fmla="*/ 0 w 474348"/>
                  <a:gd name="connsiteY8" fmla="*/ 647700 h 647700"/>
                  <a:gd name="connsiteX9" fmla="*/ 0 w 474348"/>
                  <a:gd name="connsiteY9" fmla="*/ 195085 h 647700"/>
                  <a:gd name="connsiteX10" fmla="*/ 192704 w 474348"/>
                  <a:gd name="connsiteY10" fmla="*/ 2381 h 647700"/>
                  <a:gd name="connsiteX0" fmla="*/ 192704 w 474348"/>
                  <a:gd name="connsiteY0" fmla="*/ 42862 h 688181"/>
                  <a:gd name="connsiteX1" fmla="*/ 240986 w 474348"/>
                  <a:gd name="connsiteY1" fmla="*/ 0 h 688181"/>
                  <a:gd name="connsiteX2" fmla="*/ 281644 w 474348"/>
                  <a:gd name="connsiteY2" fmla="*/ 42862 h 688181"/>
                  <a:gd name="connsiteX3" fmla="*/ 474348 w 474348"/>
                  <a:gd name="connsiteY3" fmla="*/ 235566 h 688181"/>
                  <a:gd name="connsiteX4" fmla="*/ 474348 w 474348"/>
                  <a:gd name="connsiteY4" fmla="*/ 688181 h 688181"/>
                  <a:gd name="connsiteX5" fmla="*/ 474348 w 474348"/>
                  <a:gd name="connsiteY5" fmla="*/ 688181 h 688181"/>
                  <a:gd name="connsiteX6" fmla="*/ 248129 w 474348"/>
                  <a:gd name="connsiteY6" fmla="*/ 688181 h 688181"/>
                  <a:gd name="connsiteX7" fmla="*/ 0 w 474348"/>
                  <a:gd name="connsiteY7" fmla="*/ 688181 h 688181"/>
                  <a:gd name="connsiteX8" fmla="*/ 0 w 474348"/>
                  <a:gd name="connsiteY8" fmla="*/ 688181 h 688181"/>
                  <a:gd name="connsiteX9" fmla="*/ 0 w 474348"/>
                  <a:gd name="connsiteY9" fmla="*/ 235566 h 688181"/>
                  <a:gd name="connsiteX10" fmla="*/ 192704 w 474348"/>
                  <a:gd name="connsiteY10" fmla="*/ 42862 h 688181"/>
                  <a:gd name="connsiteX0" fmla="*/ 192704 w 474348"/>
                  <a:gd name="connsiteY0" fmla="*/ 23812 h 669131"/>
                  <a:gd name="connsiteX1" fmla="*/ 265690 w 474348"/>
                  <a:gd name="connsiteY1" fmla="*/ 0 h 669131"/>
                  <a:gd name="connsiteX2" fmla="*/ 281644 w 474348"/>
                  <a:gd name="connsiteY2" fmla="*/ 23812 h 669131"/>
                  <a:gd name="connsiteX3" fmla="*/ 474348 w 474348"/>
                  <a:gd name="connsiteY3" fmla="*/ 216516 h 669131"/>
                  <a:gd name="connsiteX4" fmla="*/ 474348 w 474348"/>
                  <a:gd name="connsiteY4" fmla="*/ 669131 h 669131"/>
                  <a:gd name="connsiteX5" fmla="*/ 474348 w 474348"/>
                  <a:gd name="connsiteY5" fmla="*/ 669131 h 669131"/>
                  <a:gd name="connsiteX6" fmla="*/ 248129 w 474348"/>
                  <a:gd name="connsiteY6" fmla="*/ 669131 h 669131"/>
                  <a:gd name="connsiteX7" fmla="*/ 0 w 474348"/>
                  <a:gd name="connsiteY7" fmla="*/ 669131 h 669131"/>
                  <a:gd name="connsiteX8" fmla="*/ 0 w 474348"/>
                  <a:gd name="connsiteY8" fmla="*/ 669131 h 669131"/>
                  <a:gd name="connsiteX9" fmla="*/ 0 w 474348"/>
                  <a:gd name="connsiteY9" fmla="*/ 216516 h 669131"/>
                  <a:gd name="connsiteX10" fmla="*/ 192704 w 474348"/>
                  <a:gd name="connsiteY10" fmla="*/ 23812 h 669131"/>
                  <a:gd name="connsiteX0" fmla="*/ 192704 w 474348"/>
                  <a:gd name="connsiteY0" fmla="*/ 23812 h 669131"/>
                  <a:gd name="connsiteX1" fmla="*/ 265690 w 474348"/>
                  <a:gd name="connsiteY1" fmla="*/ 0 h 669131"/>
                  <a:gd name="connsiteX2" fmla="*/ 281644 w 474348"/>
                  <a:gd name="connsiteY2" fmla="*/ 23812 h 669131"/>
                  <a:gd name="connsiteX3" fmla="*/ 474348 w 474348"/>
                  <a:gd name="connsiteY3" fmla="*/ 216516 h 669131"/>
                  <a:gd name="connsiteX4" fmla="*/ 474348 w 474348"/>
                  <a:gd name="connsiteY4" fmla="*/ 669131 h 669131"/>
                  <a:gd name="connsiteX5" fmla="*/ 474348 w 474348"/>
                  <a:gd name="connsiteY5" fmla="*/ 669131 h 669131"/>
                  <a:gd name="connsiteX6" fmla="*/ 248129 w 474348"/>
                  <a:gd name="connsiteY6" fmla="*/ 669131 h 669131"/>
                  <a:gd name="connsiteX7" fmla="*/ 0 w 474348"/>
                  <a:gd name="connsiteY7" fmla="*/ 669131 h 669131"/>
                  <a:gd name="connsiteX8" fmla="*/ 0 w 474348"/>
                  <a:gd name="connsiteY8" fmla="*/ 669131 h 669131"/>
                  <a:gd name="connsiteX9" fmla="*/ 0 w 474348"/>
                  <a:gd name="connsiteY9" fmla="*/ 216516 h 669131"/>
                  <a:gd name="connsiteX10" fmla="*/ 192704 w 474348"/>
                  <a:gd name="connsiteY10" fmla="*/ 23812 h 669131"/>
                  <a:gd name="connsiteX0" fmla="*/ 192704 w 474348"/>
                  <a:gd name="connsiteY0" fmla="*/ 23812 h 669131"/>
                  <a:gd name="connsiteX1" fmla="*/ 265690 w 474348"/>
                  <a:gd name="connsiteY1" fmla="*/ 0 h 669131"/>
                  <a:gd name="connsiteX2" fmla="*/ 281644 w 474348"/>
                  <a:gd name="connsiteY2" fmla="*/ 23812 h 669131"/>
                  <a:gd name="connsiteX3" fmla="*/ 474348 w 474348"/>
                  <a:gd name="connsiteY3" fmla="*/ 216516 h 669131"/>
                  <a:gd name="connsiteX4" fmla="*/ 474348 w 474348"/>
                  <a:gd name="connsiteY4" fmla="*/ 669131 h 669131"/>
                  <a:gd name="connsiteX5" fmla="*/ 474348 w 474348"/>
                  <a:gd name="connsiteY5" fmla="*/ 669131 h 669131"/>
                  <a:gd name="connsiteX6" fmla="*/ 248129 w 474348"/>
                  <a:gd name="connsiteY6" fmla="*/ 669131 h 669131"/>
                  <a:gd name="connsiteX7" fmla="*/ 0 w 474348"/>
                  <a:gd name="connsiteY7" fmla="*/ 669131 h 669131"/>
                  <a:gd name="connsiteX8" fmla="*/ 0 w 474348"/>
                  <a:gd name="connsiteY8" fmla="*/ 669131 h 669131"/>
                  <a:gd name="connsiteX9" fmla="*/ 0 w 474348"/>
                  <a:gd name="connsiteY9" fmla="*/ 216516 h 669131"/>
                  <a:gd name="connsiteX10" fmla="*/ 192704 w 474348"/>
                  <a:gd name="connsiteY10" fmla="*/ 23812 h 669131"/>
                  <a:gd name="connsiteX0" fmla="*/ 192704 w 474348"/>
                  <a:gd name="connsiteY0" fmla="*/ 23812 h 669131"/>
                  <a:gd name="connsiteX1" fmla="*/ 265690 w 474348"/>
                  <a:gd name="connsiteY1" fmla="*/ 0 h 669131"/>
                  <a:gd name="connsiteX2" fmla="*/ 314250 w 474348"/>
                  <a:gd name="connsiteY2" fmla="*/ 24047 h 669131"/>
                  <a:gd name="connsiteX3" fmla="*/ 474348 w 474348"/>
                  <a:gd name="connsiteY3" fmla="*/ 216516 h 669131"/>
                  <a:gd name="connsiteX4" fmla="*/ 474348 w 474348"/>
                  <a:gd name="connsiteY4" fmla="*/ 669131 h 669131"/>
                  <a:gd name="connsiteX5" fmla="*/ 474348 w 474348"/>
                  <a:gd name="connsiteY5" fmla="*/ 669131 h 669131"/>
                  <a:gd name="connsiteX6" fmla="*/ 248129 w 474348"/>
                  <a:gd name="connsiteY6" fmla="*/ 669131 h 669131"/>
                  <a:gd name="connsiteX7" fmla="*/ 0 w 474348"/>
                  <a:gd name="connsiteY7" fmla="*/ 669131 h 669131"/>
                  <a:gd name="connsiteX8" fmla="*/ 0 w 474348"/>
                  <a:gd name="connsiteY8" fmla="*/ 669131 h 669131"/>
                  <a:gd name="connsiteX9" fmla="*/ 0 w 474348"/>
                  <a:gd name="connsiteY9" fmla="*/ 216516 h 669131"/>
                  <a:gd name="connsiteX10" fmla="*/ 192704 w 474348"/>
                  <a:gd name="connsiteY10" fmla="*/ 23812 h 669131"/>
                  <a:gd name="connsiteX0" fmla="*/ 192704 w 474348"/>
                  <a:gd name="connsiteY0" fmla="*/ 23812 h 669131"/>
                  <a:gd name="connsiteX1" fmla="*/ 265690 w 474348"/>
                  <a:gd name="connsiteY1" fmla="*/ 0 h 669131"/>
                  <a:gd name="connsiteX2" fmla="*/ 314250 w 474348"/>
                  <a:gd name="connsiteY2" fmla="*/ 24047 h 669131"/>
                  <a:gd name="connsiteX3" fmla="*/ 474348 w 474348"/>
                  <a:gd name="connsiteY3" fmla="*/ 216516 h 669131"/>
                  <a:gd name="connsiteX4" fmla="*/ 474348 w 474348"/>
                  <a:gd name="connsiteY4" fmla="*/ 669131 h 669131"/>
                  <a:gd name="connsiteX5" fmla="*/ 474348 w 474348"/>
                  <a:gd name="connsiteY5" fmla="*/ 669131 h 669131"/>
                  <a:gd name="connsiteX6" fmla="*/ 248129 w 474348"/>
                  <a:gd name="connsiteY6" fmla="*/ 669131 h 669131"/>
                  <a:gd name="connsiteX7" fmla="*/ 0 w 474348"/>
                  <a:gd name="connsiteY7" fmla="*/ 669131 h 669131"/>
                  <a:gd name="connsiteX8" fmla="*/ 0 w 474348"/>
                  <a:gd name="connsiteY8" fmla="*/ 669131 h 669131"/>
                  <a:gd name="connsiteX9" fmla="*/ 0 w 474348"/>
                  <a:gd name="connsiteY9" fmla="*/ 216516 h 669131"/>
                  <a:gd name="connsiteX10" fmla="*/ 192704 w 474348"/>
                  <a:gd name="connsiteY10" fmla="*/ 23812 h 669131"/>
                  <a:gd name="connsiteX0" fmla="*/ 192704 w 474348"/>
                  <a:gd name="connsiteY0" fmla="*/ 23812 h 669131"/>
                  <a:gd name="connsiteX1" fmla="*/ 265690 w 474348"/>
                  <a:gd name="connsiteY1" fmla="*/ 0 h 669131"/>
                  <a:gd name="connsiteX2" fmla="*/ 314250 w 474348"/>
                  <a:gd name="connsiteY2" fmla="*/ 24047 h 669131"/>
                  <a:gd name="connsiteX3" fmla="*/ 474348 w 474348"/>
                  <a:gd name="connsiteY3" fmla="*/ 216516 h 669131"/>
                  <a:gd name="connsiteX4" fmla="*/ 474348 w 474348"/>
                  <a:gd name="connsiteY4" fmla="*/ 669131 h 669131"/>
                  <a:gd name="connsiteX5" fmla="*/ 474348 w 474348"/>
                  <a:gd name="connsiteY5" fmla="*/ 669131 h 669131"/>
                  <a:gd name="connsiteX6" fmla="*/ 248129 w 474348"/>
                  <a:gd name="connsiteY6" fmla="*/ 669131 h 669131"/>
                  <a:gd name="connsiteX7" fmla="*/ 0 w 474348"/>
                  <a:gd name="connsiteY7" fmla="*/ 669131 h 669131"/>
                  <a:gd name="connsiteX8" fmla="*/ 0 w 474348"/>
                  <a:gd name="connsiteY8" fmla="*/ 669131 h 669131"/>
                  <a:gd name="connsiteX9" fmla="*/ 0 w 474348"/>
                  <a:gd name="connsiteY9" fmla="*/ 216516 h 669131"/>
                  <a:gd name="connsiteX10" fmla="*/ 192704 w 474348"/>
                  <a:gd name="connsiteY10" fmla="*/ 23812 h 669131"/>
                  <a:gd name="connsiteX0" fmla="*/ 174282 w 474348"/>
                  <a:gd name="connsiteY0" fmla="*/ 23596 h 669131"/>
                  <a:gd name="connsiteX1" fmla="*/ 265690 w 474348"/>
                  <a:gd name="connsiteY1" fmla="*/ 0 h 669131"/>
                  <a:gd name="connsiteX2" fmla="*/ 314250 w 474348"/>
                  <a:gd name="connsiteY2" fmla="*/ 24047 h 669131"/>
                  <a:gd name="connsiteX3" fmla="*/ 474348 w 474348"/>
                  <a:gd name="connsiteY3" fmla="*/ 216516 h 669131"/>
                  <a:gd name="connsiteX4" fmla="*/ 474348 w 474348"/>
                  <a:gd name="connsiteY4" fmla="*/ 669131 h 669131"/>
                  <a:gd name="connsiteX5" fmla="*/ 474348 w 474348"/>
                  <a:gd name="connsiteY5" fmla="*/ 669131 h 669131"/>
                  <a:gd name="connsiteX6" fmla="*/ 248129 w 474348"/>
                  <a:gd name="connsiteY6" fmla="*/ 669131 h 669131"/>
                  <a:gd name="connsiteX7" fmla="*/ 0 w 474348"/>
                  <a:gd name="connsiteY7" fmla="*/ 669131 h 669131"/>
                  <a:gd name="connsiteX8" fmla="*/ 0 w 474348"/>
                  <a:gd name="connsiteY8" fmla="*/ 669131 h 669131"/>
                  <a:gd name="connsiteX9" fmla="*/ 0 w 474348"/>
                  <a:gd name="connsiteY9" fmla="*/ 216516 h 669131"/>
                  <a:gd name="connsiteX10" fmla="*/ 174282 w 474348"/>
                  <a:gd name="connsiteY10" fmla="*/ 23596 h 669131"/>
                  <a:gd name="connsiteX0" fmla="*/ 174282 w 474348"/>
                  <a:gd name="connsiteY0" fmla="*/ 24619 h 670154"/>
                  <a:gd name="connsiteX1" fmla="*/ 216121 w 474348"/>
                  <a:gd name="connsiteY1" fmla="*/ 0 h 670154"/>
                  <a:gd name="connsiteX2" fmla="*/ 314250 w 474348"/>
                  <a:gd name="connsiteY2" fmla="*/ 25070 h 670154"/>
                  <a:gd name="connsiteX3" fmla="*/ 474348 w 474348"/>
                  <a:gd name="connsiteY3" fmla="*/ 217539 h 670154"/>
                  <a:gd name="connsiteX4" fmla="*/ 474348 w 474348"/>
                  <a:gd name="connsiteY4" fmla="*/ 670154 h 670154"/>
                  <a:gd name="connsiteX5" fmla="*/ 474348 w 474348"/>
                  <a:gd name="connsiteY5" fmla="*/ 670154 h 670154"/>
                  <a:gd name="connsiteX6" fmla="*/ 248129 w 474348"/>
                  <a:gd name="connsiteY6" fmla="*/ 670154 h 670154"/>
                  <a:gd name="connsiteX7" fmla="*/ 0 w 474348"/>
                  <a:gd name="connsiteY7" fmla="*/ 670154 h 670154"/>
                  <a:gd name="connsiteX8" fmla="*/ 0 w 474348"/>
                  <a:gd name="connsiteY8" fmla="*/ 670154 h 670154"/>
                  <a:gd name="connsiteX9" fmla="*/ 0 w 474348"/>
                  <a:gd name="connsiteY9" fmla="*/ 217539 h 670154"/>
                  <a:gd name="connsiteX10" fmla="*/ 174282 w 474348"/>
                  <a:gd name="connsiteY10" fmla="*/ 24619 h 670154"/>
                  <a:gd name="connsiteX0" fmla="*/ 174282 w 474348"/>
                  <a:gd name="connsiteY0" fmla="*/ 24619 h 670154"/>
                  <a:gd name="connsiteX1" fmla="*/ 216121 w 474348"/>
                  <a:gd name="connsiteY1" fmla="*/ 0 h 670154"/>
                  <a:gd name="connsiteX2" fmla="*/ 314250 w 474348"/>
                  <a:gd name="connsiteY2" fmla="*/ 25070 h 670154"/>
                  <a:gd name="connsiteX3" fmla="*/ 474348 w 474348"/>
                  <a:gd name="connsiteY3" fmla="*/ 217539 h 670154"/>
                  <a:gd name="connsiteX4" fmla="*/ 474348 w 474348"/>
                  <a:gd name="connsiteY4" fmla="*/ 670154 h 670154"/>
                  <a:gd name="connsiteX5" fmla="*/ 474348 w 474348"/>
                  <a:gd name="connsiteY5" fmla="*/ 670154 h 670154"/>
                  <a:gd name="connsiteX6" fmla="*/ 248129 w 474348"/>
                  <a:gd name="connsiteY6" fmla="*/ 670154 h 670154"/>
                  <a:gd name="connsiteX7" fmla="*/ 0 w 474348"/>
                  <a:gd name="connsiteY7" fmla="*/ 670154 h 670154"/>
                  <a:gd name="connsiteX8" fmla="*/ 0 w 474348"/>
                  <a:gd name="connsiteY8" fmla="*/ 670154 h 670154"/>
                  <a:gd name="connsiteX9" fmla="*/ 0 w 474348"/>
                  <a:gd name="connsiteY9" fmla="*/ 217539 h 670154"/>
                  <a:gd name="connsiteX10" fmla="*/ 174282 w 474348"/>
                  <a:gd name="connsiteY10" fmla="*/ 24619 h 670154"/>
                  <a:gd name="connsiteX0" fmla="*/ 174282 w 474348"/>
                  <a:gd name="connsiteY0" fmla="*/ 24619 h 670154"/>
                  <a:gd name="connsiteX1" fmla="*/ 216121 w 474348"/>
                  <a:gd name="connsiteY1" fmla="*/ 0 h 670154"/>
                  <a:gd name="connsiteX2" fmla="*/ 314250 w 474348"/>
                  <a:gd name="connsiteY2" fmla="*/ 25070 h 670154"/>
                  <a:gd name="connsiteX3" fmla="*/ 474348 w 474348"/>
                  <a:gd name="connsiteY3" fmla="*/ 217539 h 670154"/>
                  <a:gd name="connsiteX4" fmla="*/ 474348 w 474348"/>
                  <a:gd name="connsiteY4" fmla="*/ 670154 h 670154"/>
                  <a:gd name="connsiteX5" fmla="*/ 474348 w 474348"/>
                  <a:gd name="connsiteY5" fmla="*/ 670154 h 670154"/>
                  <a:gd name="connsiteX6" fmla="*/ 248129 w 474348"/>
                  <a:gd name="connsiteY6" fmla="*/ 670154 h 670154"/>
                  <a:gd name="connsiteX7" fmla="*/ 0 w 474348"/>
                  <a:gd name="connsiteY7" fmla="*/ 670154 h 670154"/>
                  <a:gd name="connsiteX8" fmla="*/ 0 w 474348"/>
                  <a:gd name="connsiteY8" fmla="*/ 670154 h 670154"/>
                  <a:gd name="connsiteX9" fmla="*/ 0 w 474348"/>
                  <a:gd name="connsiteY9" fmla="*/ 217539 h 670154"/>
                  <a:gd name="connsiteX10" fmla="*/ 174282 w 474348"/>
                  <a:gd name="connsiteY10" fmla="*/ 24619 h 670154"/>
                  <a:gd name="connsiteX0" fmla="*/ 174282 w 474348"/>
                  <a:gd name="connsiteY0" fmla="*/ 24619 h 670154"/>
                  <a:gd name="connsiteX1" fmla="*/ 216121 w 474348"/>
                  <a:gd name="connsiteY1" fmla="*/ 0 h 670154"/>
                  <a:gd name="connsiteX2" fmla="*/ 314250 w 474348"/>
                  <a:gd name="connsiteY2" fmla="*/ 25070 h 670154"/>
                  <a:gd name="connsiteX3" fmla="*/ 474348 w 474348"/>
                  <a:gd name="connsiteY3" fmla="*/ 217539 h 670154"/>
                  <a:gd name="connsiteX4" fmla="*/ 474348 w 474348"/>
                  <a:gd name="connsiteY4" fmla="*/ 670154 h 670154"/>
                  <a:gd name="connsiteX5" fmla="*/ 474348 w 474348"/>
                  <a:gd name="connsiteY5" fmla="*/ 670154 h 670154"/>
                  <a:gd name="connsiteX6" fmla="*/ 248129 w 474348"/>
                  <a:gd name="connsiteY6" fmla="*/ 670154 h 670154"/>
                  <a:gd name="connsiteX7" fmla="*/ 0 w 474348"/>
                  <a:gd name="connsiteY7" fmla="*/ 670154 h 670154"/>
                  <a:gd name="connsiteX8" fmla="*/ 0 w 474348"/>
                  <a:gd name="connsiteY8" fmla="*/ 670154 h 670154"/>
                  <a:gd name="connsiteX9" fmla="*/ 0 w 474348"/>
                  <a:gd name="connsiteY9" fmla="*/ 217539 h 670154"/>
                  <a:gd name="connsiteX10" fmla="*/ 174282 w 474348"/>
                  <a:gd name="connsiteY10" fmla="*/ 24619 h 670154"/>
                  <a:gd name="connsiteX0" fmla="*/ 148557 w 474348"/>
                  <a:gd name="connsiteY0" fmla="*/ 27264 h 670154"/>
                  <a:gd name="connsiteX1" fmla="*/ 216121 w 474348"/>
                  <a:gd name="connsiteY1" fmla="*/ 0 h 670154"/>
                  <a:gd name="connsiteX2" fmla="*/ 314250 w 474348"/>
                  <a:gd name="connsiteY2" fmla="*/ 25070 h 670154"/>
                  <a:gd name="connsiteX3" fmla="*/ 474348 w 474348"/>
                  <a:gd name="connsiteY3" fmla="*/ 217539 h 670154"/>
                  <a:gd name="connsiteX4" fmla="*/ 474348 w 474348"/>
                  <a:gd name="connsiteY4" fmla="*/ 670154 h 670154"/>
                  <a:gd name="connsiteX5" fmla="*/ 474348 w 474348"/>
                  <a:gd name="connsiteY5" fmla="*/ 670154 h 670154"/>
                  <a:gd name="connsiteX6" fmla="*/ 248129 w 474348"/>
                  <a:gd name="connsiteY6" fmla="*/ 670154 h 670154"/>
                  <a:gd name="connsiteX7" fmla="*/ 0 w 474348"/>
                  <a:gd name="connsiteY7" fmla="*/ 670154 h 670154"/>
                  <a:gd name="connsiteX8" fmla="*/ 0 w 474348"/>
                  <a:gd name="connsiteY8" fmla="*/ 670154 h 670154"/>
                  <a:gd name="connsiteX9" fmla="*/ 0 w 474348"/>
                  <a:gd name="connsiteY9" fmla="*/ 217539 h 670154"/>
                  <a:gd name="connsiteX10" fmla="*/ 148557 w 474348"/>
                  <a:gd name="connsiteY10" fmla="*/ 27264 h 670154"/>
                  <a:gd name="connsiteX0" fmla="*/ 148557 w 474348"/>
                  <a:gd name="connsiteY0" fmla="*/ 20950 h 663840"/>
                  <a:gd name="connsiteX1" fmla="*/ 214238 w 474348"/>
                  <a:gd name="connsiteY1" fmla="*/ 0 h 663840"/>
                  <a:gd name="connsiteX2" fmla="*/ 314250 w 474348"/>
                  <a:gd name="connsiteY2" fmla="*/ 18756 h 663840"/>
                  <a:gd name="connsiteX3" fmla="*/ 474348 w 474348"/>
                  <a:gd name="connsiteY3" fmla="*/ 211225 h 663840"/>
                  <a:gd name="connsiteX4" fmla="*/ 474348 w 474348"/>
                  <a:gd name="connsiteY4" fmla="*/ 663840 h 663840"/>
                  <a:gd name="connsiteX5" fmla="*/ 474348 w 474348"/>
                  <a:gd name="connsiteY5" fmla="*/ 663840 h 663840"/>
                  <a:gd name="connsiteX6" fmla="*/ 248129 w 474348"/>
                  <a:gd name="connsiteY6" fmla="*/ 663840 h 663840"/>
                  <a:gd name="connsiteX7" fmla="*/ 0 w 474348"/>
                  <a:gd name="connsiteY7" fmla="*/ 663840 h 663840"/>
                  <a:gd name="connsiteX8" fmla="*/ 0 w 474348"/>
                  <a:gd name="connsiteY8" fmla="*/ 663840 h 663840"/>
                  <a:gd name="connsiteX9" fmla="*/ 0 w 474348"/>
                  <a:gd name="connsiteY9" fmla="*/ 211225 h 663840"/>
                  <a:gd name="connsiteX10" fmla="*/ 148557 w 474348"/>
                  <a:gd name="connsiteY10" fmla="*/ 20950 h 663840"/>
                  <a:gd name="connsiteX0" fmla="*/ 148557 w 474348"/>
                  <a:gd name="connsiteY0" fmla="*/ 20950 h 663840"/>
                  <a:gd name="connsiteX1" fmla="*/ 214238 w 474348"/>
                  <a:gd name="connsiteY1" fmla="*/ 0 h 663840"/>
                  <a:gd name="connsiteX2" fmla="*/ 314250 w 474348"/>
                  <a:gd name="connsiteY2" fmla="*/ 18756 h 663840"/>
                  <a:gd name="connsiteX3" fmla="*/ 474348 w 474348"/>
                  <a:gd name="connsiteY3" fmla="*/ 211225 h 663840"/>
                  <a:gd name="connsiteX4" fmla="*/ 474348 w 474348"/>
                  <a:gd name="connsiteY4" fmla="*/ 663840 h 663840"/>
                  <a:gd name="connsiteX5" fmla="*/ 474348 w 474348"/>
                  <a:gd name="connsiteY5" fmla="*/ 663840 h 663840"/>
                  <a:gd name="connsiteX6" fmla="*/ 248129 w 474348"/>
                  <a:gd name="connsiteY6" fmla="*/ 663840 h 663840"/>
                  <a:gd name="connsiteX7" fmla="*/ 0 w 474348"/>
                  <a:gd name="connsiteY7" fmla="*/ 663840 h 663840"/>
                  <a:gd name="connsiteX8" fmla="*/ 0 w 474348"/>
                  <a:gd name="connsiteY8" fmla="*/ 663840 h 663840"/>
                  <a:gd name="connsiteX9" fmla="*/ 0 w 474348"/>
                  <a:gd name="connsiteY9" fmla="*/ 211225 h 663840"/>
                  <a:gd name="connsiteX10" fmla="*/ 148557 w 474348"/>
                  <a:gd name="connsiteY10" fmla="*/ 20950 h 663840"/>
                  <a:gd name="connsiteX0" fmla="*/ 148557 w 474348"/>
                  <a:gd name="connsiteY0" fmla="*/ 20950 h 663840"/>
                  <a:gd name="connsiteX1" fmla="*/ 214238 w 474348"/>
                  <a:gd name="connsiteY1" fmla="*/ 0 h 663840"/>
                  <a:gd name="connsiteX2" fmla="*/ 314250 w 474348"/>
                  <a:gd name="connsiteY2" fmla="*/ 18756 h 663840"/>
                  <a:gd name="connsiteX3" fmla="*/ 474348 w 474348"/>
                  <a:gd name="connsiteY3" fmla="*/ 211225 h 663840"/>
                  <a:gd name="connsiteX4" fmla="*/ 474348 w 474348"/>
                  <a:gd name="connsiteY4" fmla="*/ 663840 h 663840"/>
                  <a:gd name="connsiteX5" fmla="*/ 474348 w 474348"/>
                  <a:gd name="connsiteY5" fmla="*/ 663840 h 663840"/>
                  <a:gd name="connsiteX6" fmla="*/ 248129 w 474348"/>
                  <a:gd name="connsiteY6" fmla="*/ 663840 h 663840"/>
                  <a:gd name="connsiteX7" fmla="*/ 0 w 474348"/>
                  <a:gd name="connsiteY7" fmla="*/ 663840 h 663840"/>
                  <a:gd name="connsiteX8" fmla="*/ 0 w 474348"/>
                  <a:gd name="connsiteY8" fmla="*/ 663840 h 663840"/>
                  <a:gd name="connsiteX9" fmla="*/ 0 w 474348"/>
                  <a:gd name="connsiteY9" fmla="*/ 211225 h 663840"/>
                  <a:gd name="connsiteX10" fmla="*/ 148557 w 474348"/>
                  <a:gd name="connsiteY10" fmla="*/ 20950 h 663840"/>
                  <a:gd name="connsiteX0" fmla="*/ 144178 w 474348"/>
                  <a:gd name="connsiteY0" fmla="*/ 22667 h 663840"/>
                  <a:gd name="connsiteX1" fmla="*/ 214238 w 474348"/>
                  <a:gd name="connsiteY1" fmla="*/ 0 h 663840"/>
                  <a:gd name="connsiteX2" fmla="*/ 314250 w 474348"/>
                  <a:gd name="connsiteY2" fmla="*/ 18756 h 663840"/>
                  <a:gd name="connsiteX3" fmla="*/ 474348 w 474348"/>
                  <a:gd name="connsiteY3" fmla="*/ 211225 h 663840"/>
                  <a:gd name="connsiteX4" fmla="*/ 474348 w 474348"/>
                  <a:gd name="connsiteY4" fmla="*/ 663840 h 663840"/>
                  <a:gd name="connsiteX5" fmla="*/ 474348 w 474348"/>
                  <a:gd name="connsiteY5" fmla="*/ 663840 h 663840"/>
                  <a:gd name="connsiteX6" fmla="*/ 248129 w 474348"/>
                  <a:gd name="connsiteY6" fmla="*/ 663840 h 663840"/>
                  <a:gd name="connsiteX7" fmla="*/ 0 w 474348"/>
                  <a:gd name="connsiteY7" fmla="*/ 663840 h 663840"/>
                  <a:gd name="connsiteX8" fmla="*/ 0 w 474348"/>
                  <a:gd name="connsiteY8" fmla="*/ 663840 h 663840"/>
                  <a:gd name="connsiteX9" fmla="*/ 0 w 474348"/>
                  <a:gd name="connsiteY9" fmla="*/ 211225 h 663840"/>
                  <a:gd name="connsiteX10" fmla="*/ 144178 w 474348"/>
                  <a:gd name="connsiteY10" fmla="*/ 22667 h 663840"/>
                  <a:gd name="connsiteX0" fmla="*/ 144178 w 474348"/>
                  <a:gd name="connsiteY0" fmla="*/ 22667 h 663840"/>
                  <a:gd name="connsiteX1" fmla="*/ 214238 w 474348"/>
                  <a:gd name="connsiteY1" fmla="*/ 0 h 663840"/>
                  <a:gd name="connsiteX2" fmla="*/ 314250 w 474348"/>
                  <a:gd name="connsiteY2" fmla="*/ 18756 h 663840"/>
                  <a:gd name="connsiteX3" fmla="*/ 474348 w 474348"/>
                  <a:gd name="connsiteY3" fmla="*/ 211225 h 663840"/>
                  <a:gd name="connsiteX4" fmla="*/ 474348 w 474348"/>
                  <a:gd name="connsiteY4" fmla="*/ 663840 h 663840"/>
                  <a:gd name="connsiteX5" fmla="*/ 474348 w 474348"/>
                  <a:gd name="connsiteY5" fmla="*/ 663840 h 663840"/>
                  <a:gd name="connsiteX6" fmla="*/ 248129 w 474348"/>
                  <a:gd name="connsiteY6" fmla="*/ 663840 h 663840"/>
                  <a:gd name="connsiteX7" fmla="*/ 0 w 474348"/>
                  <a:gd name="connsiteY7" fmla="*/ 663840 h 663840"/>
                  <a:gd name="connsiteX8" fmla="*/ 0 w 474348"/>
                  <a:gd name="connsiteY8" fmla="*/ 663840 h 663840"/>
                  <a:gd name="connsiteX9" fmla="*/ 0 w 474348"/>
                  <a:gd name="connsiteY9" fmla="*/ 211225 h 663840"/>
                  <a:gd name="connsiteX10" fmla="*/ 144178 w 474348"/>
                  <a:gd name="connsiteY10" fmla="*/ 22667 h 663840"/>
                  <a:gd name="connsiteX0" fmla="*/ 144178 w 474348"/>
                  <a:gd name="connsiteY0" fmla="*/ 22667 h 663840"/>
                  <a:gd name="connsiteX1" fmla="*/ 214238 w 474348"/>
                  <a:gd name="connsiteY1" fmla="*/ 0 h 663840"/>
                  <a:gd name="connsiteX2" fmla="*/ 314250 w 474348"/>
                  <a:gd name="connsiteY2" fmla="*/ 18756 h 663840"/>
                  <a:gd name="connsiteX3" fmla="*/ 474348 w 474348"/>
                  <a:gd name="connsiteY3" fmla="*/ 211225 h 663840"/>
                  <a:gd name="connsiteX4" fmla="*/ 474348 w 474348"/>
                  <a:gd name="connsiteY4" fmla="*/ 663840 h 663840"/>
                  <a:gd name="connsiteX5" fmla="*/ 474348 w 474348"/>
                  <a:gd name="connsiteY5" fmla="*/ 663840 h 663840"/>
                  <a:gd name="connsiteX6" fmla="*/ 248129 w 474348"/>
                  <a:gd name="connsiteY6" fmla="*/ 663840 h 663840"/>
                  <a:gd name="connsiteX7" fmla="*/ 0 w 474348"/>
                  <a:gd name="connsiteY7" fmla="*/ 663840 h 663840"/>
                  <a:gd name="connsiteX8" fmla="*/ 0 w 474348"/>
                  <a:gd name="connsiteY8" fmla="*/ 663840 h 663840"/>
                  <a:gd name="connsiteX9" fmla="*/ 0 w 474348"/>
                  <a:gd name="connsiteY9" fmla="*/ 211225 h 663840"/>
                  <a:gd name="connsiteX10" fmla="*/ 144178 w 474348"/>
                  <a:gd name="connsiteY10" fmla="*/ 22667 h 663840"/>
                  <a:gd name="connsiteX0" fmla="*/ 144178 w 474348"/>
                  <a:gd name="connsiteY0" fmla="*/ 22667 h 663840"/>
                  <a:gd name="connsiteX1" fmla="*/ 214238 w 474348"/>
                  <a:gd name="connsiteY1" fmla="*/ 0 h 663840"/>
                  <a:gd name="connsiteX2" fmla="*/ 314250 w 474348"/>
                  <a:gd name="connsiteY2" fmla="*/ 18756 h 663840"/>
                  <a:gd name="connsiteX3" fmla="*/ 474348 w 474348"/>
                  <a:gd name="connsiteY3" fmla="*/ 211225 h 663840"/>
                  <a:gd name="connsiteX4" fmla="*/ 474348 w 474348"/>
                  <a:gd name="connsiteY4" fmla="*/ 663840 h 663840"/>
                  <a:gd name="connsiteX5" fmla="*/ 474348 w 474348"/>
                  <a:gd name="connsiteY5" fmla="*/ 663840 h 663840"/>
                  <a:gd name="connsiteX6" fmla="*/ 248129 w 474348"/>
                  <a:gd name="connsiteY6" fmla="*/ 663840 h 663840"/>
                  <a:gd name="connsiteX7" fmla="*/ 0 w 474348"/>
                  <a:gd name="connsiteY7" fmla="*/ 663840 h 663840"/>
                  <a:gd name="connsiteX8" fmla="*/ 0 w 474348"/>
                  <a:gd name="connsiteY8" fmla="*/ 663840 h 663840"/>
                  <a:gd name="connsiteX9" fmla="*/ 0 w 474348"/>
                  <a:gd name="connsiteY9" fmla="*/ 211225 h 663840"/>
                  <a:gd name="connsiteX10" fmla="*/ 144178 w 474348"/>
                  <a:gd name="connsiteY10" fmla="*/ 22667 h 6638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74348" h="663840">
                    <a:moveTo>
                      <a:pt x="144178" y="22667"/>
                    </a:moveTo>
                    <a:cubicBezTo>
                      <a:pt x="211732" y="-970"/>
                      <a:pt x="181869" y="7990"/>
                      <a:pt x="214238" y="0"/>
                    </a:cubicBezTo>
                    <a:cubicBezTo>
                      <a:pt x="259321" y="7224"/>
                      <a:pt x="221757" y="369"/>
                      <a:pt x="314250" y="18756"/>
                    </a:cubicBezTo>
                    <a:cubicBezTo>
                      <a:pt x="399877" y="51074"/>
                      <a:pt x="474348" y="104798"/>
                      <a:pt x="474348" y="211225"/>
                    </a:cubicBezTo>
                    <a:lnTo>
                      <a:pt x="474348" y="663840"/>
                    </a:lnTo>
                    <a:lnTo>
                      <a:pt x="474348" y="663840"/>
                    </a:lnTo>
                    <a:lnTo>
                      <a:pt x="248129" y="663840"/>
                    </a:lnTo>
                    <a:lnTo>
                      <a:pt x="0" y="663840"/>
                    </a:lnTo>
                    <a:lnTo>
                      <a:pt x="0" y="663840"/>
                    </a:lnTo>
                    <a:lnTo>
                      <a:pt x="0" y="211225"/>
                    </a:lnTo>
                    <a:cubicBezTo>
                      <a:pt x="0" y="104798"/>
                      <a:pt x="80700" y="56026"/>
                      <a:pt x="144178" y="22667"/>
                    </a:cubicBezTo>
                    <a:close/>
                  </a:path>
                </a:pathLst>
              </a:cu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42" name="Round Same Side Corner Rectangle 11"/>
              <p:cNvSpPr/>
              <p:nvPr/>
            </p:nvSpPr>
            <p:spPr>
              <a:xfrm rot="16200000">
                <a:off x="6912899" y="2339184"/>
                <a:ext cx="101418" cy="1051827"/>
              </a:xfrm>
              <a:custGeom>
                <a:avLst/>
                <a:gdLst>
                  <a:gd name="connsiteX0" fmla="*/ 192704 w 474348"/>
                  <a:gd name="connsiteY0" fmla="*/ 0 h 645319"/>
                  <a:gd name="connsiteX1" fmla="*/ 281644 w 474348"/>
                  <a:gd name="connsiteY1" fmla="*/ 0 h 645319"/>
                  <a:gd name="connsiteX2" fmla="*/ 474348 w 474348"/>
                  <a:gd name="connsiteY2" fmla="*/ 192704 h 645319"/>
                  <a:gd name="connsiteX3" fmla="*/ 474348 w 474348"/>
                  <a:gd name="connsiteY3" fmla="*/ 645319 h 645319"/>
                  <a:gd name="connsiteX4" fmla="*/ 474348 w 474348"/>
                  <a:gd name="connsiteY4" fmla="*/ 645319 h 645319"/>
                  <a:gd name="connsiteX5" fmla="*/ 0 w 474348"/>
                  <a:gd name="connsiteY5" fmla="*/ 645319 h 645319"/>
                  <a:gd name="connsiteX6" fmla="*/ 0 w 474348"/>
                  <a:gd name="connsiteY6" fmla="*/ 645319 h 645319"/>
                  <a:gd name="connsiteX7" fmla="*/ 0 w 474348"/>
                  <a:gd name="connsiteY7" fmla="*/ 192704 h 645319"/>
                  <a:gd name="connsiteX8" fmla="*/ 192704 w 474348"/>
                  <a:gd name="connsiteY8" fmla="*/ 0 h 645319"/>
                  <a:gd name="connsiteX0" fmla="*/ 192704 w 474348"/>
                  <a:gd name="connsiteY0" fmla="*/ 0 h 645319"/>
                  <a:gd name="connsiteX1" fmla="*/ 281644 w 474348"/>
                  <a:gd name="connsiteY1" fmla="*/ 0 h 645319"/>
                  <a:gd name="connsiteX2" fmla="*/ 474348 w 474348"/>
                  <a:gd name="connsiteY2" fmla="*/ 192704 h 645319"/>
                  <a:gd name="connsiteX3" fmla="*/ 474348 w 474348"/>
                  <a:gd name="connsiteY3" fmla="*/ 645319 h 645319"/>
                  <a:gd name="connsiteX4" fmla="*/ 474348 w 474348"/>
                  <a:gd name="connsiteY4" fmla="*/ 645319 h 645319"/>
                  <a:gd name="connsiteX5" fmla="*/ 248129 w 474348"/>
                  <a:gd name="connsiteY5" fmla="*/ 645319 h 645319"/>
                  <a:gd name="connsiteX6" fmla="*/ 0 w 474348"/>
                  <a:gd name="connsiteY6" fmla="*/ 645319 h 645319"/>
                  <a:gd name="connsiteX7" fmla="*/ 0 w 474348"/>
                  <a:gd name="connsiteY7" fmla="*/ 645319 h 645319"/>
                  <a:gd name="connsiteX8" fmla="*/ 0 w 474348"/>
                  <a:gd name="connsiteY8" fmla="*/ 192704 h 645319"/>
                  <a:gd name="connsiteX9" fmla="*/ 192704 w 474348"/>
                  <a:gd name="connsiteY9" fmla="*/ 0 h 645319"/>
                  <a:gd name="connsiteX0" fmla="*/ 192704 w 474348"/>
                  <a:gd name="connsiteY0" fmla="*/ 2381 h 647700"/>
                  <a:gd name="connsiteX1" fmla="*/ 240986 w 474348"/>
                  <a:gd name="connsiteY1" fmla="*/ 0 h 647700"/>
                  <a:gd name="connsiteX2" fmla="*/ 281644 w 474348"/>
                  <a:gd name="connsiteY2" fmla="*/ 2381 h 647700"/>
                  <a:gd name="connsiteX3" fmla="*/ 474348 w 474348"/>
                  <a:gd name="connsiteY3" fmla="*/ 195085 h 647700"/>
                  <a:gd name="connsiteX4" fmla="*/ 474348 w 474348"/>
                  <a:gd name="connsiteY4" fmla="*/ 647700 h 647700"/>
                  <a:gd name="connsiteX5" fmla="*/ 474348 w 474348"/>
                  <a:gd name="connsiteY5" fmla="*/ 647700 h 647700"/>
                  <a:gd name="connsiteX6" fmla="*/ 248129 w 474348"/>
                  <a:gd name="connsiteY6" fmla="*/ 647700 h 647700"/>
                  <a:gd name="connsiteX7" fmla="*/ 0 w 474348"/>
                  <a:gd name="connsiteY7" fmla="*/ 647700 h 647700"/>
                  <a:gd name="connsiteX8" fmla="*/ 0 w 474348"/>
                  <a:gd name="connsiteY8" fmla="*/ 647700 h 647700"/>
                  <a:gd name="connsiteX9" fmla="*/ 0 w 474348"/>
                  <a:gd name="connsiteY9" fmla="*/ 195085 h 647700"/>
                  <a:gd name="connsiteX10" fmla="*/ 192704 w 474348"/>
                  <a:gd name="connsiteY10" fmla="*/ 2381 h 647700"/>
                  <a:gd name="connsiteX0" fmla="*/ 192704 w 474348"/>
                  <a:gd name="connsiteY0" fmla="*/ 42862 h 688181"/>
                  <a:gd name="connsiteX1" fmla="*/ 240986 w 474348"/>
                  <a:gd name="connsiteY1" fmla="*/ 0 h 688181"/>
                  <a:gd name="connsiteX2" fmla="*/ 281644 w 474348"/>
                  <a:gd name="connsiteY2" fmla="*/ 42862 h 688181"/>
                  <a:gd name="connsiteX3" fmla="*/ 474348 w 474348"/>
                  <a:gd name="connsiteY3" fmla="*/ 235566 h 688181"/>
                  <a:gd name="connsiteX4" fmla="*/ 474348 w 474348"/>
                  <a:gd name="connsiteY4" fmla="*/ 688181 h 688181"/>
                  <a:gd name="connsiteX5" fmla="*/ 474348 w 474348"/>
                  <a:gd name="connsiteY5" fmla="*/ 688181 h 688181"/>
                  <a:gd name="connsiteX6" fmla="*/ 248129 w 474348"/>
                  <a:gd name="connsiteY6" fmla="*/ 688181 h 688181"/>
                  <a:gd name="connsiteX7" fmla="*/ 0 w 474348"/>
                  <a:gd name="connsiteY7" fmla="*/ 688181 h 688181"/>
                  <a:gd name="connsiteX8" fmla="*/ 0 w 474348"/>
                  <a:gd name="connsiteY8" fmla="*/ 688181 h 688181"/>
                  <a:gd name="connsiteX9" fmla="*/ 0 w 474348"/>
                  <a:gd name="connsiteY9" fmla="*/ 235566 h 688181"/>
                  <a:gd name="connsiteX10" fmla="*/ 192704 w 474348"/>
                  <a:gd name="connsiteY10" fmla="*/ 42862 h 688181"/>
                  <a:gd name="connsiteX0" fmla="*/ 192704 w 474348"/>
                  <a:gd name="connsiteY0" fmla="*/ 23812 h 669131"/>
                  <a:gd name="connsiteX1" fmla="*/ 265690 w 474348"/>
                  <a:gd name="connsiteY1" fmla="*/ 0 h 669131"/>
                  <a:gd name="connsiteX2" fmla="*/ 281644 w 474348"/>
                  <a:gd name="connsiteY2" fmla="*/ 23812 h 669131"/>
                  <a:gd name="connsiteX3" fmla="*/ 474348 w 474348"/>
                  <a:gd name="connsiteY3" fmla="*/ 216516 h 669131"/>
                  <a:gd name="connsiteX4" fmla="*/ 474348 w 474348"/>
                  <a:gd name="connsiteY4" fmla="*/ 669131 h 669131"/>
                  <a:gd name="connsiteX5" fmla="*/ 474348 w 474348"/>
                  <a:gd name="connsiteY5" fmla="*/ 669131 h 669131"/>
                  <a:gd name="connsiteX6" fmla="*/ 248129 w 474348"/>
                  <a:gd name="connsiteY6" fmla="*/ 669131 h 669131"/>
                  <a:gd name="connsiteX7" fmla="*/ 0 w 474348"/>
                  <a:gd name="connsiteY7" fmla="*/ 669131 h 669131"/>
                  <a:gd name="connsiteX8" fmla="*/ 0 w 474348"/>
                  <a:gd name="connsiteY8" fmla="*/ 669131 h 669131"/>
                  <a:gd name="connsiteX9" fmla="*/ 0 w 474348"/>
                  <a:gd name="connsiteY9" fmla="*/ 216516 h 669131"/>
                  <a:gd name="connsiteX10" fmla="*/ 192704 w 474348"/>
                  <a:gd name="connsiteY10" fmla="*/ 23812 h 669131"/>
                  <a:gd name="connsiteX0" fmla="*/ 192704 w 474348"/>
                  <a:gd name="connsiteY0" fmla="*/ 23812 h 669131"/>
                  <a:gd name="connsiteX1" fmla="*/ 265690 w 474348"/>
                  <a:gd name="connsiteY1" fmla="*/ 0 h 669131"/>
                  <a:gd name="connsiteX2" fmla="*/ 281644 w 474348"/>
                  <a:gd name="connsiteY2" fmla="*/ 23812 h 669131"/>
                  <a:gd name="connsiteX3" fmla="*/ 474348 w 474348"/>
                  <a:gd name="connsiteY3" fmla="*/ 216516 h 669131"/>
                  <a:gd name="connsiteX4" fmla="*/ 474348 w 474348"/>
                  <a:gd name="connsiteY4" fmla="*/ 669131 h 669131"/>
                  <a:gd name="connsiteX5" fmla="*/ 474348 w 474348"/>
                  <a:gd name="connsiteY5" fmla="*/ 669131 h 669131"/>
                  <a:gd name="connsiteX6" fmla="*/ 248129 w 474348"/>
                  <a:gd name="connsiteY6" fmla="*/ 669131 h 669131"/>
                  <a:gd name="connsiteX7" fmla="*/ 0 w 474348"/>
                  <a:gd name="connsiteY7" fmla="*/ 669131 h 669131"/>
                  <a:gd name="connsiteX8" fmla="*/ 0 w 474348"/>
                  <a:gd name="connsiteY8" fmla="*/ 669131 h 669131"/>
                  <a:gd name="connsiteX9" fmla="*/ 0 w 474348"/>
                  <a:gd name="connsiteY9" fmla="*/ 216516 h 669131"/>
                  <a:gd name="connsiteX10" fmla="*/ 192704 w 474348"/>
                  <a:gd name="connsiteY10" fmla="*/ 23812 h 669131"/>
                  <a:gd name="connsiteX0" fmla="*/ 192704 w 474348"/>
                  <a:gd name="connsiteY0" fmla="*/ 23812 h 669131"/>
                  <a:gd name="connsiteX1" fmla="*/ 265690 w 474348"/>
                  <a:gd name="connsiteY1" fmla="*/ 0 h 669131"/>
                  <a:gd name="connsiteX2" fmla="*/ 281644 w 474348"/>
                  <a:gd name="connsiteY2" fmla="*/ 23812 h 669131"/>
                  <a:gd name="connsiteX3" fmla="*/ 474348 w 474348"/>
                  <a:gd name="connsiteY3" fmla="*/ 216516 h 669131"/>
                  <a:gd name="connsiteX4" fmla="*/ 474348 w 474348"/>
                  <a:gd name="connsiteY4" fmla="*/ 669131 h 669131"/>
                  <a:gd name="connsiteX5" fmla="*/ 474348 w 474348"/>
                  <a:gd name="connsiteY5" fmla="*/ 669131 h 669131"/>
                  <a:gd name="connsiteX6" fmla="*/ 248129 w 474348"/>
                  <a:gd name="connsiteY6" fmla="*/ 669131 h 669131"/>
                  <a:gd name="connsiteX7" fmla="*/ 0 w 474348"/>
                  <a:gd name="connsiteY7" fmla="*/ 669131 h 669131"/>
                  <a:gd name="connsiteX8" fmla="*/ 0 w 474348"/>
                  <a:gd name="connsiteY8" fmla="*/ 669131 h 669131"/>
                  <a:gd name="connsiteX9" fmla="*/ 0 w 474348"/>
                  <a:gd name="connsiteY9" fmla="*/ 216516 h 669131"/>
                  <a:gd name="connsiteX10" fmla="*/ 192704 w 474348"/>
                  <a:gd name="connsiteY10" fmla="*/ 23812 h 669131"/>
                  <a:gd name="connsiteX0" fmla="*/ 192704 w 474348"/>
                  <a:gd name="connsiteY0" fmla="*/ 23812 h 669131"/>
                  <a:gd name="connsiteX1" fmla="*/ 265690 w 474348"/>
                  <a:gd name="connsiteY1" fmla="*/ 0 h 669131"/>
                  <a:gd name="connsiteX2" fmla="*/ 314250 w 474348"/>
                  <a:gd name="connsiteY2" fmla="*/ 24047 h 669131"/>
                  <a:gd name="connsiteX3" fmla="*/ 474348 w 474348"/>
                  <a:gd name="connsiteY3" fmla="*/ 216516 h 669131"/>
                  <a:gd name="connsiteX4" fmla="*/ 474348 w 474348"/>
                  <a:gd name="connsiteY4" fmla="*/ 669131 h 669131"/>
                  <a:gd name="connsiteX5" fmla="*/ 474348 w 474348"/>
                  <a:gd name="connsiteY5" fmla="*/ 669131 h 669131"/>
                  <a:gd name="connsiteX6" fmla="*/ 248129 w 474348"/>
                  <a:gd name="connsiteY6" fmla="*/ 669131 h 669131"/>
                  <a:gd name="connsiteX7" fmla="*/ 0 w 474348"/>
                  <a:gd name="connsiteY7" fmla="*/ 669131 h 669131"/>
                  <a:gd name="connsiteX8" fmla="*/ 0 w 474348"/>
                  <a:gd name="connsiteY8" fmla="*/ 669131 h 669131"/>
                  <a:gd name="connsiteX9" fmla="*/ 0 w 474348"/>
                  <a:gd name="connsiteY9" fmla="*/ 216516 h 669131"/>
                  <a:gd name="connsiteX10" fmla="*/ 192704 w 474348"/>
                  <a:gd name="connsiteY10" fmla="*/ 23812 h 669131"/>
                  <a:gd name="connsiteX0" fmla="*/ 192704 w 474348"/>
                  <a:gd name="connsiteY0" fmla="*/ 23812 h 669131"/>
                  <a:gd name="connsiteX1" fmla="*/ 265690 w 474348"/>
                  <a:gd name="connsiteY1" fmla="*/ 0 h 669131"/>
                  <a:gd name="connsiteX2" fmla="*/ 314250 w 474348"/>
                  <a:gd name="connsiteY2" fmla="*/ 24047 h 669131"/>
                  <a:gd name="connsiteX3" fmla="*/ 474348 w 474348"/>
                  <a:gd name="connsiteY3" fmla="*/ 216516 h 669131"/>
                  <a:gd name="connsiteX4" fmla="*/ 474348 w 474348"/>
                  <a:gd name="connsiteY4" fmla="*/ 669131 h 669131"/>
                  <a:gd name="connsiteX5" fmla="*/ 474348 w 474348"/>
                  <a:gd name="connsiteY5" fmla="*/ 669131 h 669131"/>
                  <a:gd name="connsiteX6" fmla="*/ 248129 w 474348"/>
                  <a:gd name="connsiteY6" fmla="*/ 669131 h 669131"/>
                  <a:gd name="connsiteX7" fmla="*/ 0 w 474348"/>
                  <a:gd name="connsiteY7" fmla="*/ 669131 h 669131"/>
                  <a:gd name="connsiteX8" fmla="*/ 0 w 474348"/>
                  <a:gd name="connsiteY8" fmla="*/ 669131 h 669131"/>
                  <a:gd name="connsiteX9" fmla="*/ 0 w 474348"/>
                  <a:gd name="connsiteY9" fmla="*/ 216516 h 669131"/>
                  <a:gd name="connsiteX10" fmla="*/ 192704 w 474348"/>
                  <a:gd name="connsiteY10" fmla="*/ 23812 h 669131"/>
                  <a:gd name="connsiteX0" fmla="*/ 192704 w 474348"/>
                  <a:gd name="connsiteY0" fmla="*/ 23812 h 669131"/>
                  <a:gd name="connsiteX1" fmla="*/ 265690 w 474348"/>
                  <a:gd name="connsiteY1" fmla="*/ 0 h 669131"/>
                  <a:gd name="connsiteX2" fmla="*/ 314250 w 474348"/>
                  <a:gd name="connsiteY2" fmla="*/ 24047 h 669131"/>
                  <a:gd name="connsiteX3" fmla="*/ 474348 w 474348"/>
                  <a:gd name="connsiteY3" fmla="*/ 216516 h 669131"/>
                  <a:gd name="connsiteX4" fmla="*/ 474348 w 474348"/>
                  <a:gd name="connsiteY4" fmla="*/ 669131 h 669131"/>
                  <a:gd name="connsiteX5" fmla="*/ 474348 w 474348"/>
                  <a:gd name="connsiteY5" fmla="*/ 669131 h 669131"/>
                  <a:gd name="connsiteX6" fmla="*/ 248129 w 474348"/>
                  <a:gd name="connsiteY6" fmla="*/ 669131 h 669131"/>
                  <a:gd name="connsiteX7" fmla="*/ 0 w 474348"/>
                  <a:gd name="connsiteY7" fmla="*/ 669131 h 669131"/>
                  <a:gd name="connsiteX8" fmla="*/ 0 w 474348"/>
                  <a:gd name="connsiteY8" fmla="*/ 669131 h 669131"/>
                  <a:gd name="connsiteX9" fmla="*/ 0 w 474348"/>
                  <a:gd name="connsiteY9" fmla="*/ 216516 h 669131"/>
                  <a:gd name="connsiteX10" fmla="*/ 192704 w 474348"/>
                  <a:gd name="connsiteY10" fmla="*/ 23812 h 669131"/>
                  <a:gd name="connsiteX0" fmla="*/ 174282 w 474348"/>
                  <a:gd name="connsiteY0" fmla="*/ 23596 h 669131"/>
                  <a:gd name="connsiteX1" fmla="*/ 265690 w 474348"/>
                  <a:gd name="connsiteY1" fmla="*/ 0 h 669131"/>
                  <a:gd name="connsiteX2" fmla="*/ 314250 w 474348"/>
                  <a:gd name="connsiteY2" fmla="*/ 24047 h 669131"/>
                  <a:gd name="connsiteX3" fmla="*/ 474348 w 474348"/>
                  <a:gd name="connsiteY3" fmla="*/ 216516 h 669131"/>
                  <a:gd name="connsiteX4" fmla="*/ 474348 w 474348"/>
                  <a:gd name="connsiteY4" fmla="*/ 669131 h 669131"/>
                  <a:gd name="connsiteX5" fmla="*/ 474348 w 474348"/>
                  <a:gd name="connsiteY5" fmla="*/ 669131 h 669131"/>
                  <a:gd name="connsiteX6" fmla="*/ 248129 w 474348"/>
                  <a:gd name="connsiteY6" fmla="*/ 669131 h 669131"/>
                  <a:gd name="connsiteX7" fmla="*/ 0 w 474348"/>
                  <a:gd name="connsiteY7" fmla="*/ 669131 h 669131"/>
                  <a:gd name="connsiteX8" fmla="*/ 0 w 474348"/>
                  <a:gd name="connsiteY8" fmla="*/ 669131 h 669131"/>
                  <a:gd name="connsiteX9" fmla="*/ 0 w 474348"/>
                  <a:gd name="connsiteY9" fmla="*/ 216516 h 669131"/>
                  <a:gd name="connsiteX10" fmla="*/ 174282 w 474348"/>
                  <a:gd name="connsiteY10" fmla="*/ 23596 h 669131"/>
                  <a:gd name="connsiteX0" fmla="*/ 174282 w 474348"/>
                  <a:gd name="connsiteY0" fmla="*/ 24619 h 670154"/>
                  <a:gd name="connsiteX1" fmla="*/ 216121 w 474348"/>
                  <a:gd name="connsiteY1" fmla="*/ 0 h 670154"/>
                  <a:gd name="connsiteX2" fmla="*/ 314250 w 474348"/>
                  <a:gd name="connsiteY2" fmla="*/ 25070 h 670154"/>
                  <a:gd name="connsiteX3" fmla="*/ 474348 w 474348"/>
                  <a:gd name="connsiteY3" fmla="*/ 217539 h 670154"/>
                  <a:gd name="connsiteX4" fmla="*/ 474348 w 474348"/>
                  <a:gd name="connsiteY4" fmla="*/ 670154 h 670154"/>
                  <a:gd name="connsiteX5" fmla="*/ 474348 w 474348"/>
                  <a:gd name="connsiteY5" fmla="*/ 670154 h 670154"/>
                  <a:gd name="connsiteX6" fmla="*/ 248129 w 474348"/>
                  <a:gd name="connsiteY6" fmla="*/ 670154 h 670154"/>
                  <a:gd name="connsiteX7" fmla="*/ 0 w 474348"/>
                  <a:gd name="connsiteY7" fmla="*/ 670154 h 670154"/>
                  <a:gd name="connsiteX8" fmla="*/ 0 w 474348"/>
                  <a:gd name="connsiteY8" fmla="*/ 670154 h 670154"/>
                  <a:gd name="connsiteX9" fmla="*/ 0 w 474348"/>
                  <a:gd name="connsiteY9" fmla="*/ 217539 h 670154"/>
                  <a:gd name="connsiteX10" fmla="*/ 174282 w 474348"/>
                  <a:gd name="connsiteY10" fmla="*/ 24619 h 670154"/>
                  <a:gd name="connsiteX0" fmla="*/ 174282 w 474348"/>
                  <a:gd name="connsiteY0" fmla="*/ 24619 h 670154"/>
                  <a:gd name="connsiteX1" fmla="*/ 216121 w 474348"/>
                  <a:gd name="connsiteY1" fmla="*/ 0 h 670154"/>
                  <a:gd name="connsiteX2" fmla="*/ 314250 w 474348"/>
                  <a:gd name="connsiteY2" fmla="*/ 25070 h 670154"/>
                  <a:gd name="connsiteX3" fmla="*/ 474348 w 474348"/>
                  <a:gd name="connsiteY3" fmla="*/ 217539 h 670154"/>
                  <a:gd name="connsiteX4" fmla="*/ 474348 w 474348"/>
                  <a:gd name="connsiteY4" fmla="*/ 670154 h 670154"/>
                  <a:gd name="connsiteX5" fmla="*/ 474348 w 474348"/>
                  <a:gd name="connsiteY5" fmla="*/ 670154 h 670154"/>
                  <a:gd name="connsiteX6" fmla="*/ 248129 w 474348"/>
                  <a:gd name="connsiteY6" fmla="*/ 670154 h 670154"/>
                  <a:gd name="connsiteX7" fmla="*/ 0 w 474348"/>
                  <a:gd name="connsiteY7" fmla="*/ 670154 h 670154"/>
                  <a:gd name="connsiteX8" fmla="*/ 0 w 474348"/>
                  <a:gd name="connsiteY8" fmla="*/ 670154 h 670154"/>
                  <a:gd name="connsiteX9" fmla="*/ 0 w 474348"/>
                  <a:gd name="connsiteY9" fmla="*/ 217539 h 670154"/>
                  <a:gd name="connsiteX10" fmla="*/ 174282 w 474348"/>
                  <a:gd name="connsiteY10" fmla="*/ 24619 h 670154"/>
                  <a:gd name="connsiteX0" fmla="*/ 174282 w 474348"/>
                  <a:gd name="connsiteY0" fmla="*/ 24619 h 670154"/>
                  <a:gd name="connsiteX1" fmla="*/ 216121 w 474348"/>
                  <a:gd name="connsiteY1" fmla="*/ 0 h 670154"/>
                  <a:gd name="connsiteX2" fmla="*/ 314250 w 474348"/>
                  <a:gd name="connsiteY2" fmla="*/ 25070 h 670154"/>
                  <a:gd name="connsiteX3" fmla="*/ 474348 w 474348"/>
                  <a:gd name="connsiteY3" fmla="*/ 217539 h 670154"/>
                  <a:gd name="connsiteX4" fmla="*/ 474348 w 474348"/>
                  <a:gd name="connsiteY4" fmla="*/ 670154 h 670154"/>
                  <a:gd name="connsiteX5" fmla="*/ 474348 w 474348"/>
                  <a:gd name="connsiteY5" fmla="*/ 670154 h 670154"/>
                  <a:gd name="connsiteX6" fmla="*/ 248129 w 474348"/>
                  <a:gd name="connsiteY6" fmla="*/ 670154 h 670154"/>
                  <a:gd name="connsiteX7" fmla="*/ 0 w 474348"/>
                  <a:gd name="connsiteY7" fmla="*/ 670154 h 670154"/>
                  <a:gd name="connsiteX8" fmla="*/ 0 w 474348"/>
                  <a:gd name="connsiteY8" fmla="*/ 670154 h 670154"/>
                  <a:gd name="connsiteX9" fmla="*/ 0 w 474348"/>
                  <a:gd name="connsiteY9" fmla="*/ 217539 h 670154"/>
                  <a:gd name="connsiteX10" fmla="*/ 174282 w 474348"/>
                  <a:gd name="connsiteY10" fmla="*/ 24619 h 670154"/>
                  <a:gd name="connsiteX0" fmla="*/ 174282 w 474348"/>
                  <a:gd name="connsiteY0" fmla="*/ 24619 h 670154"/>
                  <a:gd name="connsiteX1" fmla="*/ 216121 w 474348"/>
                  <a:gd name="connsiteY1" fmla="*/ 0 h 670154"/>
                  <a:gd name="connsiteX2" fmla="*/ 314250 w 474348"/>
                  <a:gd name="connsiteY2" fmla="*/ 25070 h 670154"/>
                  <a:gd name="connsiteX3" fmla="*/ 474348 w 474348"/>
                  <a:gd name="connsiteY3" fmla="*/ 217539 h 670154"/>
                  <a:gd name="connsiteX4" fmla="*/ 474348 w 474348"/>
                  <a:gd name="connsiteY4" fmla="*/ 670154 h 670154"/>
                  <a:gd name="connsiteX5" fmla="*/ 474348 w 474348"/>
                  <a:gd name="connsiteY5" fmla="*/ 670154 h 670154"/>
                  <a:gd name="connsiteX6" fmla="*/ 248129 w 474348"/>
                  <a:gd name="connsiteY6" fmla="*/ 670154 h 670154"/>
                  <a:gd name="connsiteX7" fmla="*/ 0 w 474348"/>
                  <a:gd name="connsiteY7" fmla="*/ 670154 h 670154"/>
                  <a:gd name="connsiteX8" fmla="*/ 0 w 474348"/>
                  <a:gd name="connsiteY8" fmla="*/ 670154 h 670154"/>
                  <a:gd name="connsiteX9" fmla="*/ 0 w 474348"/>
                  <a:gd name="connsiteY9" fmla="*/ 217539 h 670154"/>
                  <a:gd name="connsiteX10" fmla="*/ 174282 w 474348"/>
                  <a:gd name="connsiteY10" fmla="*/ 24619 h 670154"/>
                  <a:gd name="connsiteX0" fmla="*/ 148557 w 474348"/>
                  <a:gd name="connsiteY0" fmla="*/ 27264 h 670154"/>
                  <a:gd name="connsiteX1" fmla="*/ 216121 w 474348"/>
                  <a:gd name="connsiteY1" fmla="*/ 0 h 670154"/>
                  <a:gd name="connsiteX2" fmla="*/ 314250 w 474348"/>
                  <a:gd name="connsiteY2" fmla="*/ 25070 h 670154"/>
                  <a:gd name="connsiteX3" fmla="*/ 474348 w 474348"/>
                  <a:gd name="connsiteY3" fmla="*/ 217539 h 670154"/>
                  <a:gd name="connsiteX4" fmla="*/ 474348 w 474348"/>
                  <a:gd name="connsiteY4" fmla="*/ 670154 h 670154"/>
                  <a:gd name="connsiteX5" fmla="*/ 474348 w 474348"/>
                  <a:gd name="connsiteY5" fmla="*/ 670154 h 670154"/>
                  <a:gd name="connsiteX6" fmla="*/ 248129 w 474348"/>
                  <a:gd name="connsiteY6" fmla="*/ 670154 h 670154"/>
                  <a:gd name="connsiteX7" fmla="*/ 0 w 474348"/>
                  <a:gd name="connsiteY7" fmla="*/ 670154 h 670154"/>
                  <a:gd name="connsiteX8" fmla="*/ 0 w 474348"/>
                  <a:gd name="connsiteY8" fmla="*/ 670154 h 670154"/>
                  <a:gd name="connsiteX9" fmla="*/ 0 w 474348"/>
                  <a:gd name="connsiteY9" fmla="*/ 217539 h 670154"/>
                  <a:gd name="connsiteX10" fmla="*/ 148557 w 474348"/>
                  <a:gd name="connsiteY10" fmla="*/ 27264 h 670154"/>
                  <a:gd name="connsiteX0" fmla="*/ 148557 w 474348"/>
                  <a:gd name="connsiteY0" fmla="*/ 20950 h 663840"/>
                  <a:gd name="connsiteX1" fmla="*/ 214238 w 474348"/>
                  <a:gd name="connsiteY1" fmla="*/ 0 h 663840"/>
                  <a:gd name="connsiteX2" fmla="*/ 314250 w 474348"/>
                  <a:gd name="connsiteY2" fmla="*/ 18756 h 663840"/>
                  <a:gd name="connsiteX3" fmla="*/ 474348 w 474348"/>
                  <a:gd name="connsiteY3" fmla="*/ 211225 h 663840"/>
                  <a:gd name="connsiteX4" fmla="*/ 474348 w 474348"/>
                  <a:gd name="connsiteY4" fmla="*/ 663840 h 663840"/>
                  <a:gd name="connsiteX5" fmla="*/ 474348 w 474348"/>
                  <a:gd name="connsiteY5" fmla="*/ 663840 h 663840"/>
                  <a:gd name="connsiteX6" fmla="*/ 248129 w 474348"/>
                  <a:gd name="connsiteY6" fmla="*/ 663840 h 663840"/>
                  <a:gd name="connsiteX7" fmla="*/ 0 w 474348"/>
                  <a:gd name="connsiteY7" fmla="*/ 663840 h 663840"/>
                  <a:gd name="connsiteX8" fmla="*/ 0 w 474348"/>
                  <a:gd name="connsiteY8" fmla="*/ 663840 h 663840"/>
                  <a:gd name="connsiteX9" fmla="*/ 0 w 474348"/>
                  <a:gd name="connsiteY9" fmla="*/ 211225 h 663840"/>
                  <a:gd name="connsiteX10" fmla="*/ 148557 w 474348"/>
                  <a:gd name="connsiteY10" fmla="*/ 20950 h 663840"/>
                  <a:gd name="connsiteX0" fmla="*/ 148557 w 474348"/>
                  <a:gd name="connsiteY0" fmla="*/ 20950 h 663840"/>
                  <a:gd name="connsiteX1" fmla="*/ 214238 w 474348"/>
                  <a:gd name="connsiteY1" fmla="*/ 0 h 663840"/>
                  <a:gd name="connsiteX2" fmla="*/ 314250 w 474348"/>
                  <a:gd name="connsiteY2" fmla="*/ 18756 h 663840"/>
                  <a:gd name="connsiteX3" fmla="*/ 474348 w 474348"/>
                  <a:gd name="connsiteY3" fmla="*/ 211225 h 663840"/>
                  <a:gd name="connsiteX4" fmla="*/ 474348 w 474348"/>
                  <a:gd name="connsiteY4" fmla="*/ 663840 h 663840"/>
                  <a:gd name="connsiteX5" fmla="*/ 474348 w 474348"/>
                  <a:gd name="connsiteY5" fmla="*/ 663840 h 663840"/>
                  <a:gd name="connsiteX6" fmla="*/ 248129 w 474348"/>
                  <a:gd name="connsiteY6" fmla="*/ 663840 h 663840"/>
                  <a:gd name="connsiteX7" fmla="*/ 0 w 474348"/>
                  <a:gd name="connsiteY7" fmla="*/ 663840 h 663840"/>
                  <a:gd name="connsiteX8" fmla="*/ 0 w 474348"/>
                  <a:gd name="connsiteY8" fmla="*/ 663840 h 663840"/>
                  <a:gd name="connsiteX9" fmla="*/ 0 w 474348"/>
                  <a:gd name="connsiteY9" fmla="*/ 211225 h 663840"/>
                  <a:gd name="connsiteX10" fmla="*/ 148557 w 474348"/>
                  <a:gd name="connsiteY10" fmla="*/ 20950 h 663840"/>
                  <a:gd name="connsiteX0" fmla="*/ 148557 w 474348"/>
                  <a:gd name="connsiteY0" fmla="*/ 20950 h 663840"/>
                  <a:gd name="connsiteX1" fmla="*/ 214238 w 474348"/>
                  <a:gd name="connsiteY1" fmla="*/ 0 h 663840"/>
                  <a:gd name="connsiteX2" fmla="*/ 314250 w 474348"/>
                  <a:gd name="connsiteY2" fmla="*/ 18756 h 663840"/>
                  <a:gd name="connsiteX3" fmla="*/ 474348 w 474348"/>
                  <a:gd name="connsiteY3" fmla="*/ 211225 h 663840"/>
                  <a:gd name="connsiteX4" fmla="*/ 474348 w 474348"/>
                  <a:gd name="connsiteY4" fmla="*/ 663840 h 663840"/>
                  <a:gd name="connsiteX5" fmla="*/ 474348 w 474348"/>
                  <a:gd name="connsiteY5" fmla="*/ 663840 h 663840"/>
                  <a:gd name="connsiteX6" fmla="*/ 248129 w 474348"/>
                  <a:gd name="connsiteY6" fmla="*/ 663840 h 663840"/>
                  <a:gd name="connsiteX7" fmla="*/ 0 w 474348"/>
                  <a:gd name="connsiteY7" fmla="*/ 663840 h 663840"/>
                  <a:gd name="connsiteX8" fmla="*/ 0 w 474348"/>
                  <a:gd name="connsiteY8" fmla="*/ 663840 h 663840"/>
                  <a:gd name="connsiteX9" fmla="*/ 0 w 474348"/>
                  <a:gd name="connsiteY9" fmla="*/ 211225 h 663840"/>
                  <a:gd name="connsiteX10" fmla="*/ 148557 w 474348"/>
                  <a:gd name="connsiteY10" fmla="*/ 20950 h 663840"/>
                  <a:gd name="connsiteX0" fmla="*/ 144178 w 474348"/>
                  <a:gd name="connsiteY0" fmla="*/ 22667 h 663840"/>
                  <a:gd name="connsiteX1" fmla="*/ 214238 w 474348"/>
                  <a:gd name="connsiteY1" fmla="*/ 0 h 663840"/>
                  <a:gd name="connsiteX2" fmla="*/ 314250 w 474348"/>
                  <a:gd name="connsiteY2" fmla="*/ 18756 h 663840"/>
                  <a:gd name="connsiteX3" fmla="*/ 474348 w 474348"/>
                  <a:gd name="connsiteY3" fmla="*/ 211225 h 663840"/>
                  <a:gd name="connsiteX4" fmla="*/ 474348 w 474348"/>
                  <a:gd name="connsiteY4" fmla="*/ 663840 h 663840"/>
                  <a:gd name="connsiteX5" fmla="*/ 474348 w 474348"/>
                  <a:gd name="connsiteY5" fmla="*/ 663840 h 663840"/>
                  <a:gd name="connsiteX6" fmla="*/ 248129 w 474348"/>
                  <a:gd name="connsiteY6" fmla="*/ 663840 h 663840"/>
                  <a:gd name="connsiteX7" fmla="*/ 0 w 474348"/>
                  <a:gd name="connsiteY7" fmla="*/ 663840 h 663840"/>
                  <a:gd name="connsiteX8" fmla="*/ 0 w 474348"/>
                  <a:gd name="connsiteY8" fmla="*/ 663840 h 663840"/>
                  <a:gd name="connsiteX9" fmla="*/ 0 w 474348"/>
                  <a:gd name="connsiteY9" fmla="*/ 211225 h 663840"/>
                  <a:gd name="connsiteX10" fmla="*/ 144178 w 474348"/>
                  <a:gd name="connsiteY10" fmla="*/ 22667 h 663840"/>
                  <a:gd name="connsiteX0" fmla="*/ 144178 w 474348"/>
                  <a:gd name="connsiteY0" fmla="*/ 22667 h 663840"/>
                  <a:gd name="connsiteX1" fmla="*/ 214238 w 474348"/>
                  <a:gd name="connsiteY1" fmla="*/ 0 h 663840"/>
                  <a:gd name="connsiteX2" fmla="*/ 314250 w 474348"/>
                  <a:gd name="connsiteY2" fmla="*/ 18756 h 663840"/>
                  <a:gd name="connsiteX3" fmla="*/ 474348 w 474348"/>
                  <a:gd name="connsiteY3" fmla="*/ 211225 h 663840"/>
                  <a:gd name="connsiteX4" fmla="*/ 474348 w 474348"/>
                  <a:gd name="connsiteY4" fmla="*/ 663840 h 663840"/>
                  <a:gd name="connsiteX5" fmla="*/ 474348 w 474348"/>
                  <a:gd name="connsiteY5" fmla="*/ 663840 h 663840"/>
                  <a:gd name="connsiteX6" fmla="*/ 248129 w 474348"/>
                  <a:gd name="connsiteY6" fmla="*/ 663840 h 663840"/>
                  <a:gd name="connsiteX7" fmla="*/ 0 w 474348"/>
                  <a:gd name="connsiteY7" fmla="*/ 663840 h 663840"/>
                  <a:gd name="connsiteX8" fmla="*/ 0 w 474348"/>
                  <a:gd name="connsiteY8" fmla="*/ 663840 h 663840"/>
                  <a:gd name="connsiteX9" fmla="*/ 0 w 474348"/>
                  <a:gd name="connsiteY9" fmla="*/ 211225 h 663840"/>
                  <a:gd name="connsiteX10" fmla="*/ 144178 w 474348"/>
                  <a:gd name="connsiteY10" fmla="*/ 22667 h 663840"/>
                  <a:gd name="connsiteX0" fmla="*/ 144178 w 474348"/>
                  <a:gd name="connsiteY0" fmla="*/ 22667 h 663840"/>
                  <a:gd name="connsiteX1" fmla="*/ 214238 w 474348"/>
                  <a:gd name="connsiteY1" fmla="*/ 0 h 663840"/>
                  <a:gd name="connsiteX2" fmla="*/ 314250 w 474348"/>
                  <a:gd name="connsiteY2" fmla="*/ 18756 h 663840"/>
                  <a:gd name="connsiteX3" fmla="*/ 474348 w 474348"/>
                  <a:gd name="connsiteY3" fmla="*/ 211225 h 663840"/>
                  <a:gd name="connsiteX4" fmla="*/ 474348 w 474348"/>
                  <a:gd name="connsiteY4" fmla="*/ 663840 h 663840"/>
                  <a:gd name="connsiteX5" fmla="*/ 474348 w 474348"/>
                  <a:gd name="connsiteY5" fmla="*/ 663840 h 663840"/>
                  <a:gd name="connsiteX6" fmla="*/ 248129 w 474348"/>
                  <a:gd name="connsiteY6" fmla="*/ 663840 h 663840"/>
                  <a:gd name="connsiteX7" fmla="*/ 0 w 474348"/>
                  <a:gd name="connsiteY7" fmla="*/ 663840 h 663840"/>
                  <a:gd name="connsiteX8" fmla="*/ 0 w 474348"/>
                  <a:gd name="connsiteY8" fmla="*/ 663840 h 663840"/>
                  <a:gd name="connsiteX9" fmla="*/ 0 w 474348"/>
                  <a:gd name="connsiteY9" fmla="*/ 211225 h 663840"/>
                  <a:gd name="connsiteX10" fmla="*/ 144178 w 474348"/>
                  <a:gd name="connsiteY10" fmla="*/ 22667 h 663840"/>
                  <a:gd name="connsiteX0" fmla="*/ 144178 w 474348"/>
                  <a:gd name="connsiteY0" fmla="*/ 22667 h 663840"/>
                  <a:gd name="connsiteX1" fmla="*/ 214238 w 474348"/>
                  <a:gd name="connsiteY1" fmla="*/ 0 h 663840"/>
                  <a:gd name="connsiteX2" fmla="*/ 314250 w 474348"/>
                  <a:gd name="connsiteY2" fmla="*/ 18756 h 663840"/>
                  <a:gd name="connsiteX3" fmla="*/ 474348 w 474348"/>
                  <a:gd name="connsiteY3" fmla="*/ 211225 h 663840"/>
                  <a:gd name="connsiteX4" fmla="*/ 474348 w 474348"/>
                  <a:gd name="connsiteY4" fmla="*/ 663840 h 663840"/>
                  <a:gd name="connsiteX5" fmla="*/ 474348 w 474348"/>
                  <a:gd name="connsiteY5" fmla="*/ 663840 h 663840"/>
                  <a:gd name="connsiteX6" fmla="*/ 248129 w 474348"/>
                  <a:gd name="connsiteY6" fmla="*/ 663840 h 663840"/>
                  <a:gd name="connsiteX7" fmla="*/ 0 w 474348"/>
                  <a:gd name="connsiteY7" fmla="*/ 663840 h 663840"/>
                  <a:gd name="connsiteX8" fmla="*/ 0 w 474348"/>
                  <a:gd name="connsiteY8" fmla="*/ 663840 h 663840"/>
                  <a:gd name="connsiteX9" fmla="*/ 0 w 474348"/>
                  <a:gd name="connsiteY9" fmla="*/ 211225 h 663840"/>
                  <a:gd name="connsiteX10" fmla="*/ 144178 w 474348"/>
                  <a:gd name="connsiteY10" fmla="*/ 22667 h 6638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74348" h="663840">
                    <a:moveTo>
                      <a:pt x="144178" y="22667"/>
                    </a:moveTo>
                    <a:cubicBezTo>
                      <a:pt x="211732" y="-970"/>
                      <a:pt x="181869" y="7990"/>
                      <a:pt x="214238" y="0"/>
                    </a:cubicBezTo>
                    <a:cubicBezTo>
                      <a:pt x="259321" y="7224"/>
                      <a:pt x="221757" y="369"/>
                      <a:pt x="314250" y="18756"/>
                    </a:cubicBezTo>
                    <a:cubicBezTo>
                      <a:pt x="399877" y="51074"/>
                      <a:pt x="474348" y="104798"/>
                      <a:pt x="474348" y="211225"/>
                    </a:cubicBezTo>
                    <a:lnTo>
                      <a:pt x="474348" y="663840"/>
                    </a:lnTo>
                    <a:lnTo>
                      <a:pt x="474348" y="663840"/>
                    </a:lnTo>
                    <a:lnTo>
                      <a:pt x="248129" y="663840"/>
                    </a:lnTo>
                    <a:lnTo>
                      <a:pt x="0" y="663840"/>
                    </a:lnTo>
                    <a:lnTo>
                      <a:pt x="0" y="663840"/>
                    </a:lnTo>
                    <a:lnTo>
                      <a:pt x="0" y="211225"/>
                    </a:lnTo>
                    <a:cubicBezTo>
                      <a:pt x="0" y="104798"/>
                      <a:pt x="80700" y="56026"/>
                      <a:pt x="144178" y="22667"/>
                    </a:cubicBezTo>
                    <a:close/>
                  </a:path>
                </a:pathLst>
              </a:cu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grpSp>
      </p:grpSp>
      <p:sp>
        <p:nvSpPr>
          <p:cNvPr id="147" name="Oval 146"/>
          <p:cNvSpPr/>
          <p:nvPr/>
        </p:nvSpPr>
        <p:spPr>
          <a:xfrm flipH="1">
            <a:off x="1803870" y="2851930"/>
            <a:ext cx="140310" cy="140309"/>
          </a:xfrm>
          <a:prstGeom prst="ellipse">
            <a:avLst/>
          </a:prstGeom>
          <a:solidFill>
            <a:schemeClr val="bg1"/>
          </a:solidFill>
          <a:ln w="50800">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89441289"/>
      </p:ext>
    </p:extLst>
  </p:cSld>
  <p:clrMapOvr>
    <a:masterClrMapping/>
  </p:clrMapOvr>
  <mc:AlternateContent xmlns:mc="http://schemas.openxmlformats.org/markup-compatibility/2006" xmlns:p14="http://schemas.microsoft.com/office/powerpoint/2010/main">
    <mc:Choice Requires="p14">
      <p:transition spd="slow" p14:dur="2000">
        <p:push/>
      </p:transition>
    </mc:Choice>
    <mc:Fallback xmlns="">
      <p:transition spd="slow">
        <p:push/>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8" presetClass="emph" presetSubtype="0" repeatCount="indefinite" fill="hold" nodeType="withEffect">
                                  <p:stCondLst>
                                    <p:cond delay="0"/>
                                  </p:stCondLst>
                                  <p:childTnLst>
                                    <p:animRot by="21600000">
                                      <p:cBhvr>
                                        <p:cTn id="6" dur="5000" fill="hold"/>
                                        <p:tgtEl>
                                          <p:spTgt spid="92"/>
                                        </p:tgtEl>
                                        <p:attrNameLst>
                                          <p:attrName>r</p:attrName>
                                        </p:attrNameLst>
                                      </p:cBhvr>
                                    </p:animRot>
                                  </p:childTnLst>
                                </p:cTn>
                              </p:par>
                              <p:par>
                                <p:cTn id="7" presetID="8" presetClass="emph" presetSubtype="0" repeatCount="indefinite" fill="hold" nodeType="withEffect">
                                  <p:stCondLst>
                                    <p:cond delay="0"/>
                                  </p:stCondLst>
                                  <p:childTnLst>
                                    <p:animRot by="21600000">
                                      <p:cBhvr>
                                        <p:cTn id="8" dur="5000" fill="hold"/>
                                        <p:tgtEl>
                                          <p:spTgt spid="90"/>
                                        </p:tgtEl>
                                        <p:attrNameLst>
                                          <p:attrName>r</p:attrName>
                                        </p:attrNameLst>
                                      </p:cBhvr>
                                    </p:animRot>
                                  </p:childTnLst>
                                </p:cTn>
                              </p:par>
                              <p:par>
                                <p:cTn id="9" presetID="8" presetClass="emph" presetSubtype="0" repeatCount="indefinite" fill="hold" nodeType="withEffect">
                                  <p:stCondLst>
                                    <p:cond delay="0"/>
                                  </p:stCondLst>
                                  <p:childTnLst>
                                    <p:animRot by="21600000">
                                      <p:cBhvr>
                                        <p:cTn id="10" dur="5000" fill="hold"/>
                                        <p:tgtEl>
                                          <p:spTgt spid="137"/>
                                        </p:tgtEl>
                                        <p:attrNameLst>
                                          <p:attrName>r</p:attrName>
                                        </p:attrNameLst>
                                      </p:cBhvr>
                                    </p:animRot>
                                  </p:childTnLst>
                                </p:cTn>
                              </p:par>
                              <p:par>
                                <p:cTn id="11" presetID="8" presetClass="emph" presetSubtype="0" repeatCount="indefinite" fill="hold" nodeType="withEffect">
                                  <p:stCondLst>
                                    <p:cond delay="0"/>
                                  </p:stCondLst>
                                  <p:childTnLst>
                                    <p:animRot by="21600000">
                                      <p:cBhvr>
                                        <p:cTn id="12" dur="5000" fill="hold"/>
                                        <p:tgtEl>
                                          <p:spTgt spid="135"/>
                                        </p:tgtEl>
                                        <p:attrNameLst>
                                          <p:attrName>r</p:attrName>
                                        </p:attrNameLst>
                                      </p:cBhvr>
                                    </p:animRot>
                                  </p:childTnLst>
                                </p:cTn>
                              </p:par>
                              <p:par>
                                <p:cTn id="13" presetID="8" presetClass="emph" presetSubtype="0" repeatCount="indefinite" fill="hold" nodeType="withEffect">
                                  <p:stCondLst>
                                    <p:cond delay="0"/>
                                  </p:stCondLst>
                                  <p:childTnLst>
                                    <p:animRot by="21600000">
                                      <p:cBhvr>
                                        <p:cTn id="14" dur="5000" fill="hold"/>
                                        <p:tgtEl>
                                          <p:spTgt spid="149"/>
                                        </p:tgtEl>
                                        <p:attrNameLst>
                                          <p:attrName>r</p:attrName>
                                        </p:attrNameLst>
                                      </p:cBhvr>
                                    </p:animRot>
                                  </p:childTnLst>
                                </p:cTn>
                              </p:par>
                              <p:par>
                                <p:cTn id="15" presetID="8" presetClass="emph" presetSubtype="0" repeatCount="indefinite" fill="hold" nodeType="withEffect">
                                  <p:stCondLst>
                                    <p:cond delay="0"/>
                                  </p:stCondLst>
                                  <p:childTnLst>
                                    <p:animRot by="21600000">
                                      <p:cBhvr>
                                        <p:cTn id="16" dur="5000" fill="hold"/>
                                        <p:tgtEl>
                                          <p:spTgt spid="161"/>
                                        </p:tgtEl>
                                        <p:attrNameLst>
                                          <p:attrName>r</p:attrName>
                                        </p:attrNameLst>
                                      </p:cBhvr>
                                    </p:animRo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54417999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272"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8" name="Freeform 7"/>
          <p:cNvSpPr/>
          <p:nvPr/>
        </p:nvSpPr>
        <p:spPr>
          <a:xfrm>
            <a:off x="-12700" y="3505200"/>
            <a:ext cx="9169400" cy="1651000"/>
          </a:xfrm>
          <a:custGeom>
            <a:avLst/>
            <a:gdLst>
              <a:gd name="connsiteX0" fmla="*/ 12700 w 9169400"/>
              <a:gd name="connsiteY0" fmla="*/ 571500 h 1651000"/>
              <a:gd name="connsiteX1" fmla="*/ 622300 w 9169400"/>
              <a:gd name="connsiteY1" fmla="*/ 431800 h 1651000"/>
              <a:gd name="connsiteX2" fmla="*/ 1143000 w 9169400"/>
              <a:gd name="connsiteY2" fmla="*/ 279400 h 1651000"/>
              <a:gd name="connsiteX3" fmla="*/ 1701800 w 9169400"/>
              <a:gd name="connsiteY3" fmla="*/ 228600 h 1651000"/>
              <a:gd name="connsiteX4" fmla="*/ 2794000 w 9169400"/>
              <a:gd name="connsiteY4" fmla="*/ 355600 h 1651000"/>
              <a:gd name="connsiteX5" fmla="*/ 3873500 w 9169400"/>
              <a:gd name="connsiteY5" fmla="*/ 469900 h 1651000"/>
              <a:gd name="connsiteX6" fmla="*/ 5067300 w 9169400"/>
              <a:gd name="connsiteY6" fmla="*/ 622300 h 1651000"/>
              <a:gd name="connsiteX7" fmla="*/ 6261100 w 9169400"/>
              <a:gd name="connsiteY7" fmla="*/ 558800 h 1651000"/>
              <a:gd name="connsiteX8" fmla="*/ 7086600 w 9169400"/>
              <a:gd name="connsiteY8" fmla="*/ 177800 h 1651000"/>
              <a:gd name="connsiteX9" fmla="*/ 9156700 w 9169400"/>
              <a:gd name="connsiteY9" fmla="*/ 0 h 1651000"/>
              <a:gd name="connsiteX10" fmla="*/ 9169400 w 9169400"/>
              <a:gd name="connsiteY10" fmla="*/ 1651000 h 1651000"/>
              <a:gd name="connsiteX11" fmla="*/ 0 w 9169400"/>
              <a:gd name="connsiteY11" fmla="*/ 1651000 h 1651000"/>
              <a:gd name="connsiteX12" fmla="*/ 12700 w 9169400"/>
              <a:gd name="connsiteY12" fmla="*/ 571500 h 1651000"/>
              <a:gd name="connsiteX0" fmla="*/ 12700 w 9169400"/>
              <a:gd name="connsiteY0" fmla="*/ 571500 h 1651000"/>
              <a:gd name="connsiteX1" fmla="*/ 622300 w 9169400"/>
              <a:gd name="connsiteY1" fmla="*/ 431800 h 1651000"/>
              <a:gd name="connsiteX2" fmla="*/ 1143000 w 9169400"/>
              <a:gd name="connsiteY2" fmla="*/ 279400 h 1651000"/>
              <a:gd name="connsiteX3" fmla="*/ 1701800 w 9169400"/>
              <a:gd name="connsiteY3" fmla="*/ 228600 h 1651000"/>
              <a:gd name="connsiteX4" fmla="*/ 2794000 w 9169400"/>
              <a:gd name="connsiteY4" fmla="*/ 355600 h 1651000"/>
              <a:gd name="connsiteX5" fmla="*/ 3873500 w 9169400"/>
              <a:gd name="connsiteY5" fmla="*/ 469900 h 1651000"/>
              <a:gd name="connsiteX6" fmla="*/ 5067300 w 9169400"/>
              <a:gd name="connsiteY6" fmla="*/ 622300 h 1651000"/>
              <a:gd name="connsiteX7" fmla="*/ 6261100 w 9169400"/>
              <a:gd name="connsiteY7" fmla="*/ 558800 h 1651000"/>
              <a:gd name="connsiteX8" fmla="*/ 7086600 w 9169400"/>
              <a:gd name="connsiteY8" fmla="*/ 177800 h 1651000"/>
              <a:gd name="connsiteX9" fmla="*/ 9156700 w 9169400"/>
              <a:gd name="connsiteY9" fmla="*/ 0 h 1651000"/>
              <a:gd name="connsiteX10" fmla="*/ 9169400 w 9169400"/>
              <a:gd name="connsiteY10" fmla="*/ 1651000 h 1651000"/>
              <a:gd name="connsiteX11" fmla="*/ 0 w 9169400"/>
              <a:gd name="connsiteY11" fmla="*/ 1651000 h 1651000"/>
              <a:gd name="connsiteX12" fmla="*/ 12700 w 9169400"/>
              <a:gd name="connsiteY12" fmla="*/ 571500 h 1651000"/>
              <a:gd name="connsiteX0" fmla="*/ 12700 w 9169400"/>
              <a:gd name="connsiteY0" fmla="*/ 571500 h 1651000"/>
              <a:gd name="connsiteX1" fmla="*/ 622300 w 9169400"/>
              <a:gd name="connsiteY1" fmla="*/ 431800 h 1651000"/>
              <a:gd name="connsiteX2" fmla="*/ 1143000 w 9169400"/>
              <a:gd name="connsiteY2" fmla="*/ 279400 h 1651000"/>
              <a:gd name="connsiteX3" fmla="*/ 1701800 w 9169400"/>
              <a:gd name="connsiteY3" fmla="*/ 228600 h 1651000"/>
              <a:gd name="connsiteX4" fmla="*/ 2794000 w 9169400"/>
              <a:gd name="connsiteY4" fmla="*/ 355600 h 1651000"/>
              <a:gd name="connsiteX5" fmla="*/ 3873500 w 9169400"/>
              <a:gd name="connsiteY5" fmla="*/ 469900 h 1651000"/>
              <a:gd name="connsiteX6" fmla="*/ 5067300 w 9169400"/>
              <a:gd name="connsiteY6" fmla="*/ 622300 h 1651000"/>
              <a:gd name="connsiteX7" fmla="*/ 6261100 w 9169400"/>
              <a:gd name="connsiteY7" fmla="*/ 558800 h 1651000"/>
              <a:gd name="connsiteX8" fmla="*/ 7086600 w 9169400"/>
              <a:gd name="connsiteY8" fmla="*/ 177800 h 1651000"/>
              <a:gd name="connsiteX9" fmla="*/ 9156700 w 9169400"/>
              <a:gd name="connsiteY9" fmla="*/ 0 h 1651000"/>
              <a:gd name="connsiteX10" fmla="*/ 9169400 w 9169400"/>
              <a:gd name="connsiteY10" fmla="*/ 1651000 h 1651000"/>
              <a:gd name="connsiteX11" fmla="*/ 0 w 9169400"/>
              <a:gd name="connsiteY11" fmla="*/ 1651000 h 1651000"/>
              <a:gd name="connsiteX12" fmla="*/ 12700 w 9169400"/>
              <a:gd name="connsiteY12" fmla="*/ 571500 h 1651000"/>
              <a:gd name="connsiteX0" fmla="*/ 12700 w 9169400"/>
              <a:gd name="connsiteY0" fmla="*/ 571500 h 1651000"/>
              <a:gd name="connsiteX1" fmla="*/ 622300 w 9169400"/>
              <a:gd name="connsiteY1" fmla="*/ 431800 h 1651000"/>
              <a:gd name="connsiteX2" fmla="*/ 1143000 w 9169400"/>
              <a:gd name="connsiteY2" fmla="*/ 279400 h 1651000"/>
              <a:gd name="connsiteX3" fmla="*/ 1701800 w 9169400"/>
              <a:gd name="connsiteY3" fmla="*/ 228600 h 1651000"/>
              <a:gd name="connsiteX4" fmla="*/ 2794000 w 9169400"/>
              <a:gd name="connsiteY4" fmla="*/ 355600 h 1651000"/>
              <a:gd name="connsiteX5" fmla="*/ 3873500 w 9169400"/>
              <a:gd name="connsiteY5" fmla="*/ 469900 h 1651000"/>
              <a:gd name="connsiteX6" fmla="*/ 5067300 w 9169400"/>
              <a:gd name="connsiteY6" fmla="*/ 622300 h 1651000"/>
              <a:gd name="connsiteX7" fmla="*/ 6261100 w 9169400"/>
              <a:gd name="connsiteY7" fmla="*/ 558800 h 1651000"/>
              <a:gd name="connsiteX8" fmla="*/ 7086600 w 9169400"/>
              <a:gd name="connsiteY8" fmla="*/ 177800 h 1651000"/>
              <a:gd name="connsiteX9" fmla="*/ 9156700 w 9169400"/>
              <a:gd name="connsiteY9" fmla="*/ 0 h 1651000"/>
              <a:gd name="connsiteX10" fmla="*/ 9169400 w 9169400"/>
              <a:gd name="connsiteY10" fmla="*/ 1651000 h 1651000"/>
              <a:gd name="connsiteX11" fmla="*/ 0 w 9169400"/>
              <a:gd name="connsiteY11" fmla="*/ 1651000 h 1651000"/>
              <a:gd name="connsiteX12" fmla="*/ 12700 w 9169400"/>
              <a:gd name="connsiteY12" fmla="*/ 571500 h 1651000"/>
              <a:gd name="connsiteX0" fmla="*/ 12700 w 9169400"/>
              <a:gd name="connsiteY0" fmla="*/ 571500 h 1651000"/>
              <a:gd name="connsiteX1" fmla="*/ 622300 w 9169400"/>
              <a:gd name="connsiteY1" fmla="*/ 431800 h 1651000"/>
              <a:gd name="connsiteX2" fmla="*/ 1143000 w 9169400"/>
              <a:gd name="connsiteY2" fmla="*/ 279400 h 1651000"/>
              <a:gd name="connsiteX3" fmla="*/ 1701800 w 9169400"/>
              <a:gd name="connsiteY3" fmla="*/ 228600 h 1651000"/>
              <a:gd name="connsiteX4" fmla="*/ 2794000 w 9169400"/>
              <a:gd name="connsiteY4" fmla="*/ 355600 h 1651000"/>
              <a:gd name="connsiteX5" fmla="*/ 3873500 w 9169400"/>
              <a:gd name="connsiteY5" fmla="*/ 469900 h 1651000"/>
              <a:gd name="connsiteX6" fmla="*/ 5067300 w 9169400"/>
              <a:gd name="connsiteY6" fmla="*/ 622300 h 1651000"/>
              <a:gd name="connsiteX7" fmla="*/ 6261100 w 9169400"/>
              <a:gd name="connsiteY7" fmla="*/ 558800 h 1651000"/>
              <a:gd name="connsiteX8" fmla="*/ 7086600 w 9169400"/>
              <a:gd name="connsiteY8" fmla="*/ 177800 h 1651000"/>
              <a:gd name="connsiteX9" fmla="*/ 9156700 w 9169400"/>
              <a:gd name="connsiteY9" fmla="*/ 0 h 1651000"/>
              <a:gd name="connsiteX10" fmla="*/ 9169400 w 9169400"/>
              <a:gd name="connsiteY10" fmla="*/ 1651000 h 1651000"/>
              <a:gd name="connsiteX11" fmla="*/ 0 w 9169400"/>
              <a:gd name="connsiteY11" fmla="*/ 1651000 h 1651000"/>
              <a:gd name="connsiteX12" fmla="*/ 12700 w 9169400"/>
              <a:gd name="connsiteY12" fmla="*/ 571500 h 1651000"/>
              <a:gd name="connsiteX0" fmla="*/ 12700 w 9169400"/>
              <a:gd name="connsiteY0" fmla="*/ 571500 h 1651000"/>
              <a:gd name="connsiteX1" fmla="*/ 622300 w 9169400"/>
              <a:gd name="connsiteY1" fmla="*/ 431800 h 1651000"/>
              <a:gd name="connsiteX2" fmla="*/ 1143000 w 9169400"/>
              <a:gd name="connsiteY2" fmla="*/ 279400 h 1651000"/>
              <a:gd name="connsiteX3" fmla="*/ 1701800 w 9169400"/>
              <a:gd name="connsiteY3" fmla="*/ 228600 h 1651000"/>
              <a:gd name="connsiteX4" fmla="*/ 2794000 w 9169400"/>
              <a:gd name="connsiteY4" fmla="*/ 355600 h 1651000"/>
              <a:gd name="connsiteX5" fmla="*/ 3873500 w 9169400"/>
              <a:gd name="connsiteY5" fmla="*/ 469900 h 1651000"/>
              <a:gd name="connsiteX6" fmla="*/ 5067300 w 9169400"/>
              <a:gd name="connsiteY6" fmla="*/ 622300 h 1651000"/>
              <a:gd name="connsiteX7" fmla="*/ 6261100 w 9169400"/>
              <a:gd name="connsiteY7" fmla="*/ 558800 h 1651000"/>
              <a:gd name="connsiteX8" fmla="*/ 7086600 w 9169400"/>
              <a:gd name="connsiteY8" fmla="*/ 177800 h 1651000"/>
              <a:gd name="connsiteX9" fmla="*/ 9156700 w 9169400"/>
              <a:gd name="connsiteY9" fmla="*/ 0 h 1651000"/>
              <a:gd name="connsiteX10" fmla="*/ 9169400 w 9169400"/>
              <a:gd name="connsiteY10" fmla="*/ 1651000 h 1651000"/>
              <a:gd name="connsiteX11" fmla="*/ 0 w 9169400"/>
              <a:gd name="connsiteY11" fmla="*/ 1651000 h 1651000"/>
              <a:gd name="connsiteX12" fmla="*/ 12700 w 9169400"/>
              <a:gd name="connsiteY12" fmla="*/ 571500 h 1651000"/>
              <a:gd name="connsiteX0" fmla="*/ 12700 w 9169400"/>
              <a:gd name="connsiteY0" fmla="*/ 571500 h 1651000"/>
              <a:gd name="connsiteX1" fmla="*/ 622300 w 9169400"/>
              <a:gd name="connsiteY1" fmla="*/ 431800 h 1651000"/>
              <a:gd name="connsiteX2" fmla="*/ 1143000 w 9169400"/>
              <a:gd name="connsiteY2" fmla="*/ 279400 h 1651000"/>
              <a:gd name="connsiteX3" fmla="*/ 1701800 w 9169400"/>
              <a:gd name="connsiteY3" fmla="*/ 228600 h 1651000"/>
              <a:gd name="connsiteX4" fmla="*/ 2794000 w 9169400"/>
              <a:gd name="connsiteY4" fmla="*/ 355600 h 1651000"/>
              <a:gd name="connsiteX5" fmla="*/ 3873500 w 9169400"/>
              <a:gd name="connsiteY5" fmla="*/ 469900 h 1651000"/>
              <a:gd name="connsiteX6" fmla="*/ 5067300 w 9169400"/>
              <a:gd name="connsiteY6" fmla="*/ 622300 h 1651000"/>
              <a:gd name="connsiteX7" fmla="*/ 6261100 w 9169400"/>
              <a:gd name="connsiteY7" fmla="*/ 558800 h 1651000"/>
              <a:gd name="connsiteX8" fmla="*/ 7086600 w 9169400"/>
              <a:gd name="connsiteY8" fmla="*/ 177800 h 1651000"/>
              <a:gd name="connsiteX9" fmla="*/ 9156700 w 9169400"/>
              <a:gd name="connsiteY9" fmla="*/ 0 h 1651000"/>
              <a:gd name="connsiteX10" fmla="*/ 9169400 w 9169400"/>
              <a:gd name="connsiteY10" fmla="*/ 1651000 h 1651000"/>
              <a:gd name="connsiteX11" fmla="*/ 0 w 9169400"/>
              <a:gd name="connsiteY11" fmla="*/ 1651000 h 1651000"/>
              <a:gd name="connsiteX12" fmla="*/ 12700 w 9169400"/>
              <a:gd name="connsiteY12" fmla="*/ 571500 h 1651000"/>
              <a:gd name="connsiteX0" fmla="*/ 12700 w 9169400"/>
              <a:gd name="connsiteY0" fmla="*/ 571500 h 1651000"/>
              <a:gd name="connsiteX1" fmla="*/ 622300 w 9169400"/>
              <a:gd name="connsiteY1" fmla="*/ 431800 h 1651000"/>
              <a:gd name="connsiteX2" fmla="*/ 1143000 w 9169400"/>
              <a:gd name="connsiteY2" fmla="*/ 279400 h 1651000"/>
              <a:gd name="connsiteX3" fmla="*/ 1701800 w 9169400"/>
              <a:gd name="connsiteY3" fmla="*/ 228600 h 1651000"/>
              <a:gd name="connsiteX4" fmla="*/ 2794000 w 9169400"/>
              <a:gd name="connsiteY4" fmla="*/ 355600 h 1651000"/>
              <a:gd name="connsiteX5" fmla="*/ 3873500 w 9169400"/>
              <a:gd name="connsiteY5" fmla="*/ 469900 h 1651000"/>
              <a:gd name="connsiteX6" fmla="*/ 5067300 w 9169400"/>
              <a:gd name="connsiteY6" fmla="*/ 622300 h 1651000"/>
              <a:gd name="connsiteX7" fmla="*/ 6261100 w 9169400"/>
              <a:gd name="connsiteY7" fmla="*/ 558800 h 1651000"/>
              <a:gd name="connsiteX8" fmla="*/ 7086600 w 9169400"/>
              <a:gd name="connsiteY8" fmla="*/ 177800 h 1651000"/>
              <a:gd name="connsiteX9" fmla="*/ 9156700 w 9169400"/>
              <a:gd name="connsiteY9" fmla="*/ 0 h 1651000"/>
              <a:gd name="connsiteX10" fmla="*/ 9169400 w 9169400"/>
              <a:gd name="connsiteY10" fmla="*/ 1651000 h 1651000"/>
              <a:gd name="connsiteX11" fmla="*/ 0 w 9169400"/>
              <a:gd name="connsiteY11" fmla="*/ 1651000 h 1651000"/>
              <a:gd name="connsiteX12" fmla="*/ 12700 w 9169400"/>
              <a:gd name="connsiteY12" fmla="*/ 571500 h 1651000"/>
              <a:gd name="connsiteX0" fmla="*/ 12700 w 9169400"/>
              <a:gd name="connsiteY0" fmla="*/ 571500 h 1651000"/>
              <a:gd name="connsiteX1" fmla="*/ 622300 w 9169400"/>
              <a:gd name="connsiteY1" fmla="*/ 431800 h 1651000"/>
              <a:gd name="connsiteX2" fmla="*/ 1143000 w 9169400"/>
              <a:gd name="connsiteY2" fmla="*/ 279400 h 1651000"/>
              <a:gd name="connsiteX3" fmla="*/ 1701800 w 9169400"/>
              <a:gd name="connsiteY3" fmla="*/ 228600 h 1651000"/>
              <a:gd name="connsiteX4" fmla="*/ 2794000 w 9169400"/>
              <a:gd name="connsiteY4" fmla="*/ 355600 h 1651000"/>
              <a:gd name="connsiteX5" fmla="*/ 3873500 w 9169400"/>
              <a:gd name="connsiteY5" fmla="*/ 469900 h 1651000"/>
              <a:gd name="connsiteX6" fmla="*/ 5067300 w 9169400"/>
              <a:gd name="connsiteY6" fmla="*/ 622300 h 1651000"/>
              <a:gd name="connsiteX7" fmla="*/ 6261100 w 9169400"/>
              <a:gd name="connsiteY7" fmla="*/ 558800 h 1651000"/>
              <a:gd name="connsiteX8" fmla="*/ 7086600 w 9169400"/>
              <a:gd name="connsiteY8" fmla="*/ 177800 h 1651000"/>
              <a:gd name="connsiteX9" fmla="*/ 9156700 w 9169400"/>
              <a:gd name="connsiteY9" fmla="*/ 0 h 1651000"/>
              <a:gd name="connsiteX10" fmla="*/ 9169400 w 9169400"/>
              <a:gd name="connsiteY10" fmla="*/ 1651000 h 1651000"/>
              <a:gd name="connsiteX11" fmla="*/ 0 w 9169400"/>
              <a:gd name="connsiteY11" fmla="*/ 1651000 h 1651000"/>
              <a:gd name="connsiteX12" fmla="*/ 12700 w 9169400"/>
              <a:gd name="connsiteY12" fmla="*/ 571500 h 1651000"/>
              <a:gd name="connsiteX0" fmla="*/ 12700 w 9169400"/>
              <a:gd name="connsiteY0" fmla="*/ 571500 h 1651000"/>
              <a:gd name="connsiteX1" fmla="*/ 622300 w 9169400"/>
              <a:gd name="connsiteY1" fmla="*/ 431800 h 1651000"/>
              <a:gd name="connsiteX2" fmla="*/ 1701800 w 9169400"/>
              <a:gd name="connsiteY2" fmla="*/ 228600 h 1651000"/>
              <a:gd name="connsiteX3" fmla="*/ 2794000 w 9169400"/>
              <a:gd name="connsiteY3" fmla="*/ 355600 h 1651000"/>
              <a:gd name="connsiteX4" fmla="*/ 3873500 w 9169400"/>
              <a:gd name="connsiteY4" fmla="*/ 469900 h 1651000"/>
              <a:gd name="connsiteX5" fmla="*/ 5067300 w 9169400"/>
              <a:gd name="connsiteY5" fmla="*/ 622300 h 1651000"/>
              <a:gd name="connsiteX6" fmla="*/ 6261100 w 9169400"/>
              <a:gd name="connsiteY6" fmla="*/ 558800 h 1651000"/>
              <a:gd name="connsiteX7" fmla="*/ 7086600 w 9169400"/>
              <a:gd name="connsiteY7" fmla="*/ 177800 h 1651000"/>
              <a:gd name="connsiteX8" fmla="*/ 9156700 w 9169400"/>
              <a:gd name="connsiteY8" fmla="*/ 0 h 1651000"/>
              <a:gd name="connsiteX9" fmla="*/ 9169400 w 9169400"/>
              <a:gd name="connsiteY9" fmla="*/ 1651000 h 1651000"/>
              <a:gd name="connsiteX10" fmla="*/ 0 w 9169400"/>
              <a:gd name="connsiteY10" fmla="*/ 1651000 h 1651000"/>
              <a:gd name="connsiteX11" fmla="*/ 12700 w 9169400"/>
              <a:gd name="connsiteY11" fmla="*/ 571500 h 1651000"/>
              <a:gd name="connsiteX0" fmla="*/ 12700 w 9169400"/>
              <a:gd name="connsiteY0" fmla="*/ 571500 h 1651000"/>
              <a:gd name="connsiteX1" fmla="*/ 863600 w 9169400"/>
              <a:gd name="connsiteY1" fmla="*/ 342900 h 1651000"/>
              <a:gd name="connsiteX2" fmla="*/ 1701800 w 9169400"/>
              <a:gd name="connsiteY2" fmla="*/ 228600 h 1651000"/>
              <a:gd name="connsiteX3" fmla="*/ 2794000 w 9169400"/>
              <a:gd name="connsiteY3" fmla="*/ 355600 h 1651000"/>
              <a:gd name="connsiteX4" fmla="*/ 3873500 w 9169400"/>
              <a:gd name="connsiteY4" fmla="*/ 469900 h 1651000"/>
              <a:gd name="connsiteX5" fmla="*/ 5067300 w 9169400"/>
              <a:gd name="connsiteY5" fmla="*/ 622300 h 1651000"/>
              <a:gd name="connsiteX6" fmla="*/ 6261100 w 9169400"/>
              <a:gd name="connsiteY6" fmla="*/ 558800 h 1651000"/>
              <a:gd name="connsiteX7" fmla="*/ 7086600 w 9169400"/>
              <a:gd name="connsiteY7" fmla="*/ 177800 h 1651000"/>
              <a:gd name="connsiteX8" fmla="*/ 9156700 w 9169400"/>
              <a:gd name="connsiteY8" fmla="*/ 0 h 1651000"/>
              <a:gd name="connsiteX9" fmla="*/ 9169400 w 9169400"/>
              <a:gd name="connsiteY9" fmla="*/ 1651000 h 1651000"/>
              <a:gd name="connsiteX10" fmla="*/ 0 w 9169400"/>
              <a:gd name="connsiteY10" fmla="*/ 1651000 h 1651000"/>
              <a:gd name="connsiteX11" fmla="*/ 12700 w 9169400"/>
              <a:gd name="connsiteY11" fmla="*/ 571500 h 1651000"/>
              <a:gd name="connsiteX0" fmla="*/ 12700 w 9169400"/>
              <a:gd name="connsiteY0" fmla="*/ 571500 h 1651000"/>
              <a:gd name="connsiteX1" fmla="*/ 863600 w 9169400"/>
              <a:gd name="connsiteY1" fmla="*/ 342900 h 1651000"/>
              <a:gd name="connsiteX2" fmla="*/ 1701800 w 9169400"/>
              <a:gd name="connsiteY2" fmla="*/ 228600 h 1651000"/>
              <a:gd name="connsiteX3" fmla="*/ 2794000 w 9169400"/>
              <a:gd name="connsiteY3" fmla="*/ 355600 h 1651000"/>
              <a:gd name="connsiteX4" fmla="*/ 3873500 w 9169400"/>
              <a:gd name="connsiteY4" fmla="*/ 469900 h 1651000"/>
              <a:gd name="connsiteX5" fmla="*/ 5067300 w 9169400"/>
              <a:gd name="connsiteY5" fmla="*/ 622300 h 1651000"/>
              <a:gd name="connsiteX6" fmla="*/ 6261100 w 9169400"/>
              <a:gd name="connsiteY6" fmla="*/ 558800 h 1651000"/>
              <a:gd name="connsiteX7" fmla="*/ 7086600 w 9169400"/>
              <a:gd name="connsiteY7" fmla="*/ 177800 h 1651000"/>
              <a:gd name="connsiteX8" fmla="*/ 9156700 w 9169400"/>
              <a:gd name="connsiteY8" fmla="*/ 0 h 1651000"/>
              <a:gd name="connsiteX9" fmla="*/ 9169400 w 9169400"/>
              <a:gd name="connsiteY9" fmla="*/ 1651000 h 1651000"/>
              <a:gd name="connsiteX10" fmla="*/ 0 w 9169400"/>
              <a:gd name="connsiteY10" fmla="*/ 1651000 h 1651000"/>
              <a:gd name="connsiteX11" fmla="*/ 12700 w 9169400"/>
              <a:gd name="connsiteY11" fmla="*/ 571500 h 1651000"/>
              <a:gd name="connsiteX0" fmla="*/ 12700 w 9169400"/>
              <a:gd name="connsiteY0" fmla="*/ 571500 h 1651000"/>
              <a:gd name="connsiteX1" fmla="*/ 863600 w 9169400"/>
              <a:gd name="connsiteY1" fmla="*/ 342900 h 1651000"/>
              <a:gd name="connsiteX2" fmla="*/ 1701800 w 9169400"/>
              <a:gd name="connsiteY2" fmla="*/ 228600 h 1651000"/>
              <a:gd name="connsiteX3" fmla="*/ 2794000 w 9169400"/>
              <a:gd name="connsiteY3" fmla="*/ 355600 h 1651000"/>
              <a:gd name="connsiteX4" fmla="*/ 3873500 w 9169400"/>
              <a:gd name="connsiteY4" fmla="*/ 469900 h 1651000"/>
              <a:gd name="connsiteX5" fmla="*/ 5067300 w 9169400"/>
              <a:gd name="connsiteY5" fmla="*/ 622300 h 1651000"/>
              <a:gd name="connsiteX6" fmla="*/ 6197600 w 9169400"/>
              <a:gd name="connsiteY6" fmla="*/ 482600 h 1651000"/>
              <a:gd name="connsiteX7" fmla="*/ 7086600 w 9169400"/>
              <a:gd name="connsiteY7" fmla="*/ 177800 h 1651000"/>
              <a:gd name="connsiteX8" fmla="*/ 9156700 w 9169400"/>
              <a:gd name="connsiteY8" fmla="*/ 0 h 1651000"/>
              <a:gd name="connsiteX9" fmla="*/ 9169400 w 9169400"/>
              <a:gd name="connsiteY9" fmla="*/ 1651000 h 1651000"/>
              <a:gd name="connsiteX10" fmla="*/ 0 w 9169400"/>
              <a:gd name="connsiteY10" fmla="*/ 1651000 h 1651000"/>
              <a:gd name="connsiteX11" fmla="*/ 12700 w 9169400"/>
              <a:gd name="connsiteY11" fmla="*/ 571500 h 1651000"/>
              <a:gd name="connsiteX0" fmla="*/ 12700 w 9169400"/>
              <a:gd name="connsiteY0" fmla="*/ 571500 h 1651000"/>
              <a:gd name="connsiteX1" fmla="*/ 863600 w 9169400"/>
              <a:gd name="connsiteY1" fmla="*/ 342900 h 1651000"/>
              <a:gd name="connsiteX2" fmla="*/ 1701800 w 9169400"/>
              <a:gd name="connsiteY2" fmla="*/ 228600 h 1651000"/>
              <a:gd name="connsiteX3" fmla="*/ 2794000 w 9169400"/>
              <a:gd name="connsiteY3" fmla="*/ 355600 h 1651000"/>
              <a:gd name="connsiteX4" fmla="*/ 3873500 w 9169400"/>
              <a:gd name="connsiteY4" fmla="*/ 469900 h 1651000"/>
              <a:gd name="connsiteX5" fmla="*/ 5067300 w 9169400"/>
              <a:gd name="connsiteY5" fmla="*/ 622300 h 1651000"/>
              <a:gd name="connsiteX6" fmla="*/ 6197600 w 9169400"/>
              <a:gd name="connsiteY6" fmla="*/ 482600 h 1651000"/>
              <a:gd name="connsiteX7" fmla="*/ 7785100 w 9169400"/>
              <a:gd name="connsiteY7" fmla="*/ 63500 h 1651000"/>
              <a:gd name="connsiteX8" fmla="*/ 9156700 w 9169400"/>
              <a:gd name="connsiteY8" fmla="*/ 0 h 1651000"/>
              <a:gd name="connsiteX9" fmla="*/ 9169400 w 9169400"/>
              <a:gd name="connsiteY9" fmla="*/ 1651000 h 1651000"/>
              <a:gd name="connsiteX10" fmla="*/ 0 w 9169400"/>
              <a:gd name="connsiteY10" fmla="*/ 1651000 h 1651000"/>
              <a:gd name="connsiteX11" fmla="*/ 12700 w 9169400"/>
              <a:gd name="connsiteY11" fmla="*/ 571500 h 1651000"/>
              <a:gd name="connsiteX0" fmla="*/ 12700 w 9169400"/>
              <a:gd name="connsiteY0" fmla="*/ 571500 h 1651000"/>
              <a:gd name="connsiteX1" fmla="*/ 863600 w 9169400"/>
              <a:gd name="connsiteY1" fmla="*/ 342900 h 1651000"/>
              <a:gd name="connsiteX2" fmla="*/ 1701800 w 9169400"/>
              <a:gd name="connsiteY2" fmla="*/ 228600 h 1651000"/>
              <a:gd name="connsiteX3" fmla="*/ 2794000 w 9169400"/>
              <a:gd name="connsiteY3" fmla="*/ 355600 h 1651000"/>
              <a:gd name="connsiteX4" fmla="*/ 3873500 w 9169400"/>
              <a:gd name="connsiteY4" fmla="*/ 469900 h 1651000"/>
              <a:gd name="connsiteX5" fmla="*/ 5067300 w 9169400"/>
              <a:gd name="connsiteY5" fmla="*/ 622300 h 1651000"/>
              <a:gd name="connsiteX6" fmla="*/ 6197600 w 9169400"/>
              <a:gd name="connsiteY6" fmla="*/ 482600 h 1651000"/>
              <a:gd name="connsiteX7" fmla="*/ 7785100 w 9169400"/>
              <a:gd name="connsiteY7" fmla="*/ 63500 h 1651000"/>
              <a:gd name="connsiteX8" fmla="*/ 9156700 w 9169400"/>
              <a:gd name="connsiteY8" fmla="*/ 0 h 1651000"/>
              <a:gd name="connsiteX9" fmla="*/ 9169400 w 9169400"/>
              <a:gd name="connsiteY9" fmla="*/ 1651000 h 1651000"/>
              <a:gd name="connsiteX10" fmla="*/ 0 w 9169400"/>
              <a:gd name="connsiteY10" fmla="*/ 1651000 h 1651000"/>
              <a:gd name="connsiteX11" fmla="*/ 12700 w 9169400"/>
              <a:gd name="connsiteY11" fmla="*/ 571500 h 1651000"/>
              <a:gd name="connsiteX0" fmla="*/ 12700 w 9169400"/>
              <a:gd name="connsiteY0" fmla="*/ 571500 h 1651000"/>
              <a:gd name="connsiteX1" fmla="*/ 863600 w 9169400"/>
              <a:gd name="connsiteY1" fmla="*/ 342900 h 1651000"/>
              <a:gd name="connsiteX2" fmla="*/ 1701800 w 9169400"/>
              <a:gd name="connsiteY2" fmla="*/ 228600 h 1651000"/>
              <a:gd name="connsiteX3" fmla="*/ 2794000 w 9169400"/>
              <a:gd name="connsiteY3" fmla="*/ 355600 h 1651000"/>
              <a:gd name="connsiteX4" fmla="*/ 3873500 w 9169400"/>
              <a:gd name="connsiteY4" fmla="*/ 469900 h 1651000"/>
              <a:gd name="connsiteX5" fmla="*/ 5067300 w 9169400"/>
              <a:gd name="connsiteY5" fmla="*/ 622300 h 1651000"/>
              <a:gd name="connsiteX6" fmla="*/ 6197600 w 9169400"/>
              <a:gd name="connsiteY6" fmla="*/ 482600 h 1651000"/>
              <a:gd name="connsiteX7" fmla="*/ 7785100 w 9169400"/>
              <a:gd name="connsiteY7" fmla="*/ 63500 h 1651000"/>
              <a:gd name="connsiteX8" fmla="*/ 9156700 w 9169400"/>
              <a:gd name="connsiteY8" fmla="*/ 0 h 1651000"/>
              <a:gd name="connsiteX9" fmla="*/ 9169400 w 9169400"/>
              <a:gd name="connsiteY9" fmla="*/ 1651000 h 1651000"/>
              <a:gd name="connsiteX10" fmla="*/ 0 w 9169400"/>
              <a:gd name="connsiteY10" fmla="*/ 1651000 h 1651000"/>
              <a:gd name="connsiteX11" fmla="*/ 12700 w 9169400"/>
              <a:gd name="connsiteY11" fmla="*/ 571500 h 1651000"/>
              <a:gd name="connsiteX0" fmla="*/ 12700 w 9169400"/>
              <a:gd name="connsiteY0" fmla="*/ 571500 h 1651000"/>
              <a:gd name="connsiteX1" fmla="*/ 863600 w 9169400"/>
              <a:gd name="connsiteY1" fmla="*/ 342900 h 1651000"/>
              <a:gd name="connsiteX2" fmla="*/ 1879600 w 9169400"/>
              <a:gd name="connsiteY2" fmla="*/ 215900 h 1651000"/>
              <a:gd name="connsiteX3" fmla="*/ 2794000 w 9169400"/>
              <a:gd name="connsiteY3" fmla="*/ 355600 h 1651000"/>
              <a:gd name="connsiteX4" fmla="*/ 3873500 w 9169400"/>
              <a:gd name="connsiteY4" fmla="*/ 469900 h 1651000"/>
              <a:gd name="connsiteX5" fmla="*/ 5067300 w 9169400"/>
              <a:gd name="connsiteY5" fmla="*/ 622300 h 1651000"/>
              <a:gd name="connsiteX6" fmla="*/ 6197600 w 9169400"/>
              <a:gd name="connsiteY6" fmla="*/ 482600 h 1651000"/>
              <a:gd name="connsiteX7" fmla="*/ 7785100 w 9169400"/>
              <a:gd name="connsiteY7" fmla="*/ 63500 h 1651000"/>
              <a:gd name="connsiteX8" fmla="*/ 9156700 w 9169400"/>
              <a:gd name="connsiteY8" fmla="*/ 0 h 1651000"/>
              <a:gd name="connsiteX9" fmla="*/ 9169400 w 9169400"/>
              <a:gd name="connsiteY9" fmla="*/ 1651000 h 1651000"/>
              <a:gd name="connsiteX10" fmla="*/ 0 w 9169400"/>
              <a:gd name="connsiteY10" fmla="*/ 1651000 h 1651000"/>
              <a:gd name="connsiteX11" fmla="*/ 12700 w 9169400"/>
              <a:gd name="connsiteY11" fmla="*/ 571500 h 1651000"/>
              <a:gd name="connsiteX0" fmla="*/ 12700 w 9169400"/>
              <a:gd name="connsiteY0" fmla="*/ 571500 h 1651000"/>
              <a:gd name="connsiteX1" fmla="*/ 863600 w 9169400"/>
              <a:gd name="connsiteY1" fmla="*/ 342900 h 1651000"/>
              <a:gd name="connsiteX2" fmla="*/ 2794000 w 9169400"/>
              <a:gd name="connsiteY2" fmla="*/ 355600 h 1651000"/>
              <a:gd name="connsiteX3" fmla="*/ 3873500 w 9169400"/>
              <a:gd name="connsiteY3" fmla="*/ 469900 h 1651000"/>
              <a:gd name="connsiteX4" fmla="*/ 5067300 w 9169400"/>
              <a:gd name="connsiteY4" fmla="*/ 622300 h 1651000"/>
              <a:gd name="connsiteX5" fmla="*/ 6197600 w 9169400"/>
              <a:gd name="connsiteY5" fmla="*/ 482600 h 1651000"/>
              <a:gd name="connsiteX6" fmla="*/ 7785100 w 9169400"/>
              <a:gd name="connsiteY6" fmla="*/ 63500 h 1651000"/>
              <a:gd name="connsiteX7" fmla="*/ 9156700 w 9169400"/>
              <a:gd name="connsiteY7" fmla="*/ 0 h 1651000"/>
              <a:gd name="connsiteX8" fmla="*/ 9169400 w 9169400"/>
              <a:gd name="connsiteY8" fmla="*/ 1651000 h 1651000"/>
              <a:gd name="connsiteX9" fmla="*/ 0 w 9169400"/>
              <a:gd name="connsiteY9" fmla="*/ 1651000 h 1651000"/>
              <a:gd name="connsiteX10" fmla="*/ 12700 w 9169400"/>
              <a:gd name="connsiteY10" fmla="*/ 571500 h 1651000"/>
              <a:gd name="connsiteX0" fmla="*/ 12700 w 9169400"/>
              <a:gd name="connsiteY0" fmla="*/ 571500 h 1651000"/>
              <a:gd name="connsiteX1" fmla="*/ 863600 w 9169400"/>
              <a:gd name="connsiteY1" fmla="*/ 342900 h 1651000"/>
              <a:gd name="connsiteX2" fmla="*/ 2565400 w 9169400"/>
              <a:gd name="connsiteY2" fmla="*/ 317500 h 1651000"/>
              <a:gd name="connsiteX3" fmla="*/ 3873500 w 9169400"/>
              <a:gd name="connsiteY3" fmla="*/ 469900 h 1651000"/>
              <a:gd name="connsiteX4" fmla="*/ 5067300 w 9169400"/>
              <a:gd name="connsiteY4" fmla="*/ 622300 h 1651000"/>
              <a:gd name="connsiteX5" fmla="*/ 6197600 w 9169400"/>
              <a:gd name="connsiteY5" fmla="*/ 482600 h 1651000"/>
              <a:gd name="connsiteX6" fmla="*/ 7785100 w 9169400"/>
              <a:gd name="connsiteY6" fmla="*/ 63500 h 1651000"/>
              <a:gd name="connsiteX7" fmla="*/ 9156700 w 9169400"/>
              <a:gd name="connsiteY7" fmla="*/ 0 h 1651000"/>
              <a:gd name="connsiteX8" fmla="*/ 9169400 w 9169400"/>
              <a:gd name="connsiteY8" fmla="*/ 1651000 h 1651000"/>
              <a:gd name="connsiteX9" fmla="*/ 0 w 9169400"/>
              <a:gd name="connsiteY9" fmla="*/ 1651000 h 1651000"/>
              <a:gd name="connsiteX10" fmla="*/ 12700 w 9169400"/>
              <a:gd name="connsiteY10" fmla="*/ 571500 h 1651000"/>
              <a:gd name="connsiteX0" fmla="*/ 12700 w 9169400"/>
              <a:gd name="connsiteY0" fmla="*/ 571500 h 1651000"/>
              <a:gd name="connsiteX1" fmla="*/ 863600 w 9169400"/>
              <a:gd name="connsiteY1" fmla="*/ 342900 h 1651000"/>
              <a:gd name="connsiteX2" fmla="*/ 2565400 w 9169400"/>
              <a:gd name="connsiteY2" fmla="*/ 317500 h 1651000"/>
              <a:gd name="connsiteX3" fmla="*/ 3873500 w 9169400"/>
              <a:gd name="connsiteY3" fmla="*/ 469900 h 1651000"/>
              <a:gd name="connsiteX4" fmla="*/ 5067300 w 9169400"/>
              <a:gd name="connsiteY4" fmla="*/ 622300 h 1651000"/>
              <a:gd name="connsiteX5" fmla="*/ 6197600 w 9169400"/>
              <a:gd name="connsiteY5" fmla="*/ 482600 h 1651000"/>
              <a:gd name="connsiteX6" fmla="*/ 7785100 w 9169400"/>
              <a:gd name="connsiteY6" fmla="*/ 63500 h 1651000"/>
              <a:gd name="connsiteX7" fmla="*/ 9156700 w 9169400"/>
              <a:gd name="connsiteY7" fmla="*/ 0 h 1651000"/>
              <a:gd name="connsiteX8" fmla="*/ 9169400 w 9169400"/>
              <a:gd name="connsiteY8" fmla="*/ 1651000 h 1651000"/>
              <a:gd name="connsiteX9" fmla="*/ 0 w 9169400"/>
              <a:gd name="connsiteY9" fmla="*/ 1651000 h 1651000"/>
              <a:gd name="connsiteX10" fmla="*/ 12700 w 9169400"/>
              <a:gd name="connsiteY10" fmla="*/ 571500 h 1651000"/>
              <a:gd name="connsiteX0" fmla="*/ 12700 w 9169400"/>
              <a:gd name="connsiteY0" fmla="*/ 571500 h 1651000"/>
              <a:gd name="connsiteX1" fmla="*/ 1143000 w 9169400"/>
              <a:gd name="connsiteY1" fmla="*/ 431800 h 1651000"/>
              <a:gd name="connsiteX2" fmla="*/ 2565400 w 9169400"/>
              <a:gd name="connsiteY2" fmla="*/ 317500 h 1651000"/>
              <a:gd name="connsiteX3" fmla="*/ 3873500 w 9169400"/>
              <a:gd name="connsiteY3" fmla="*/ 469900 h 1651000"/>
              <a:gd name="connsiteX4" fmla="*/ 5067300 w 9169400"/>
              <a:gd name="connsiteY4" fmla="*/ 622300 h 1651000"/>
              <a:gd name="connsiteX5" fmla="*/ 6197600 w 9169400"/>
              <a:gd name="connsiteY5" fmla="*/ 482600 h 1651000"/>
              <a:gd name="connsiteX6" fmla="*/ 7785100 w 9169400"/>
              <a:gd name="connsiteY6" fmla="*/ 63500 h 1651000"/>
              <a:gd name="connsiteX7" fmla="*/ 9156700 w 9169400"/>
              <a:gd name="connsiteY7" fmla="*/ 0 h 1651000"/>
              <a:gd name="connsiteX8" fmla="*/ 9169400 w 9169400"/>
              <a:gd name="connsiteY8" fmla="*/ 1651000 h 1651000"/>
              <a:gd name="connsiteX9" fmla="*/ 0 w 9169400"/>
              <a:gd name="connsiteY9" fmla="*/ 1651000 h 1651000"/>
              <a:gd name="connsiteX10" fmla="*/ 12700 w 9169400"/>
              <a:gd name="connsiteY10" fmla="*/ 571500 h 1651000"/>
              <a:gd name="connsiteX0" fmla="*/ 12700 w 9169400"/>
              <a:gd name="connsiteY0" fmla="*/ 571500 h 1651000"/>
              <a:gd name="connsiteX1" fmla="*/ 1143000 w 9169400"/>
              <a:gd name="connsiteY1" fmla="*/ 431800 h 1651000"/>
              <a:gd name="connsiteX2" fmla="*/ 2565400 w 9169400"/>
              <a:gd name="connsiteY2" fmla="*/ 317500 h 1651000"/>
              <a:gd name="connsiteX3" fmla="*/ 3873500 w 9169400"/>
              <a:gd name="connsiteY3" fmla="*/ 469900 h 1651000"/>
              <a:gd name="connsiteX4" fmla="*/ 5067300 w 9169400"/>
              <a:gd name="connsiteY4" fmla="*/ 622300 h 1651000"/>
              <a:gd name="connsiteX5" fmla="*/ 6197600 w 9169400"/>
              <a:gd name="connsiteY5" fmla="*/ 482600 h 1651000"/>
              <a:gd name="connsiteX6" fmla="*/ 7785100 w 9169400"/>
              <a:gd name="connsiteY6" fmla="*/ 63500 h 1651000"/>
              <a:gd name="connsiteX7" fmla="*/ 9156700 w 9169400"/>
              <a:gd name="connsiteY7" fmla="*/ 0 h 1651000"/>
              <a:gd name="connsiteX8" fmla="*/ 9169400 w 9169400"/>
              <a:gd name="connsiteY8" fmla="*/ 1651000 h 1651000"/>
              <a:gd name="connsiteX9" fmla="*/ 0 w 9169400"/>
              <a:gd name="connsiteY9" fmla="*/ 1651000 h 1651000"/>
              <a:gd name="connsiteX10" fmla="*/ 12700 w 9169400"/>
              <a:gd name="connsiteY10" fmla="*/ 571500 h 1651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169400" h="1651000">
                <a:moveTo>
                  <a:pt x="12700" y="571500"/>
                </a:moveTo>
                <a:cubicBezTo>
                  <a:pt x="662517" y="469900"/>
                  <a:pt x="717550" y="474133"/>
                  <a:pt x="1143000" y="431800"/>
                </a:cubicBezTo>
                <a:cubicBezTo>
                  <a:pt x="1568450" y="389467"/>
                  <a:pt x="2110317" y="311150"/>
                  <a:pt x="2565400" y="317500"/>
                </a:cubicBezTo>
                <a:cubicBezTo>
                  <a:pt x="3020483" y="323850"/>
                  <a:pt x="3456517" y="419100"/>
                  <a:pt x="3873500" y="469900"/>
                </a:cubicBezTo>
                <a:cubicBezTo>
                  <a:pt x="4290483" y="520700"/>
                  <a:pt x="4679950" y="620183"/>
                  <a:pt x="5067300" y="622300"/>
                </a:cubicBezTo>
                <a:cubicBezTo>
                  <a:pt x="5454650" y="624417"/>
                  <a:pt x="5744633" y="575733"/>
                  <a:pt x="6197600" y="482600"/>
                </a:cubicBezTo>
                <a:cubicBezTo>
                  <a:pt x="6650567" y="389467"/>
                  <a:pt x="7253817" y="131233"/>
                  <a:pt x="7785100" y="63500"/>
                </a:cubicBezTo>
                <a:cubicBezTo>
                  <a:pt x="8316383" y="-4233"/>
                  <a:pt x="8453967" y="21167"/>
                  <a:pt x="9156700" y="0"/>
                </a:cubicBezTo>
                <a:cubicBezTo>
                  <a:pt x="9160933" y="550333"/>
                  <a:pt x="9165167" y="1100667"/>
                  <a:pt x="9169400" y="1651000"/>
                </a:cubicBezTo>
                <a:lnTo>
                  <a:pt x="0" y="1651000"/>
                </a:lnTo>
                <a:lnTo>
                  <a:pt x="12700" y="571500"/>
                </a:lnTo>
                <a:close/>
              </a:path>
            </a:pathLst>
          </a:cu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Freeform 15"/>
          <p:cNvSpPr/>
          <p:nvPr/>
        </p:nvSpPr>
        <p:spPr>
          <a:xfrm>
            <a:off x="2010334" y="3867150"/>
            <a:ext cx="4998269" cy="625358"/>
          </a:xfrm>
          <a:custGeom>
            <a:avLst/>
            <a:gdLst>
              <a:gd name="connsiteX0" fmla="*/ 0 w 3248025"/>
              <a:gd name="connsiteY0" fmla="*/ 0 h 257175"/>
              <a:gd name="connsiteX1" fmla="*/ 3248025 w 3248025"/>
              <a:gd name="connsiteY1" fmla="*/ 0 h 257175"/>
              <a:gd name="connsiteX2" fmla="*/ 2266950 w 3248025"/>
              <a:gd name="connsiteY2" fmla="*/ 152400 h 257175"/>
              <a:gd name="connsiteX3" fmla="*/ 1581150 w 3248025"/>
              <a:gd name="connsiteY3" fmla="*/ 257175 h 257175"/>
              <a:gd name="connsiteX4" fmla="*/ 1019175 w 3248025"/>
              <a:gd name="connsiteY4" fmla="*/ 228600 h 257175"/>
              <a:gd name="connsiteX5" fmla="*/ 295275 w 3248025"/>
              <a:gd name="connsiteY5" fmla="*/ 95250 h 257175"/>
              <a:gd name="connsiteX6" fmla="*/ 0 w 3248025"/>
              <a:gd name="connsiteY6" fmla="*/ 0 h 257175"/>
              <a:gd name="connsiteX0" fmla="*/ 0 w 3248025"/>
              <a:gd name="connsiteY0" fmla="*/ 0 h 257175"/>
              <a:gd name="connsiteX1" fmla="*/ 3248025 w 3248025"/>
              <a:gd name="connsiteY1" fmla="*/ 0 h 257175"/>
              <a:gd name="connsiteX2" fmla="*/ 2777506 w 3248025"/>
              <a:gd name="connsiteY2" fmla="*/ 138499 h 257175"/>
              <a:gd name="connsiteX3" fmla="*/ 1581150 w 3248025"/>
              <a:gd name="connsiteY3" fmla="*/ 257175 h 257175"/>
              <a:gd name="connsiteX4" fmla="*/ 1019175 w 3248025"/>
              <a:gd name="connsiteY4" fmla="*/ 228600 h 257175"/>
              <a:gd name="connsiteX5" fmla="*/ 295275 w 3248025"/>
              <a:gd name="connsiteY5" fmla="*/ 95250 h 257175"/>
              <a:gd name="connsiteX6" fmla="*/ 0 w 3248025"/>
              <a:gd name="connsiteY6" fmla="*/ 0 h 257175"/>
              <a:gd name="connsiteX0" fmla="*/ 0 w 3248025"/>
              <a:gd name="connsiteY0" fmla="*/ 0 h 257175"/>
              <a:gd name="connsiteX1" fmla="*/ 3248025 w 3248025"/>
              <a:gd name="connsiteY1" fmla="*/ 0 h 257175"/>
              <a:gd name="connsiteX2" fmla="*/ 3081304 w 3248025"/>
              <a:gd name="connsiteY2" fmla="*/ 52139 h 257175"/>
              <a:gd name="connsiteX3" fmla="*/ 2777506 w 3248025"/>
              <a:gd name="connsiteY3" fmla="*/ 138499 h 257175"/>
              <a:gd name="connsiteX4" fmla="*/ 1581150 w 3248025"/>
              <a:gd name="connsiteY4" fmla="*/ 257175 h 257175"/>
              <a:gd name="connsiteX5" fmla="*/ 1019175 w 3248025"/>
              <a:gd name="connsiteY5" fmla="*/ 228600 h 257175"/>
              <a:gd name="connsiteX6" fmla="*/ 295275 w 3248025"/>
              <a:gd name="connsiteY6" fmla="*/ 95250 h 257175"/>
              <a:gd name="connsiteX7" fmla="*/ 0 w 3248025"/>
              <a:gd name="connsiteY7" fmla="*/ 0 h 257175"/>
              <a:gd name="connsiteX0" fmla="*/ 0 w 3248025"/>
              <a:gd name="connsiteY0" fmla="*/ 0 h 257175"/>
              <a:gd name="connsiteX1" fmla="*/ 3248025 w 3248025"/>
              <a:gd name="connsiteY1" fmla="*/ 0 h 257175"/>
              <a:gd name="connsiteX2" fmla="*/ 3116115 w 3248025"/>
              <a:gd name="connsiteY2" fmla="*/ 83416 h 257175"/>
              <a:gd name="connsiteX3" fmla="*/ 2777506 w 3248025"/>
              <a:gd name="connsiteY3" fmla="*/ 138499 h 257175"/>
              <a:gd name="connsiteX4" fmla="*/ 1581150 w 3248025"/>
              <a:gd name="connsiteY4" fmla="*/ 257175 h 257175"/>
              <a:gd name="connsiteX5" fmla="*/ 1019175 w 3248025"/>
              <a:gd name="connsiteY5" fmla="*/ 228600 h 257175"/>
              <a:gd name="connsiteX6" fmla="*/ 295275 w 3248025"/>
              <a:gd name="connsiteY6" fmla="*/ 95250 h 257175"/>
              <a:gd name="connsiteX7" fmla="*/ 0 w 3248025"/>
              <a:gd name="connsiteY7" fmla="*/ 0 h 257175"/>
              <a:gd name="connsiteX0" fmla="*/ 186636 w 3434661"/>
              <a:gd name="connsiteY0" fmla="*/ 0 h 257175"/>
              <a:gd name="connsiteX1" fmla="*/ 3434661 w 3434661"/>
              <a:gd name="connsiteY1" fmla="*/ 0 h 257175"/>
              <a:gd name="connsiteX2" fmla="*/ 3302751 w 3434661"/>
              <a:gd name="connsiteY2" fmla="*/ 83416 h 257175"/>
              <a:gd name="connsiteX3" fmla="*/ 2964142 w 3434661"/>
              <a:gd name="connsiteY3" fmla="*/ 138499 h 257175"/>
              <a:gd name="connsiteX4" fmla="*/ 1767786 w 3434661"/>
              <a:gd name="connsiteY4" fmla="*/ 257175 h 257175"/>
              <a:gd name="connsiteX5" fmla="*/ 1205811 w 3434661"/>
              <a:gd name="connsiteY5" fmla="*/ 228600 h 257175"/>
              <a:gd name="connsiteX6" fmla="*/ 481911 w 3434661"/>
              <a:gd name="connsiteY6" fmla="*/ 95250 h 257175"/>
              <a:gd name="connsiteX7" fmla="*/ 186636 w 3434661"/>
              <a:gd name="connsiteY7" fmla="*/ 0 h 257175"/>
              <a:gd name="connsiteX0" fmla="*/ 186636 w 3434661"/>
              <a:gd name="connsiteY0" fmla="*/ 0 h 257175"/>
              <a:gd name="connsiteX1" fmla="*/ 3434661 w 3434661"/>
              <a:gd name="connsiteY1" fmla="*/ 0 h 257175"/>
              <a:gd name="connsiteX2" fmla="*/ 3302751 w 3434661"/>
              <a:gd name="connsiteY2" fmla="*/ 83416 h 257175"/>
              <a:gd name="connsiteX3" fmla="*/ 2964142 w 3434661"/>
              <a:gd name="connsiteY3" fmla="*/ 138499 h 257175"/>
              <a:gd name="connsiteX4" fmla="*/ 1767786 w 3434661"/>
              <a:gd name="connsiteY4" fmla="*/ 257175 h 257175"/>
              <a:gd name="connsiteX5" fmla="*/ 1205811 w 3434661"/>
              <a:gd name="connsiteY5" fmla="*/ 228600 h 257175"/>
              <a:gd name="connsiteX6" fmla="*/ 481911 w 3434661"/>
              <a:gd name="connsiteY6" fmla="*/ 95250 h 257175"/>
              <a:gd name="connsiteX7" fmla="*/ 186636 w 3434661"/>
              <a:gd name="connsiteY7" fmla="*/ 0 h 257175"/>
              <a:gd name="connsiteX0" fmla="*/ 186636 w 3434661"/>
              <a:gd name="connsiteY0" fmla="*/ 0 h 257816"/>
              <a:gd name="connsiteX1" fmla="*/ 3434661 w 3434661"/>
              <a:gd name="connsiteY1" fmla="*/ 0 h 257816"/>
              <a:gd name="connsiteX2" fmla="*/ 3302751 w 3434661"/>
              <a:gd name="connsiteY2" fmla="*/ 83416 h 257816"/>
              <a:gd name="connsiteX3" fmla="*/ 2964142 w 3434661"/>
              <a:gd name="connsiteY3" fmla="*/ 138499 h 257816"/>
              <a:gd name="connsiteX4" fmla="*/ 1767786 w 3434661"/>
              <a:gd name="connsiteY4" fmla="*/ 257175 h 257816"/>
              <a:gd name="connsiteX5" fmla="*/ 1205811 w 3434661"/>
              <a:gd name="connsiteY5" fmla="*/ 228600 h 257816"/>
              <a:gd name="connsiteX6" fmla="*/ 481911 w 3434661"/>
              <a:gd name="connsiteY6" fmla="*/ 95250 h 257816"/>
              <a:gd name="connsiteX7" fmla="*/ 186636 w 3434661"/>
              <a:gd name="connsiteY7" fmla="*/ 0 h 257816"/>
              <a:gd name="connsiteX0" fmla="*/ 186636 w 3434661"/>
              <a:gd name="connsiteY0" fmla="*/ 0 h 257816"/>
              <a:gd name="connsiteX1" fmla="*/ 3434661 w 3434661"/>
              <a:gd name="connsiteY1" fmla="*/ 0 h 257816"/>
              <a:gd name="connsiteX2" fmla="*/ 3302751 w 3434661"/>
              <a:gd name="connsiteY2" fmla="*/ 83416 h 257816"/>
              <a:gd name="connsiteX3" fmla="*/ 2964142 w 3434661"/>
              <a:gd name="connsiteY3" fmla="*/ 138499 h 257816"/>
              <a:gd name="connsiteX4" fmla="*/ 1767786 w 3434661"/>
              <a:gd name="connsiteY4" fmla="*/ 257175 h 257816"/>
              <a:gd name="connsiteX5" fmla="*/ 1205811 w 3434661"/>
              <a:gd name="connsiteY5" fmla="*/ 228600 h 257816"/>
              <a:gd name="connsiteX6" fmla="*/ 481911 w 3434661"/>
              <a:gd name="connsiteY6" fmla="*/ 95250 h 257816"/>
              <a:gd name="connsiteX7" fmla="*/ 186636 w 3434661"/>
              <a:gd name="connsiteY7" fmla="*/ 0 h 257816"/>
              <a:gd name="connsiteX0" fmla="*/ 186636 w 3650081"/>
              <a:gd name="connsiteY0" fmla="*/ 0 h 257816"/>
              <a:gd name="connsiteX1" fmla="*/ 3434661 w 3650081"/>
              <a:gd name="connsiteY1" fmla="*/ 0 h 257816"/>
              <a:gd name="connsiteX2" fmla="*/ 3302751 w 3650081"/>
              <a:gd name="connsiteY2" fmla="*/ 83416 h 257816"/>
              <a:gd name="connsiteX3" fmla="*/ 2964142 w 3650081"/>
              <a:gd name="connsiteY3" fmla="*/ 138499 h 257816"/>
              <a:gd name="connsiteX4" fmla="*/ 1767786 w 3650081"/>
              <a:gd name="connsiteY4" fmla="*/ 257175 h 257816"/>
              <a:gd name="connsiteX5" fmla="*/ 1205811 w 3650081"/>
              <a:gd name="connsiteY5" fmla="*/ 228600 h 257816"/>
              <a:gd name="connsiteX6" fmla="*/ 481911 w 3650081"/>
              <a:gd name="connsiteY6" fmla="*/ 95250 h 257816"/>
              <a:gd name="connsiteX7" fmla="*/ 186636 w 3650081"/>
              <a:gd name="connsiteY7" fmla="*/ 0 h 257816"/>
              <a:gd name="connsiteX0" fmla="*/ 186636 w 3650081"/>
              <a:gd name="connsiteY0" fmla="*/ 0 h 262298"/>
              <a:gd name="connsiteX1" fmla="*/ 3434661 w 3650081"/>
              <a:gd name="connsiteY1" fmla="*/ 0 h 262298"/>
              <a:gd name="connsiteX2" fmla="*/ 3302751 w 3650081"/>
              <a:gd name="connsiteY2" fmla="*/ 83416 h 262298"/>
              <a:gd name="connsiteX3" fmla="*/ 2964142 w 3650081"/>
              <a:gd name="connsiteY3" fmla="*/ 138499 h 262298"/>
              <a:gd name="connsiteX4" fmla="*/ 1897939 w 3650081"/>
              <a:gd name="connsiteY4" fmla="*/ 249903 h 262298"/>
              <a:gd name="connsiteX5" fmla="*/ 1767786 w 3650081"/>
              <a:gd name="connsiteY5" fmla="*/ 257175 h 262298"/>
              <a:gd name="connsiteX6" fmla="*/ 1205811 w 3650081"/>
              <a:gd name="connsiteY6" fmla="*/ 228600 h 262298"/>
              <a:gd name="connsiteX7" fmla="*/ 481911 w 3650081"/>
              <a:gd name="connsiteY7" fmla="*/ 95250 h 262298"/>
              <a:gd name="connsiteX8" fmla="*/ 186636 w 3650081"/>
              <a:gd name="connsiteY8" fmla="*/ 0 h 262298"/>
              <a:gd name="connsiteX0" fmla="*/ 186636 w 3650081"/>
              <a:gd name="connsiteY0" fmla="*/ 0 h 257175"/>
              <a:gd name="connsiteX1" fmla="*/ 3434661 w 3650081"/>
              <a:gd name="connsiteY1" fmla="*/ 0 h 257175"/>
              <a:gd name="connsiteX2" fmla="*/ 3302751 w 3650081"/>
              <a:gd name="connsiteY2" fmla="*/ 83416 h 257175"/>
              <a:gd name="connsiteX3" fmla="*/ 2964142 w 3650081"/>
              <a:gd name="connsiteY3" fmla="*/ 138499 h 257175"/>
              <a:gd name="connsiteX4" fmla="*/ 1767786 w 3650081"/>
              <a:gd name="connsiteY4" fmla="*/ 257175 h 257175"/>
              <a:gd name="connsiteX5" fmla="*/ 1205811 w 3650081"/>
              <a:gd name="connsiteY5" fmla="*/ 228600 h 257175"/>
              <a:gd name="connsiteX6" fmla="*/ 481911 w 3650081"/>
              <a:gd name="connsiteY6" fmla="*/ 95250 h 257175"/>
              <a:gd name="connsiteX7" fmla="*/ 186636 w 3650081"/>
              <a:gd name="connsiteY7" fmla="*/ 0 h 257175"/>
              <a:gd name="connsiteX0" fmla="*/ 186636 w 3650081"/>
              <a:gd name="connsiteY0" fmla="*/ 0 h 248448"/>
              <a:gd name="connsiteX1" fmla="*/ 3434661 w 3650081"/>
              <a:gd name="connsiteY1" fmla="*/ 0 h 248448"/>
              <a:gd name="connsiteX2" fmla="*/ 3302751 w 3650081"/>
              <a:gd name="connsiteY2" fmla="*/ 83416 h 248448"/>
              <a:gd name="connsiteX3" fmla="*/ 2964142 w 3650081"/>
              <a:gd name="connsiteY3" fmla="*/ 138499 h 248448"/>
              <a:gd name="connsiteX4" fmla="*/ 1880114 w 3650081"/>
              <a:gd name="connsiteY4" fmla="*/ 248448 h 248448"/>
              <a:gd name="connsiteX5" fmla="*/ 1205811 w 3650081"/>
              <a:gd name="connsiteY5" fmla="*/ 228600 h 248448"/>
              <a:gd name="connsiteX6" fmla="*/ 481911 w 3650081"/>
              <a:gd name="connsiteY6" fmla="*/ 95250 h 248448"/>
              <a:gd name="connsiteX7" fmla="*/ 186636 w 3650081"/>
              <a:gd name="connsiteY7" fmla="*/ 0 h 248448"/>
              <a:gd name="connsiteX0" fmla="*/ 195235 w 3658680"/>
              <a:gd name="connsiteY0" fmla="*/ 0 h 248448"/>
              <a:gd name="connsiteX1" fmla="*/ 3443260 w 3658680"/>
              <a:gd name="connsiteY1" fmla="*/ 0 h 248448"/>
              <a:gd name="connsiteX2" fmla="*/ 3311350 w 3658680"/>
              <a:gd name="connsiteY2" fmla="*/ 83416 h 248448"/>
              <a:gd name="connsiteX3" fmla="*/ 2972741 w 3658680"/>
              <a:gd name="connsiteY3" fmla="*/ 138499 h 248448"/>
              <a:gd name="connsiteX4" fmla="*/ 1888713 w 3658680"/>
              <a:gd name="connsiteY4" fmla="*/ 248448 h 248448"/>
              <a:gd name="connsiteX5" fmla="*/ 1214410 w 3658680"/>
              <a:gd name="connsiteY5" fmla="*/ 228600 h 248448"/>
              <a:gd name="connsiteX6" fmla="*/ 490510 w 3658680"/>
              <a:gd name="connsiteY6" fmla="*/ 95250 h 248448"/>
              <a:gd name="connsiteX7" fmla="*/ 195235 w 3658680"/>
              <a:gd name="connsiteY7" fmla="*/ 0 h 248448"/>
              <a:gd name="connsiteX0" fmla="*/ 188028 w 3651473"/>
              <a:gd name="connsiteY0" fmla="*/ 0 h 251278"/>
              <a:gd name="connsiteX1" fmla="*/ 3436053 w 3651473"/>
              <a:gd name="connsiteY1" fmla="*/ 0 h 251278"/>
              <a:gd name="connsiteX2" fmla="*/ 3304143 w 3651473"/>
              <a:gd name="connsiteY2" fmla="*/ 83416 h 251278"/>
              <a:gd name="connsiteX3" fmla="*/ 2965534 w 3651473"/>
              <a:gd name="connsiteY3" fmla="*/ 138499 h 251278"/>
              <a:gd name="connsiteX4" fmla="*/ 1881506 w 3651473"/>
              <a:gd name="connsiteY4" fmla="*/ 248448 h 251278"/>
              <a:gd name="connsiteX5" fmla="*/ 1257750 w 3651473"/>
              <a:gd name="connsiteY5" fmla="*/ 208238 h 251278"/>
              <a:gd name="connsiteX6" fmla="*/ 483303 w 3651473"/>
              <a:gd name="connsiteY6" fmla="*/ 95250 h 251278"/>
              <a:gd name="connsiteX7" fmla="*/ 188028 w 3651473"/>
              <a:gd name="connsiteY7" fmla="*/ 0 h 251278"/>
              <a:gd name="connsiteX0" fmla="*/ 188028 w 3651473"/>
              <a:gd name="connsiteY0" fmla="*/ 0 h 230767"/>
              <a:gd name="connsiteX1" fmla="*/ 3436053 w 3651473"/>
              <a:gd name="connsiteY1" fmla="*/ 0 h 230767"/>
              <a:gd name="connsiteX2" fmla="*/ 3304143 w 3651473"/>
              <a:gd name="connsiteY2" fmla="*/ 83416 h 230767"/>
              <a:gd name="connsiteX3" fmla="*/ 2965534 w 3651473"/>
              <a:gd name="connsiteY3" fmla="*/ 138499 h 230767"/>
              <a:gd name="connsiteX4" fmla="*/ 2061230 w 3651473"/>
              <a:gd name="connsiteY4" fmla="*/ 225177 h 230767"/>
              <a:gd name="connsiteX5" fmla="*/ 1257750 w 3651473"/>
              <a:gd name="connsiteY5" fmla="*/ 208238 h 230767"/>
              <a:gd name="connsiteX6" fmla="*/ 483303 w 3651473"/>
              <a:gd name="connsiteY6" fmla="*/ 95250 h 230767"/>
              <a:gd name="connsiteX7" fmla="*/ 188028 w 3651473"/>
              <a:gd name="connsiteY7" fmla="*/ 0 h 230767"/>
              <a:gd name="connsiteX0" fmla="*/ 188028 w 3651473"/>
              <a:gd name="connsiteY0" fmla="*/ 0 h 226893"/>
              <a:gd name="connsiteX1" fmla="*/ 3436053 w 3651473"/>
              <a:gd name="connsiteY1" fmla="*/ 0 h 226893"/>
              <a:gd name="connsiteX2" fmla="*/ 3304143 w 3651473"/>
              <a:gd name="connsiteY2" fmla="*/ 83416 h 226893"/>
              <a:gd name="connsiteX3" fmla="*/ 2965534 w 3651473"/>
              <a:gd name="connsiteY3" fmla="*/ 138499 h 226893"/>
              <a:gd name="connsiteX4" fmla="*/ 2061230 w 3651473"/>
              <a:gd name="connsiteY4" fmla="*/ 225177 h 226893"/>
              <a:gd name="connsiteX5" fmla="*/ 1257750 w 3651473"/>
              <a:gd name="connsiteY5" fmla="*/ 208238 h 226893"/>
              <a:gd name="connsiteX6" fmla="*/ 483303 w 3651473"/>
              <a:gd name="connsiteY6" fmla="*/ 95250 h 226893"/>
              <a:gd name="connsiteX7" fmla="*/ 188028 w 3651473"/>
              <a:gd name="connsiteY7" fmla="*/ 0 h 226893"/>
              <a:gd name="connsiteX0" fmla="*/ 188028 w 3684020"/>
              <a:gd name="connsiteY0" fmla="*/ 0 h 226893"/>
              <a:gd name="connsiteX1" fmla="*/ 3436053 w 3684020"/>
              <a:gd name="connsiteY1" fmla="*/ 0 h 226893"/>
              <a:gd name="connsiteX2" fmla="*/ 3304143 w 3684020"/>
              <a:gd name="connsiteY2" fmla="*/ 83416 h 226893"/>
              <a:gd name="connsiteX3" fmla="*/ 2061230 w 3684020"/>
              <a:gd name="connsiteY3" fmla="*/ 225177 h 226893"/>
              <a:gd name="connsiteX4" fmla="*/ 1257750 w 3684020"/>
              <a:gd name="connsiteY4" fmla="*/ 208238 h 226893"/>
              <a:gd name="connsiteX5" fmla="*/ 483303 w 3684020"/>
              <a:gd name="connsiteY5" fmla="*/ 95250 h 226893"/>
              <a:gd name="connsiteX6" fmla="*/ 188028 w 3684020"/>
              <a:gd name="connsiteY6" fmla="*/ 0 h 226893"/>
              <a:gd name="connsiteX0" fmla="*/ 188028 w 3684020"/>
              <a:gd name="connsiteY0" fmla="*/ 0 h 238723"/>
              <a:gd name="connsiteX1" fmla="*/ 3436053 w 3684020"/>
              <a:gd name="connsiteY1" fmla="*/ 0 h 238723"/>
              <a:gd name="connsiteX2" fmla="*/ 3304143 w 3684020"/>
              <a:gd name="connsiteY2" fmla="*/ 83416 h 238723"/>
              <a:gd name="connsiteX3" fmla="*/ 2061230 w 3684020"/>
              <a:gd name="connsiteY3" fmla="*/ 225177 h 238723"/>
              <a:gd name="connsiteX4" fmla="*/ 1257750 w 3684020"/>
              <a:gd name="connsiteY4" fmla="*/ 208238 h 238723"/>
              <a:gd name="connsiteX5" fmla="*/ 483303 w 3684020"/>
              <a:gd name="connsiteY5" fmla="*/ 95250 h 238723"/>
              <a:gd name="connsiteX6" fmla="*/ 188028 w 3684020"/>
              <a:gd name="connsiteY6" fmla="*/ 0 h 2387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684020" h="238723">
                <a:moveTo>
                  <a:pt x="188028" y="0"/>
                </a:moveTo>
                <a:lnTo>
                  <a:pt x="3436053" y="0"/>
                </a:lnTo>
                <a:cubicBezTo>
                  <a:pt x="3955405" y="13903"/>
                  <a:pt x="3533280" y="45886"/>
                  <a:pt x="3304143" y="83416"/>
                </a:cubicBezTo>
                <a:cubicBezTo>
                  <a:pt x="3075006" y="120946"/>
                  <a:pt x="2464077" y="195647"/>
                  <a:pt x="2061230" y="225177"/>
                </a:cubicBezTo>
                <a:cubicBezTo>
                  <a:pt x="1658383" y="254707"/>
                  <a:pt x="1520738" y="229892"/>
                  <a:pt x="1257750" y="208238"/>
                </a:cubicBezTo>
                <a:cubicBezTo>
                  <a:pt x="994762" y="186584"/>
                  <a:pt x="661590" y="129956"/>
                  <a:pt x="483303" y="95250"/>
                </a:cubicBezTo>
                <a:cubicBezTo>
                  <a:pt x="305016" y="60544"/>
                  <a:pt x="-304097" y="15875"/>
                  <a:pt x="188028" y="0"/>
                </a:cubicBezTo>
                <a:close/>
              </a:path>
            </a:pathLst>
          </a:cu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9" name="Sun 8"/>
          <p:cNvSpPr/>
          <p:nvPr/>
        </p:nvSpPr>
        <p:spPr>
          <a:xfrm>
            <a:off x="6400800" y="133350"/>
            <a:ext cx="1219200" cy="1219200"/>
          </a:xfrm>
          <a:prstGeom prst="sun">
            <a:avLst>
              <a:gd name="adj" fmla="val 32500"/>
            </a:avLst>
          </a:prstGeom>
          <a:solidFill>
            <a:srgbClr val="FFFF0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0" name="Cloud 9"/>
          <p:cNvSpPr/>
          <p:nvPr/>
        </p:nvSpPr>
        <p:spPr>
          <a:xfrm>
            <a:off x="5410200" y="742950"/>
            <a:ext cx="1447800" cy="914400"/>
          </a:xfrm>
          <a:prstGeom prst="cloud">
            <a:avLst/>
          </a:prstGeom>
          <a:solidFill>
            <a:schemeClr val="bg1"/>
          </a:solidFill>
          <a:ln>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Flowchart: Manual Input 16"/>
          <p:cNvSpPr/>
          <p:nvPr/>
        </p:nvSpPr>
        <p:spPr>
          <a:xfrm flipH="1">
            <a:off x="1447800" y="2495550"/>
            <a:ext cx="1088378" cy="1981200"/>
          </a:xfrm>
          <a:prstGeom prst="flowChartManualInput">
            <a:avLst/>
          </a:prstGeom>
          <a:solidFill>
            <a:schemeClr val="bg1"/>
          </a:solidFill>
          <a:ln>
            <a:noFill/>
          </a:ln>
          <a:effectLst>
            <a:outerShdw blurRad="50800" dist="38100" dir="13500000" algn="b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23" name="Flowchart: Manual Input 22"/>
          <p:cNvSpPr/>
          <p:nvPr/>
        </p:nvSpPr>
        <p:spPr>
          <a:xfrm flipH="1">
            <a:off x="2059602" y="2876550"/>
            <a:ext cx="301480" cy="1524000"/>
          </a:xfrm>
          <a:prstGeom prst="flowChartManualInput">
            <a:avLst/>
          </a:prstGeom>
          <a:solidFill>
            <a:schemeClr val="bg1"/>
          </a:solidFill>
          <a:ln>
            <a:noFill/>
          </a:ln>
          <a:effectLst>
            <a:outerShdw blurRad="50800" dist="38100" algn="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22" name="Flowchart: Manual Input 21"/>
          <p:cNvSpPr/>
          <p:nvPr/>
        </p:nvSpPr>
        <p:spPr>
          <a:xfrm flipH="1">
            <a:off x="1869661" y="2876550"/>
            <a:ext cx="301480" cy="1524000"/>
          </a:xfrm>
          <a:prstGeom prst="flowChartManualInput">
            <a:avLst/>
          </a:prstGeom>
          <a:solidFill>
            <a:schemeClr val="bg1"/>
          </a:solidFill>
          <a:ln>
            <a:noFill/>
          </a:ln>
          <a:effectLst>
            <a:outerShdw blurRad="50800" dist="38100" algn="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2" name="Double Wave 11"/>
          <p:cNvSpPr/>
          <p:nvPr/>
        </p:nvSpPr>
        <p:spPr>
          <a:xfrm rot="2700000">
            <a:off x="1666859" y="3724291"/>
            <a:ext cx="1350146" cy="569065"/>
          </a:xfrm>
          <a:prstGeom prst="doubleWave">
            <a:avLst>
              <a:gd name="adj1" fmla="val 12500"/>
              <a:gd name="adj2" fmla="val 0"/>
            </a:avLst>
          </a:prstGeom>
          <a:solidFill>
            <a:srgbClr val="0070C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3" name="Double Wave 12"/>
          <p:cNvSpPr/>
          <p:nvPr/>
        </p:nvSpPr>
        <p:spPr>
          <a:xfrm rot="2700000">
            <a:off x="1925791" y="3724291"/>
            <a:ext cx="1350146" cy="569065"/>
          </a:xfrm>
          <a:prstGeom prst="doubleWave">
            <a:avLst>
              <a:gd name="adj1" fmla="val 12500"/>
              <a:gd name="adj2" fmla="val 0"/>
            </a:avLst>
          </a:prstGeom>
          <a:solidFill>
            <a:srgbClr val="0070C0"/>
          </a:solidFill>
          <a:ln>
            <a:noFill/>
          </a:ln>
          <a:effectLst>
            <a:outerShdw blurRad="50800" dist="38100" dir="5400000" algn="t" rotWithShape="0">
              <a:schemeClr val="bg1"/>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4" name="Double Wave 13"/>
          <p:cNvSpPr/>
          <p:nvPr/>
        </p:nvSpPr>
        <p:spPr>
          <a:xfrm rot="2700000">
            <a:off x="2186612" y="3724291"/>
            <a:ext cx="1350146" cy="569065"/>
          </a:xfrm>
          <a:prstGeom prst="doubleWave">
            <a:avLst>
              <a:gd name="adj1" fmla="val 12500"/>
              <a:gd name="adj2" fmla="val 0"/>
            </a:avLst>
          </a:prstGeom>
          <a:solidFill>
            <a:srgbClr val="0070C0"/>
          </a:solidFill>
          <a:ln>
            <a:noFill/>
          </a:ln>
          <a:effectLst>
            <a:outerShdw blurRad="50800" dist="38100" dir="5400000" algn="t" rotWithShape="0">
              <a:schemeClr val="bg1"/>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5" name="Double Wave 14"/>
          <p:cNvSpPr/>
          <p:nvPr/>
        </p:nvSpPr>
        <p:spPr>
          <a:xfrm rot="2700000">
            <a:off x="2445546" y="3724291"/>
            <a:ext cx="1350146" cy="569065"/>
          </a:xfrm>
          <a:prstGeom prst="doubleWave">
            <a:avLst>
              <a:gd name="adj1" fmla="val 12500"/>
              <a:gd name="adj2" fmla="val 0"/>
            </a:avLst>
          </a:prstGeom>
          <a:solidFill>
            <a:srgbClr val="0070C0"/>
          </a:solidFill>
          <a:ln>
            <a:noFill/>
          </a:ln>
          <a:effectLst>
            <a:outerShdw blurRad="50800" dist="38100" dir="5400000" algn="t" rotWithShape="0">
              <a:schemeClr val="bg1"/>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21" name="Flowchart: Manual Input 20"/>
          <p:cNvSpPr/>
          <p:nvPr/>
        </p:nvSpPr>
        <p:spPr>
          <a:xfrm flipH="1">
            <a:off x="1679720" y="2876550"/>
            <a:ext cx="301480" cy="1524000"/>
          </a:xfrm>
          <a:prstGeom prst="flowChartManualInput">
            <a:avLst/>
          </a:prstGeom>
          <a:solidFill>
            <a:schemeClr val="bg1"/>
          </a:solidFill>
          <a:ln>
            <a:noFill/>
          </a:ln>
          <a:effectLst>
            <a:outerShdw blurRad="50800" dist="38100" algn="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2" name="Rectangle 2"/>
          <p:cNvSpPr txBox="1"/>
          <p:nvPr/>
        </p:nvSpPr>
        <p:spPr>
          <a:xfrm>
            <a:off x="4038600" y="1657350"/>
            <a:ext cx="1066800" cy="1862048"/>
          </a:xfrm>
          <a:prstGeom prst="rect">
            <a:avLst/>
          </a:prstGeom>
          <a:effectLst>
            <a:outerShdw blurRad="50800" dist="38100" dir="2700000" algn="tl" rotWithShape="0">
              <a:prstClr val="black">
                <a:alpha val="40000"/>
              </a:prstClr>
            </a:outerShdw>
          </a:effectLst>
        </p:spPr>
        <p:txBody>
          <a:bodyPr vert="horz" wrap="square" lIns="91440" tIns="45720" rIns="91440" bIns="45720" rtlCol="0">
            <a:spAutoFit/>
          </a:bodyPr>
          <a:lstStyle>
            <a:lvl1pPr marL="342900" lvl="0" indent="-342900">
              <a:spcBef>
                <a:spcPct val="20000"/>
              </a:spcBef>
              <a:buFont typeface="Arial" pitchFamily="34" charset="0"/>
              <a:buChar char="•"/>
              <a:defRPr sz="3200"/>
            </a:lvl1pPr>
            <a:lvl2pPr marL="742950" lvl="1" indent="-285750">
              <a:spcBef>
                <a:spcPct val="20000"/>
              </a:spcBef>
              <a:buFont typeface="Arial" pitchFamily="34" charset="0"/>
              <a:buChar char="–"/>
              <a:defRPr sz="2800"/>
            </a:lvl2pPr>
            <a:lvl3pPr marL="1143000" lvl="2" indent="-228600">
              <a:spcBef>
                <a:spcPct val="20000"/>
              </a:spcBef>
              <a:buFont typeface="Arial" pitchFamily="34" charset="0"/>
              <a:buChar char="•"/>
              <a:defRPr sz="2400"/>
            </a:lvl3pPr>
            <a:lvl4pPr marL="1600200" lvl="3" indent="-228600">
              <a:spcBef>
                <a:spcPct val="20000"/>
              </a:spcBef>
              <a:buFont typeface="Arial" pitchFamily="34" charset="0"/>
              <a:buChar char="–"/>
              <a:defRPr sz="2000"/>
            </a:lvl4pPr>
            <a:lvl5pPr marL="2057400" lvl="4" indent="-228600">
              <a:spcBef>
                <a:spcPct val="20000"/>
              </a:spcBef>
              <a:buFont typeface="Arial" pitchFamily="34" charset="0"/>
              <a:buChar char="»"/>
              <a:defRPr sz="20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indent="0" algn="ctr">
              <a:buNone/>
            </a:pPr>
            <a:r>
              <a:rPr lang="en-US" sz="11500" b="1" dirty="0" smtClean="0">
                <a:solidFill>
                  <a:srgbClr val="FFC000"/>
                </a:solidFill>
                <a:latin typeface="Bookman Old Style" pitchFamily="18" charset="0"/>
              </a:rPr>
              <a:t>?</a:t>
            </a:r>
            <a:endParaRPr lang="en-US" sz="11500" b="1" dirty="0">
              <a:solidFill>
                <a:srgbClr val="FFC000"/>
              </a:solidFill>
              <a:latin typeface="Bookman Old Style" pitchFamily="18" charset="0"/>
            </a:endParaRPr>
          </a:p>
        </p:txBody>
      </p:sp>
    </p:spTree>
    <p:extLst>
      <p:ext uri="{BB962C8B-B14F-4D97-AF65-F5344CB8AC3E}">
        <p14:creationId xmlns:p14="http://schemas.microsoft.com/office/powerpoint/2010/main" val="2948748486"/>
      </p:ext>
    </p:extLst>
  </p:cSld>
  <p:clrMapOvr>
    <a:masterClrMapping/>
  </p:clrMapOvr>
  <mc:AlternateContent xmlns:mc="http://schemas.openxmlformats.org/markup-compatibility/2006" xmlns:p14="http://schemas.microsoft.com/office/powerpoint/2010/main">
    <mc:Choice Requires="p14">
      <p:transition spd="slow" p14:dur="2000">
        <p:push/>
      </p:transition>
    </mc:Choice>
    <mc:Fallback xmlns="">
      <p:transition spd="slow">
        <p:push/>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32" presetClass="emph" presetSubtype="0" repeatCount="indefinite" fill="hold" grpId="0" nodeType="withEffect">
                                  <p:stCondLst>
                                    <p:cond delay="0"/>
                                  </p:stCondLst>
                                  <p:childTnLst>
                                    <p:animRot by="120000">
                                      <p:cBhvr>
                                        <p:cTn id="6" dur="100" fill="hold">
                                          <p:stCondLst>
                                            <p:cond delay="0"/>
                                          </p:stCondLst>
                                        </p:cTn>
                                        <p:tgtEl>
                                          <p:spTgt spid="15"/>
                                        </p:tgtEl>
                                        <p:attrNameLst>
                                          <p:attrName>r</p:attrName>
                                        </p:attrNameLst>
                                      </p:cBhvr>
                                    </p:animRot>
                                    <p:animRot by="-240000">
                                      <p:cBhvr>
                                        <p:cTn id="7" dur="200" fill="hold">
                                          <p:stCondLst>
                                            <p:cond delay="200"/>
                                          </p:stCondLst>
                                        </p:cTn>
                                        <p:tgtEl>
                                          <p:spTgt spid="15"/>
                                        </p:tgtEl>
                                        <p:attrNameLst>
                                          <p:attrName>r</p:attrName>
                                        </p:attrNameLst>
                                      </p:cBhvr>
                                    </p:animRot>
                                    <p:animRot by="240000">
                                      <p:cBhvr>
                                        <p:cTn id="8" dur="200" fill="hold">
                                          <p:stCondLst>
                                            <p:cond delay="400"/>
                                          </p:stCondLst>
                                        </p:cTn>
                                        <p:tgtEl>
                                          <p:spTgt spid="15"/>
                                        </p:tgtEl>
                                        <p:attrNameLst>
                                          <p:attrName>r</p:attrName>
                                        </p:attrNameLst>
                                      </p:cBhvr>
                                    </p:animRot>
                                    <p:animRot by="-240000">
                                      <p:cBhvr>
                                        <p:cTn id="9" dur="200" fill="hold">
                                          <p:stCondLst>
                                            <p:cond delay="600"/>
                                          </p:stCondLst>
                                        </p:cTn>
                                        <p:tgtEl>
                                          <p:spTgt spid="15"/>
                                        </p:tgtEl>
                                        <p:attrNameLst>
                                          <p:attrName>r</p:attrName>
                                        </p:attrNameLst>
                                      </p:cBhvr>
                                    </p:animRot>
                                    <p:animRot by="120000">
                                      <p:cBhvr>
                                        <p:cTn id="10" dur="200" fill="hold">
                                          <p:stCondLst>
                                            <p:cond delay="800"/>
                                          </p:stCondLst>
                                        </p:cTn>
                                        <p:tgtEl>
                                          <p:spTgt spid="15"/>
                                        </p:tgtEl>
                                        <p:attrNameLst>
                                          <p:attrName>r</p:attrName>
                                        </p:attrNameLst>
                                      </p:cBhvr>
                                    </p:animRot>
                                  </p:childTnLst>
                                </p:cTn>
                              </p:par>
                              <p:par>
                                <p:cTn id="11" presetID="32" presetClass="emph" presetSubtype="0" repeatCount="indefinite" fill="hold" grpId="0" nodeType="withEffect">
                                  <p:stCondLst>
                                    <p:cond delay="250"/>
                                  </p:stCondLst>
                                  <p:childTnLst>
                                    <p:animRot by="120000">
                                      <p:cBhvr>
                                        <p:cTn id="12" dur="100" fill="hold">
                                          <p:stCondLst>
                                            <p:cond delay="0"/>
                                          </p:stCondLst>
                                        </p:cTn>
                                        <p:tgtEl>
                                          <p:spTgt spid="14"/>
                                        </p:tgtEl>
                                        <p:attrNameLst>
                                          <p:attrName>r</p:attrName>
                                        </p:attrNameLst>
                                      </p:cBhvr>
                                    </p:animRot>
                                    <p:animRot by="-240000">
                                      <p:cBhvr>
                                        <p:cTn id="13" dur="200" fill="hold">
                                          <p:stCondLst>
                                            <p:cond delay="200"/>
                                          </p:stCondLst>
                                        </p:cTn>
                                        <p:tgtEl>
                                          <p:spTgt spid="14"/>
                                        </p:tgtEl>
                                        <p:attrNameLst>
                                          <p:attrName>r</p:attrName>
                                        </p:attrNameLst>
                                      </p:cBhvr>
                                    </p:animRot>
                                    <p:animRot by="240000">
                                      <p:cBhvr>
                                        <p:cTn id="14" dur="200" fill="hold">
                                          <p:stCondLst>
                                            <p:cond delay="400"/>
                                          </p:stCondLst>
                                        </p:cTn>
                                        <p:tgtEl>
                                          <p:spTgt spid="14"/>
                                        </p:tgtEl>
                                        <p:attrNameLst>
                                          <p:attrName>r</p:attrName>
                                        </p:attrNameLst>
                                      </p:cBhvr>
                                    </p:animRot>
                                    <p:animRot by="-240000">
                                      <p:cBhvr>
                                        <p:cTn id="15" dur="200" fill="hold">
                                          <p:stCondLst>
                                            <p:cond delay="600"/>
                                          </p:stCondLst>
                                        </p:cTn>
                                        <p:tgtEl>
                                          <p:spTgt spid="14"/>
                                        </p:tgtEl>
                                        <p:attrNameLst>
                                          <p:attrName>r</p:attrName>
                                        </p:attrNameLst>
                                      </p:cBhvr>
                                    </p:animRot>
                                    <p:animRot by="120000">
                                      <p:cBhvr>
                                        <p:cTn id="16" dur="200" fill="hold">
                                          <p:stCondLst>
                                            <p:cond delay="800"/>
                                          </p:stCondLst>
                                        </p:cTn>
                                        <p:tgtEl>
                                          <p:spTgt spid="14"/>
                                        </p:tgtEl>
                                        <p:attrNameLst>
                                          <p:attrName>r</p:attrName>
                                        </p:attrNameLst>
                                      </p:cBhvr>
                                    </p:animRot>
                                  </p:childTnLst>
                                </p:cTn>
                              </p:par>
                              <p:par>
                                <p:cTn id="17" presetID="32" presetClass="emph" presetSubtype="0" repeatCount="indefinite" fill="hold" grpId="0" nodeType="withEffect">
                                  <p:stCondLst>
                                    <p:cond delay="500"/>
                                  </p:stCondLst>
                                  <p:childTnLst>
                                    <p:animRot by="120000">
                                      <p:cBhvr>
                                        <p:cTn id="18" dur="100" fill="hold">
                                          <p:stCondLst>
                                            <p:cond delay="0"/>
                                          </p:stCondLst>
                                        </p:cTn>
                                        <p:tgtEl>
                                          <p:spTgt spid="13"/>
                                        </p:tgtEl>
                                        <p:attrNameLst>
                                          <p:attrName>r</p:attrName>
                                        </p:attrNameLst>
                                      </p:cBhvr>
                                    </p:animRot>
                                    <p:animRot by="-240000">
                                      <p:cBhvr>
                                        <p:cTn id="19" dur="200" fill="hold">
                                          <p:stCondLst>
                                            <p:cond delay="200"/>
                                          </p:stCondLst>
                                        </p:cTn>
                                        <p:tgtEl>
                                          <p:spTgt spid="13"/>
                                        </p:tgtEl>
                                        <p:attrNameLst>
                                          <p:attrName>r</p:attrName>
                                        </p:attrNameLst>
                                      </p:cBhvr>
                                    </p:animRot>
                                    <p:animRot by="240000">
                                      <p:cBhvr>
                                        <p:cTn id="20" dur="200" fill="hold">
                                          <p:stCondLst>
                                            <p:cond delay="400"/>
                                          </p:stCondLst>
                                        </p:cTn>
                                        <p:tgtEl>
                                          <p:spTgt spid="13"/>
                                        </p:tgtEl>
                                        <p:attrNameLst>
                                          <p:attrName>r</p:attrName>
                                        </p:attrNameLst>
                                      </p:cBhvr>
                                    </p:animRot>
                                    <p:animRot by="-240000">
                                      <p:cBhvr>
                                        <p:cTn id="21" dur="200" fill="hold">
                                          <p:stCondLst>
                                            <p:cond delay="600"/>
                                          </p:stCondLst>
                                        </p:cTn>
                                        <p:tgtEl>
                                          <p:spTgt spid="13"/>
                                        </p:tgtEl>
                                        <p:attrNameLst>
                                          <p:attrName>r</p:attrName>
                                        </p:attrNameLst>
                                      </p:cBhvr>
                                    </p:animRot>
                                    <p:animRot by="120000">
                                      <p:cBhvr>
                                        <p:cTn id="22" dur="200" fill="hold">
                                          <p:stCondLst>
                                            <p:cond delay="800"/>
                                          </p:stCondLst>
                                        </p:cTn>
                                        <p:tgtEl>
                                          <p:spTgt spid="13"/>
                                        </p:tgtEl>
                                        <p:attrNameLst>
                                          <p:attrName>r</p:attrName>
                                        </p:attrNameLst>
                                      </p:cBhvr>
                                    </p:animRot>
                                  </p:childTnLst>
                                </p:cTn>
                              </p:par>
                              <p:par>
                                <p:cTn id="23" presetID="32" presetClass="emph" presetSubtype="0" repeatCount="indefinite" fill="hold" grpId="0" nodeType="withEffect">
                                  <p:stCondLst>
                                    <p:cond delay="750"/>
                                  </p:stCondLst>
                                  <p:childTnLst>
                                    <p:animRot by="120000">
                                      <p:cBhvr>
                                        <p:cTn id="24" dur="100" fill="hold">
                                          <p:stCondLst>
                                            <p:cond delay="0"/>
                                          </p:stCondLst>
                                        </p:cTn>
                                        <p:tgtEl>
                                          <p:spTgt spid="12"/>
                                        </p:tgtEl>
                                        <p:attrNameLst>
                                          <p:attrName>r</p:attrName>
                                        </p:attrNameLst>
                                      </p:cBhvr>
                                    </p:animRot>
                                    <p:animRot by="-240000">
                                      <p:cBhvr>
                                        <p:cTn id="25" dur="200" fill="hold">
                                          <p:stCondLst>
                                            <p:cond delay="200"/>
                                          </p:stCondLst>
                                        </p:cTn>
                                        <p:tgtEl>
                                          <p:spTgt spid="12"/>
                                        </p:tgtEl>
                                        <p:attrNameLst>
                                          <p:attrName>r</p:attrName>
                                        </p:attrNameLst>
                                      </p:cBhvr>
                                    </p:animRot>
                                    <p:animRot by="240000">
                                      <p:cBhvr>
                                        <p:cTn id="26" dur="200" fill="hold">
                                          <p:stCondLst>
                                            <p:cond delay="400"/>
                                          </p:stCondLst>
                                        </p:cTn>
                                        <p:tgtEl>
                                          <p:spTgt spid="12"/>
                                        </p:tgtEl>
                                        <p:attrNameLst>
                                          <p:attrName>r</p:attrName>
                                        </p:attrNameLst>
                                      </p:cBhvr>
                                    </p:animRot>
                                    <p:animRot by="-240000">
                                      <p:cBhvr>
                                        <p:cTn id="27" dur="200" fill="hold">
                                          <p:stCondLst>
                                            <p:cond delay="600"/>
                                          </p:stCondLst>
                                        </p:cTn>
                                        <p:tgtEl>
                                          <p:spTgt spid="12"/>
                                        </p:tgtEl>
                                        <p:attrNameLst>
                                          <p:attrName>r</p:attrName>
                                        </p:attrNameLst>
                                      </p:cBhvr>
                                    </p:animRot>
                                    <p:animRot by="120000">
                                      <p:cBhvr>
                                        <p:cTn id="28" dur="200" fill="hold">
                                          <p:stCondLst>
                                            <p:cond delay="800"/>
                                          </p:stCondLst>
                                        </p:cTn>
                                        <p:tgtEl>
                                          <p:spTgt spid="12"/>
                                        </p:tgtEl>
                                        <p:attrNameLst>
                                          <p:attrName>r</p:attrName>
                                        </p:attrNameLst>
                                      </p:cBhvr>
                                    </p:animRot>
                                  </p:childTnLst>
                                </p:cTn>
                              </p:par>
                              <p:par>
                                <p:cTn id="29" presetID="10" presetClass="entr" presetSubtype="0" fill="hold" grpId="0" nodeType="withEffect">
                                  <p:stCondLst>
                                    <p:cond delay="1000"/>
                                  </p:stCondLst>
                                  <p:childTnLst>
                                    <p:set>
                                      <p:cBhvr>
                                        <p:cTn id="30" dur="1" fill="hold">
                                          <p:stCondLst>
                                            <p:cond delay="0"/>
                                          </p:stCondLst>
                                        </p:cTn>
                                        <p:tgtEl>
                                          <p:spTgt spid="2"/>
                                        </p:tgtEl>
                                        <p:attrNameLst>
                                          <p:attrName>style.visibility</p:attrName>
                                        </p:attrNameLst>
                                      </p:cBhvr>
                                      <p:to>
                                        <p:strVal val="visible"/>
                                      </p:to>
                                    </p:set>
                                    <p:animEffect transition="in" filter="fade">
                                      <p:cBhvr>
                                        <p:cTn id="31"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3" grpId="0" animBg="1"/>
      <p:bldP spid="14" grpId="0" animBg="1"/>
      <p:bldP spid="15" grpId="0" animBg="1"/>
      <p:bldP spid="2" grpId="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108544752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225"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2" name="Picture 1"/>
          <p:cNvPicPr>
            <a:picLocks noChangeAspect="1"/>
          </p:cNvPicPr>
          <p:nvPr/>
        </p:nvPicPr>
        <p:blipFill rotWithShape="1">
          <a:blip r:embed="rId7" cstate="print">
            <a:extLst>
              <a:ext uri="{28A0092B-C50C-407E-A947-70E740481C1C}">
                <a14:useLocalDpi xmlns:a14="http://schemas.microsoft.com/office/drawing/2010/main" val="0"/>
              </a:ext>
            </a:extLst>
          </a:blip>
          <a:srcRect b="33926"/>
          <a:stretch/>
        </p:blipFill>
        <p:spPr>
          <a:xfrm>
            <a:off x="533399" y="1156268"/>
            <a:ext cx="8077202" cy="3015682"/>
          </a:xfrm>
          <a:prstGeom prst="rect">
            <a:avLst/>
          </a:prstGeom>
        </p:spPr>
      </p:pic>
      <p:sp>
        <p:nvSpPr>
          <p:cNvPr id="7" name="Freeform 6"/>
          <p:cNvSpPr/>
          <p:nvPr/>
        </p:nvSpPr>
        <p:spPr>
          <a:xfrm>
            <a:off x="-12700" y="3505200"/>
            <a:ext cx="9169400" cy="1651000"/>
          </a:xfrm>
          <a:custGeom>
            <a:avLst/>
            <a:gdLst>
              <a:gd name="connsiteX0" fmla="*/ 12700 w 9169400"/>
              <a:gd name="connsiteY0" fmla="*/ 571500 h 1651000"/>
              <a:gd name="connsiteX1" fmla="*/ 622300 w 9169400"/>
              <a:gd name="connsiteY1" fmla="*/ 431800 h 1651000"/>
              <a:gd name="connsiteX2" fmla="*/ 1143000 w 9169400"/>
              <a:gd name="connsiteY2" fmla="*/ 279400 h 1651000"/>
              <a:gd name="connsiteX3" fmla="*/ 1701800 w 9169400"/>
              <a:gd name="connsiteY3" fmla="*/ 228600 h 1651000"/>
              <a:gd name="connsiteX4" fmla="*/ 2794000 w 9169400"/>
              <a:gd name="connsiteY4" fmla="*/ 355600 h 1651000"/>
              <a:gd name="connsiteX5" fmla="*/ 3873500 w 9169400"/>
              <a:gd name="connsiteY5" fmla="*/ 469900 h 1651000"/>
              <a:gd name="connsiteX6" fmla="*/ 5067300 w 9169400"/>
              <a:gd name="connsiteY6" fmla="*/ 622300 h 1651000"/>
              <a:gd name="connsiteX7" fmla="*/ 6261100 w 9169400"/>
              <a:gd name="connsiteY7" fmla="*/ 558800 h 1651000"/>
              <a:gd name="connsiteX8" fmla="*/ 7086600 w 9169400"/>
              <a:gd name="connsiteY8" fmla="*/ 177800 h 1651000"/>
              <a:gd name="connsiteX9" fmla="*/ 9156700 w 9169400"/>
              <a:gd name="connsiteY9" fmla="*/ 0 h 1651000"/>
              <a:gd name="connsiteX10" fmla="*/ 9169400 w 9169400"/>
              <a:gd name="connsiteY10" fmla="*/ 1651000 h 1651000"/>
              <a:gd name="connsiteX11" fmla="*/ 0 w 9169400"/>
              <a:gd name="connsiteY11" fmla="*/ 1651000 h 1651000"/>
              <a:gd name="connsiteX12" fmla="*/ 12700 w 9169400"/>
              <a:gd name="connsiteY12" fmla="*/ 571500 h 1651000"/>
              <a:gd name="connsiteX0" fmla="*/ 12700 w 9169400"/>
              <a:gd name="connsiteY0" fmla="*/ 571500 h 1651000"/>
              <a:gd name="connsiteX1" fmla="*/ 622300 w 9169400"/>
              <a:gd name="connsiteY1" fmla="*/ 431800 h 1651000"/>
              <a:gd name="connsiteX2" fmla="*/ 1143000 w 9169400"/>
              <a:gd name="connsiteY2" fmla="*/ 279400 h 1651000"/>
              <a:gd name="connsiteX3" fmla="*/ 1701800 w 9169400"/>
              <a:gd name="connsiteY3" fmla="*/ 228600 h 1651000"/>
              <a:gd name="connsiteX4" fmla="*/ 2794000 w 9169400"/>
              <a:gd name="connsiteY4" fmla="*/ 355600 h 1651000"/>
              <a:gd name="connsiteX5" fmla="*/ 3873500 w 9169400"/>
              <a:gd name="connsiteY5" fmla="*/ 469900 h 1651000"/>
              <a:gd name="connsiteX6" fmla="*/ 5067300 w 9169400"/>
              <a:gd name="connsiteY6" fmla="*/ 622300 h 1651000"/>
              <a:gd name="connsiteX7" fmla="*/ 6261100 w 9169400"/>
              <a:gd name="connsiteY7" fmla="*/ 558800 h 1651000"/>
              <a:gd name="connsiteX8" fmla="*/ 7086600 w 9169400"/>
              <a:gd name="connsiteY8" fmla="*/ 177800 h 1651000"/>
              <a:gd name="connsiteX9" fmla="*/ 9156700 w 9169400"/>
              <a:gd name="connsiteY9" fmla="*/ 0 h 1651000"/>
              <a:gd name="connsiteX10" fmla="*/ 9169400 w 9169400"/>
              <a:gd name="connsiteY10" fmla="*/ 1651000 h 1651000"/>
              <a:gd name="connsiteX11" fmla="*/ 0 w 9169400"/>
              <a:gd name="connsiteY11" fmla="*/ 1651000 h 1651000"/>
              <a:gd name="connsiteX12" fmla="*/ 12700 w 9169400"/>
              <a:gd name="connsiteY12" fmla="*/ 571500 h 1651000"/>
              <a:gd name="connsiteX0" fmla="*/ 12700 w 9169400"/>
              <a:gd name="connsiteY0" fmla="*/ 571500 h 1651000"/>
              <a:gd name="connsiteX1" fmla="*/ 622300 w 9169400"/>
              <a:gd name="connsiteY1" fmla="*/ 431800 h 1651000"/>
              <a:gd name="connsiteX2" fmla="*/ 1143000 w 9169400"/>
              <a:gd name="connsiteY2" fmla="*/ 279400 h 1651000"/>
              <a:gd name="connsiteX3" fmla="*/ 1701800 w 9169400"/>
              <a:gd name="connsiteY3" fmla="*/ 228600 h 1651000"/>
              <a:gd name="connsiteX4" fmla="*/ 2794000 w 9169400"/>
              <a:gd name="connsiteY4" fmla="*/ 355600 h 1651000"/>
              <a:gd name="connsiteX5" fmla="*/ 3873500 w 9169400"/>
              <a:gd name="connsiteY5" fmla="*/ 469900 h 1651000"/>
              <a:gd name="connsiteX6" fmla="*/ 5067300 w 9169400"/>
              <a:gd name="connsiteY6" fmla="*/ 622300 h 1651000"/>
              <a:gd name="connsiteX7" fmla="*/ 6261100 w 9169400"/>
              <a:gd name="connsiteY7" fmla="*/ 558800 h 1651000"/>
              <a:gd name="connsiteX8" fmla="*/ 7086600 w 9169400"/>
              <a:gd name="connsiteY8" fmla="*/ 177800 h 1651000"/>
              <a:gd name="connsiteX9" fmla="*/ 9156700 w 9169400"/>
              <a:gd name="connsiteY9" fmla="*/ 0 h 1651000"/>
              <a:gd name="connsiteX10" fmla="*/ 9169400 w 9169400"/>
              <a:gd name="connsiteY10" fmla="*/ 1651000 h 1651000"/>
              <a:gd name="connsiteX11" fmla="*/ 0 w 9169400"/>
              <a:gd name="connsiteY11" fmla="*/ 1651000 h 1651000"/>
              <a:gd name="connsiteX12" fmla="*/ 12700 w 9169400"/>
              <a:gd name="connsiteY12" fmla="*/ 571500 h 1651000"/>
              <a:gd name="connsiteX0" fmla="*/ 12700 w 9169400"/>
              <a:gd name="connsiteY0" fmla="*/ 571500 h 1651000"/>
              <a:gd name="connsiteX1" fmla="*/ 622300 w 9169400"/>
              <a:gd name="connsiteY1" fmla="*/ 431800 h 1651000"/>
              <a:gd name="connsiteX2" fmla="*/ 1143000 w 9169400"/>
              <a:gd name="connsiteY2" fmla="*/ 279400 h 1651000"/>
              <a:gd name="connsiteX3" fmla="*/ 1701800 w 9169400"/>
              <a:gd name="connsiteY3" fmla="*/ 228600 h 1651000"/>
              <a:gd name="connsiteX4" fmla="*/ 2794000 w 9169400"/>
              <a:gd name="connsiteY4" fmla="*/ 355600 h 1651000"/>
              <a:gd name="connsiteX5" fmla="*/ 3873500 w 9169400"/>
              <a:gd name="connsiteY5" fmla="*/ 469900 h 1651000"/>
              <a:gd name="connsiteX6" fmla="*/ 5067300 w 9169400"/>
              <a:gd name="connsiteY6" fmla="*/ 622300 h 1651000"/>
              <a:gd name="connsiteX7" fmla="*/ 6261100 w 9169400"/>
              <a:gd name="connsiteY7" fmla="*/ 558800 h 1651000"/>
              <a:gd name="connsiteX8" fmla="*/ 7086600 w 9169400"/>
              <a:gd name="connsiteY8" fmla="*/ 177800 h 1651000"/>
              <a:gd name="connsiteX9" fmla="*/ 9156700 w 9169400"/>
              <a:gd name="connsiteY9" fmla="*/ 0 h 1651000"/>
              <a:gd name="connsiteX10" fmla="*/ 9169400 w 9169400"/>
              <a:gd name="connsiteY10" fmla="*/ 1651000 h 1651000"/>
              <a:gd name="connsiteX11" fmla="*/ 0 w 9169400"/>
              <a:gd name="connsiteY11" fmla="*/ 1651000 h 1651000"/>
              <a:gd name="connsiteX12" fmla="*/ 12700 w 9169400"/>
              <a:gd name="connsiteY12" fmla="*/ 571500 h 1651000"/>
              <a:gd name="connsiteX0" fmla="*/ 12700 w 9169400"/>
              <a:gd name="connsiteY0" fmla="*/ 571500 h 1651000"/>
              <a:gd name="connsiteX1" fmla="*/ 622300 w 9169400"/>
              <a:gd name="connsiteY1" fmla="*/ 431800 h 1651000"/>
              <a:gd name="connsiteX2" fmla="*/ 1143000 w 9169400"/>
              <a:gd name="connsiteY2" fmla="*/ 279400 h 1651000"/>
              <a:gd name="connsiteX3" fmla="*/ 1701800 w 9169400"/>
              <a:gd name="connsiteY3" fmla="*/ 228600 h 1651000"/>
              <a:gd name="connsiteX4" fmla="*/ 2794000 w 9169400"/>
              <a:gd name="connsiteY4" fmla="*/ 355600 h 1651000"/>
              <a:gd name="connsiteX5" fmla="*/ 3873500 w 9169400"/>
              <a:gd name="connsiteY5" fmla="*/ 469900 h 1651000"/>
              <a:gd name="connsiteX6" fmla="*/ 5067300 w 9169400"/>
              <a:gd name="connsiteY6" fmla="*/ 622300 h 1651000"/>
              <a:gd name="connsiteX7" fmla="*/ 6261100 w 9169400"/>
              <a:gd name="connsiteY7" fmla="*/ 558800 h 1651000"/>
              <a:gd name="connsiteX8" fmla="*/ 7086600 w 9169400"/>
              <a:gd name="connsiteY8" fmla="*/ 177800 h 1651000"/>
              <a:gd name="connsiteX9" fmla="*/ 9156700 w 9169400"/>
              <a:gd name="connsiteY9" fmla="*/ 0 h 1651000"/>
              <a:gd name="connsiteX10" fmla="*/ 9169400 w 9169400"/>
              <a:gd name="connsiteY10" fmla="*/ 1651000 h 1651000"/>
              <a:gd name="connsiteX11" fmla="*/ 0 w 9169400"/>
              <a:gd name="connsiteY11" fmla="*/ 1651000 h 1651000"/>
              <a:gd name="connsiteX12" fmla="*/ 12700 w 9169400"/>
              <a:gd name="connsiteY12" fmla="*/ 571500 h 1651000"/>
              <a:gd name="connsiteX0" fmla="*/ 12700 w 9169400"/>
              <a:gd name="connsiteY0" fmla="*/ 571500 h 1651000"/>
              <a:gd name="connsiteX1" fmla="*/ 622300 w 9169400"/>
              <a:gd name="connsiteY1" fmla="*/ 431800 h 1651000"/>
              <a:gd name="connsiteX2" fmla="*/ 1143000 w 9169400"/>
              <a:gd name="connsiteY2" fmla="*/ 279400 h 1651000"/>
              <a:gd name="connsiteX3" fmla="*/ 1701800 w 9169400"/>
              <a:gd name="connsiteY3" fmla="*/ 228600 h 1651000"/>
              <a:gd name="connsiteX4" fmla="*/ 2794000 w 9169400"/>
              <a:gd name="connsiteY4" fmla="*/ 355600 h 1651000"/>
              <a:gd name="connsiteX5" fmla="*/ 3873500 w 9169400"/>
              <a:gd name="connsiteY5" fmla="*/ 469900 h 1651000"/>
              <a:gd name="connsiteX6" fmla="*/ 5067300 w 9169400"/>
              <a:gd name="connsiteY6" fmla="*/ 622300 h 1651000"/>
              <a:gd name="connsiteX7" fmla="*/ 6261100 w 9169400"/>
              <a:gd name="connsiteY7" fmla="*/ 558800 h 1651000"/>
              <a:gd name="connsiteX8" fmla="*/ 7086600 w 9169400"/>
              <a:gd name="connsiteY8" fmla="*/ 177800 h 1651000"/>
              <a:gd name="connsiteX9" fmla="*/ 9156700 w 9169400"/>
              <a:gd name="connsiteY9" fmla="*/ 0 h 1651000"/>
              <a:gd name="connsiteX10" fmla="*/ 9169400 w 9169400"/>
              <a:gd name="connsiteY10" fmla="*/ 1651000 h 1651000"/>
              <a:gd name="connsiteX11" fmla="*/ 0 w 9169400"/>
              <a:gd name="connsiteY11" fmla="*/ 1651000 h 1651000"/>
              <a:gd name="connsiteX12" fmla="*/ 12700 w 9169400"/>
              <a:gd name="connsiteY12" fmla="*/ 571500 h 1651000"/>
              <a:gd name="connsiteX0" fmla="*/ 12700 w 9169400"/>
              <a:gd name="connsiteY0" fmla="*/ 571500 h 1651000"/>
              <a:gd name="connsiteX1" fmla="*/ 622300 w 9169400"/>
              <a:gd name="connsiteY1" fmla="*/ 431800 h 1651000"/>
              <a:gd name="connsiteX2" fmla="*/ 1143000 w 9169400"/>
              <a:gd name="connsiteY2" fmla="*/ 279400 h 1651000"/>
              <a:gd name="connsiteX3" fmla="*/ 1701800 w 9169400"/>
              <a:gd name="connsiteY3" fmla="*/ 228600 h 1651000"/>
              <a:gd name="connsiteX4" fmla="*/ 2794000 w 9169400"/>
              <a:gd name="connsiteY4" fmla="*/ 355600 h 1651000"/>
              <a:gd name="connsiteX5" fmla="*/ 3873500 w 9169400"/>
              <a:gd name="connsiteY5" fmla="*/ 469900 h 1651000"/>
              <a:gd name="connsiteX6" fmla="*/ 5067300 w 9169400"/>
              <a:gd name="connsiteY6" fmla="*/ 622300 h 1651000"/>
              <a:gd name="connsiteX7" fmla="*/ 6261100 w 9169400"/>
              <a:gd name="connsiteY7" fmla="*/ 558800 h 1651000"/>
              <a:gd name="connsiteX8" fmla="*/ 7086600 w 9169400"/>
              <a:gd name="connsiteY8" fmla="*/ 177800 h 1651000"/>
              <a:gd name="connsiteX9" fmla="*/ 9156700 w 9169400"/>
              <a:gd name="connsiteY9" fmla="*/ 0 h 1651000"/>
              <a:gd name="connsiteX10" fmla="*/ 9169400 w 9169400"/>
              <a:gd name="connsiteY10" fmla="*/ 1651000 h 1651000"/>
              <a:gd name="connsiteX11" fmla="*/ 0 w 9169400"/>
              <a:gd name="connsiteY11" fmla="*/ 1651000 h 1651000"/>
              <a:gd name="connsiteX12" fmla="*/ 12700 w 9169400"/>
              <a:gd name="connsiteY12" fmla="*/ 571500 h 1651000"/>
              <a:gd name="connsiteX0" fmla="*/ 12700 w 9169400"/>
              <a:gd name="connsiteY0" fmla="*/ 571500 h 1651000"/>
              <a:gd name="connsiteX1" fmla="*/ 622300 w 9169400"/>
              <a:gd name="connsiteY1" fmla="*/ 431800 h 1651000"/>
              <a:gd name="connsiteX2" fmla="*/ 1143000 w 9169400"/>
              <a:gd name="connsiteY2" fmla="*/ 279400 h 1651000"/>
              <a:gd name="connsiteX3" fmla="*/ 1701800 w 9169400"/>
              <a:gd name="connsiteY3" fmla="*/ 228600 h 1651000"/>
              <a:gd name="connsiteX4" fmla="*/ 2794000 w 9169400"/>
              <a:gd name="connsiteY4" fmla="*/ 355600 h 1651000"/>
              <a:gd name="connsiteX5" fmla="*/ 3873500 w 9169400"/>
              <a:gd name="connsiteY5" fmla="*/ 469900 h 1651000"/>
              <a:gd name="connsiteX6" fmla="*/ 5067300 w 9169400"/>
              <a:gd name="connsiteY6" fmla="*/ 622300 h 1651000"/>
              <a:gd name="connsiteX7" fmla="*/ 6261100 w 9169400"/>
              <a:gd name="connsiteY7" fmla="*/ 558800 h 1651000"/>
              <a:gd name="connsiteX8" fmla="*/ 7086600 w 9169400"/>
              <a:gd name="connsiteY8" fmla="*/ 177800 h 1651000"/>
              <a:gd name="connsiteX9" fmla="*/ 9156700 w 9169400"/>
              <a:gd name="connsiteY9" fmla="*/ 0 h 1651000"/>
              <a:gd name="connsiteX10" fmla="*/ 9169400 w 9169400"/>
              <a:gd name="connsiteY10" fmla="*/ 1651000 h 1651000"/>
              <a:gd name="connsiteX11" fmla="*/ 0 w 9169400"/>
              <a:gd name="connsiteY11" fmla="*/ 1651000 h 1651000"/>
              <a:gd name="connsiteX12" fmla="*/ 12700 w 9169400"/>
              <a:gd name="connsiteY12" fmla="*/ 571500 h 1651000"/>
              <a:gd name="connsiteX0" fmla="*/ 12700 w 9169400"/>
              <a:gd name="connsiteY0" fmla="*/ 571500 h 1651000"/>
              <a:gd name="connsiteX1" fmla="*/ 622300 w 9169400"/>
              <a:gd name="connsiteY1" fmla="*/ 431800 h 1651000"/>
              <a:gd name="connsiteX2" fmla="*/ 1143000 w 9169400"/>
              <a:gd name="connsiteY2" fmla="*/ 279400 h 1651000"/>
              <a:gd name="connsiteX3" fmla="*/ 1701800 w 9169400"/>
              <a:gd name="connsiteY3" fmla="*/ 228600 h 1651000"/>
              <a:gd name="connsiteX4" fmla="*/ 2794000 w 9169400"/>
              <a:gd name="connsiteY4" fmla="*/ 355600 h 1651000"/>
              <a:gd name="connsiteX5" fmla="*/ 3873500 w 9169400"/>
              <a:gd name="connsiteY5" fmla="*/ 469900 h 1651000"/>
              <a:gd name="connsiteX6" fmla="*/ 5067300 w 9169400"/>
              <a:gd name="connsiteY6" fmla="*/ 622300 h 1651000"/>
              <a:gd name="connsiteX7" fmla="*/ 6261100 w 9169400"/>
              <a:gd name="connsiteY7" fmla="*/ 558800 h 1651000"/>
              <a:gd name="connsiteX8" fmla="*/ 7086600 w 9169400"/>
              <a:gd name="connsiteY8" fmla="*/ 177800 h 1651000"/>
              <a:gd name="connsiteX9" fmla="*/ 9156700 w 9169400"/>
              <a:gd name="connsiteY9" fmla="*/ 0 h 1651000"/>
              <a:gd name="connsiteX10" fmla="*/ 9169400 w 9169400"/>
              <a:gd name="connsiteY10" fmla="*/ 1651000 h 1651000"/>
              <a:gd name="connsiteX11" fmla="*/ 0 w 9169400"/>
              <a:gd name="connsiteY11" fmla="*/ 1651000 h 1651000"/>
              <a:gd name="connsiteX12" fmla="*/ 12700 w 9169400"/>
              <a:gd name="connsiteY12" fmla="*/ 571500 h 1651000"/>
              <a:gd name="connsiteX0" fmla="*/ 12700 w 9169400"/>
              <a:gd name="connsiteY0" fmla="*/ 571500 h 1651000"/>
              <a:gd name="connsiteX1" fmla="*/ 622300 w 9169400"/>
              <a:gd name="connsiteY1" fmla="*/ 431800 h 1651000"/>
              <a:gd name="connsiteX2" fmla="*/ 1701800 w 9169400"/>
              <a:gd name="connsiteY2" fmla="*/ 228600 h 1651000"/>
              <a:gd name="connsiteX3" fmla="*/ 2794000 w 9169400"/>
              <a:gd name="connsiteY3" fmla="*/ 355600 h 1651000"/>
              <a:gd name="connsiteX4" fmla="*/ 3873500 w 9169400"/>
              <a:gd name="connsiteY4" fmla="*/ 469900 h 1651000"/>
              <a:gd name="connsiteX5" fmla="*/ 5067300 w 9169400"/>
              <a:gd name="connsiteY5" fmla="*/ 622300 h 1651000"/>
              <a:gd name="connsiteX6" fmla="*/ 6261100 w 9169400"/>
              <a:gd name="connsiteY6" fmla="*/ 558800 h 1651000"/>
              <a:gd name="connsiteX7" fmla="*/ 7086600 w 9169400"/>
              <a:gd name="connsiteY7" fmla="*/ 177800 h 1651000"/>
              <a:gd name="connsiteX8" fmla="*/ 9156700 w 9169400"/>
              <a:gd name="connsiteY8" fmla="*/ 0 h 1651000"/>
              <a:gd name="connsiteX9" fmla="*/ 9169400 w 9169400"/>
              <a:gd name="connsiteY9" fmla="*/ 1651000 h 1651000"/>
              <a:gd name="connsiteX10" fmla="*/ 0 w 9169400"/>
              <a:gd name="connsiteY10" fmla="*/ 1651000 h 1651000"/>
              <a:gd name="connsiteX11" fmla="*/ 12700 w 9169400"/>
              <a:gd name="connsiteY11" fmla="*/ 571500 h 1651000"/>
              <a:gd name="connsiteX0" fmla="*/ 12700 w 9169400"/>
              <a:gd name="connsiteY0" fmla="*/ 571500 h 1651000"/>
              <a:gd name="connsiteX1" fmla="*/ 863600 w 9169400"/>
              <a:gd name="connsiteY1" fmla="*/ 342900 h 1651000"/>
              <a:gd name="connsiteX2" fmla="*/ 1701800 w 9169400"/>
              <a:gd name="connsiteY2" fmla="*/ 228600 h 1651000"/>
              <a:gd name="connsiteX3" fmla="*/ 2794000 w 9169400"/>
              <a:gd name="connsiteY3" fmla="*/ 355600 h 1651000"/>
              <a:gd name="connsiteX4" fmla="*/ 3873500 w 9169400"/>
              <a:gd name="connsiteY4" fmla="*/ 469900 h 1651000"/>
              <a:gd name="connsiteX5" fmla="*/ 5067300 w 9169400"/>
              <a:gd name="connsiteY5" fmla="*/ 622300 h 1651000"/>
              <a:gd name="connsiteX6" fmla="*/ 6261100 w 9169400"/>
              <a:gd name="connsiteY6" fmla="*/ 558800 h 1651000"/>
              <a:gd name="connsiteX7" fmla="*/ 7086600 w 9169400"/>
              <a:gd name="connsiteY7" fmla="*/ 177800 h 1651000"/>
              <a:gd name="connsiteX8" fmla="*/ 9156700 w 9169400"/>
              <a:gd name="connsiteY8" fmla="*/ 0 h 1651000"/>
              <a:gd name="connsiteX9" fmla="*/ 9169400 w 9169400"/>
              <a:gd name="connsiteY9" fmla="*/ 1651000 h 1651000"/>
              <a:gd name="connsiteX10" fmla="*/ 0 w 9169400"/>
              <a:gd name="connsiteY10" fmla="*/ 1651000 h 1651000"/>
              <a:gd name="connsiteX11" fmla="*/ 12700 w 9169400"/>
              <a:gd name="connsiteY11" fmla="*/ 571500 h 1651000"/>
              <a:gd name="connsiteX0" fmla="*/ 12700 w 9169400"/>
              <a:gd name="connsiteY0" fmla="*/ 571500 h 1651000"/>
              <a:gd name="connsiteX1" fmla="*/ 863600 w 9169400"/>
              <a:gd name="connsiteY1" fmla="*/ 342900 h 1651000"/>
              <a:gd name="connsiteX2" fmla="*/ 1701800 w 9169400"/>
              <a:gd name="connsiteY2" fmla="*/ 228600 h 1651000"/>
              <a:gd name="connsiteX3" fmla="*/ 2794000 w 9169400"/>
              <a:gd name="connsiteY3" fmla="*/ 355600 h 1651000"/>
              <a:gd name="connsiteX4" fmla="*/ 3873500 w 9169400"/>
              <a:gd name="connsiteY4" fmla="*/ 469900 h 1651000"/>
              <a:gd name="connsiteX5" fmla="*/ 5067300 w 9169400"/>
              <a:gd name="connsiteY5" fmla="*/ 622300 h 1651000"/>
              <a:gd name="connsiteX6" fmla="*/ 6261100 w 9169400"/>
              <a:gd name="connsiteY6" fmla="*/ 558800 h 1651000"/>
              <a:gd name="connsiteX7" fmla="*/ 7086600 w 9169400"/>
              <a:gd name="connsiteY7" fmla="*/ 177800 h 1651000"/>
              <a:gd name="connsiteX8" fmla="*/ 9156700 w 9169400"/>
              <a:gd name="connsiteY8" fmla="*/ 0 h 1651000"/>
              <a:gd name="connsiteX9" fmla="*/ 9169400 w 9169400"/>
              <a:gd name="connsiteY9" fmla="*/ 1651000 h 1651000"/>
              <a:gd name="connsiteX10" fmla="*/ 0 w 9169400"/>
              <a:gd name="connsiteY10" fmla="*/ 1651000 h 1651000"/>
              <a:gd name="connsiteX11" fmla="*/ 12700 w 9169400"/>
              <a:gd name="connsiteY11" fmla="*/ 571500 h 1651000"/>
              <a:gd name="connsiteX0" fmla="*/ 12700 w 9169400"/>
              <a:gd name="connsiteY0" fmla="*/ 571500 h 1651000"/>
              <a:gd name="connsiteX1" fmla="*/ 863600 w 9169400"/>
              <a:gd name="connsiteY1" fmla="*/ 342900 h 1651000"/>
              <a:gd name="connsiteX2" fmla="*/ 1701800 w 9169400"/>
              <a:gd name="connsiteY2" fmla="*/ 228600 h 1651000"/>
              <a:gd name="connsiteX3" fmla="*/ 2794000 w 9169400"/>
              <a:gd name="connsiteY3" fmla="*/ 355600 h 1651000"/>
              <a:gd name="connsiteX4" fmla="*/ 3873500 w 9169400"/>
              <a:gd name="connsiteY4" fmla="*/ 469900 h 1651000"/>
              <a:gd name="connsiteX5" fmla="*/ 5067300 w 9169400"/>
              <a:gd name="connsiteY5" fmla="*/ 622300 h 1651000"/>
              <a:gd name="connsiteX6" fmla="*/ 6197600 w 9169400"/>
              <a:gd name="connsiteY6" fmla="*/ 482600 h 1651000"/>
              <a:gd name="connsiteX7" fmla="*/ 7086600 w 9169400"/>
              <a:gd name="connsiteY7" fmla="*/ 177800 h 1651000"/>
              <a:gd name="connsiteX8" fmla="*/ 9156700 w 9169400"/>
              <a:gd name="connsiteY8" fmla="*/ 0 h 1651000"/>
              <a:gd name="connsiteX9" fmla="*/ 9169400 w 9169400"/>
              <a:gd name="connsiteY9" fmla="*/ 1651000 h 1651000"/>
              <a:gd name="connsiteX10" fmla="*/ 0 w 9169400"/>
              <a:gd name="connsiteY10" fmla="*/ 1651000 h 1651000"/>
              <a:gd name="connsiteX11" fmla="*/ 12700 w 9169400"/>
              <a:gd name="connsiteY11" fmla="*/ 571500 h 1651000"/>
              <a:gd name="connsiteX0" fmla="*/ 12700 w 9169400"/>
              <a:gd name="connsiteY0" fmla="*/ 571500 h 1651000"/>
              <a:gd name="connsiteX1" fmla="*/ 863600 w 9169400"/>
              <a:gd name="connsiteY1" fmla="*/ 342900 h 1651000"/>
              <a:gd name="connsiteX2" fmla="*/ 1701800 w 9169400"/>
              <a:gd name="connsiteY2" fmla="*/ 228600 h 1651000"/>
              <a:gd name="connsiteX3" fmla="*/ 2794000 w 9169400"/>
              <a:gd name="connsiteY3" fmla="*/ 355600 h 1651000"/>
              <a:gd name="connsiteX4" fmla="*/ 3873500 w 9169400"/>
              <a:gd name="connsiteY4" fmla="*/ 469900 h 1651000"/>
              <a:gd name="connsiteX5" fmla="*/ 5067300 w 9169400"/>
              <a:gd name="connsiteY5" fmla="*/ 622300 h 1651000"/>
              <a:gd name="connsiteX6" fmla="*/ 6197600 w 9169400"/>
              <a:gd name="connsiteY6" fmla="*/ 482600 h 1651000"/>
              <a:gd name="connsiteX7" fmla="*/ 7785100 w 9169400"/>
              <a:gd name="connsiteY7" fmla="*/ 63500 h 1651000"/>
              <a:gd name="connsiteX8" fmla="*/ 9156700 w 9169400"/>
              <a:gd name="connsiteY8" fmla="*/ 0 h 1651000"/>
              <a:gd name="connsiteX9" fmla="*/ 9169400 w 9169400"/>
              <a:gd name="connsiteY9" fmla="*/ 1651000 h 1651000"/>
              <a:gd name="connsiteX10" fmla="*/ 0 w 9169400"/>
              <a:gd name="connsiteY10" fmla="*/ 1651000 h 1651000"/>
              <a:gd name="connsiteX11" fmla="*/ 12700 w 9169400"/>
              <a:gd name="connsiteY11" fmla="*/ 571500 h 1651000"/>
              <a:gd name="connsiteX0" fmla="*/ 12700 w 9169400"/>
              <a:gd name="connsiteY0" fmla="*/ 571500 h 1651000"/>
              <a:gd name="connsiteX1" fmla="*/ 863600 w 9169400"/>
              <a:gd name="connsiteY1" fmla="*/ 342900 h 1651000"/>
              <a:gd name="connsiteX2" fmla="*/ 1701800 w 9169400"/>
              <a:gd name="connsiteY2" fmla="*/ 228600 h 1651000"/>
              <a:gd name="connsiteX3" fmla="*/ 2794000 w 9169400"/>
              <a:gd name="connsiteY3" fmla="*/ 355600 h 1651000"/>
              <a:gd name="connsiteX4" fmla="*/ 3873500 w 9169400"/>
              <a:gd name="connsiteY4" fmla="*/ 469900 h 1651000"/>
              <a:gd name="connsiteX5" fmla="*/ 5067300 w 9169400"/>
              <a:gd name="connsiteY5" fmla="*/ 622300 h 1651000"/>
              <a:gd name="connsiteX6" fmla="*/ 6197600 w 9169400"/>
              <a:gd name="connsiteY6" fmla="*/ 482600 h 1651000"/>
              <a:gd name="connsiteX7" fmla="*/ 7785100 w 9169400"/>
              <a:gd name="connsiteY7" fmla="*/ 63500 h 1651000"/>
              <a:gd name="connsiteX8" fmla="*/ 9156700 w 9169400"/>
              <a:gd name="connsiteY8" fmla="*/ 0 h 1651000"/>
              <a:gd name="connsiteX9" fmla="*/ 9169400 w 9169400"/>
              <a:gd name="connsiteY9" fmla="*/ 1651000 h 1651000"/>
              <a:gd name="connsiteX10" fmla="*/ 0 w 9169400"/>
              <a:gd name="connsiteY10" fmla="*/ 1651000 h 1651000"/>
              <a:gd name="connsiteX11" fmla="*/ 12700 w 9169400"/>
              <a:gd name="connsiteY11" fmla="*/ 571500 h 1651000"/>
              <a:gd name="connsiteX0" fmla="*/ 12700 w 9169400"/>
              <a:gd name="connsiteY0" fmla="*/ 571500 h 1651000"/>
              <a:gd name="connsiteX1" fmla="*/ 863600 w 9169400"/>
              <a:gd name="connsiteY1" fmla="*/ 342900 h 1651000"/>
              <a:gd name="connsiteX2" fmla="*/ 1701800 w 9169400"/>
              <a:gd name="connsiteY2" fmla="*/ 228600 h 1651000"/>
              <a:gd name="connsiteX3" fmla="*/ 2794000 w 9169400"/>
              <a:gd name="connsiteY3" fmla="*/ 355600 h 1651000"/>
              <a:gd name="connsiteX4" fmla="*/ 3873500 w 9169400"/>
              <a:gd name="connsiteY4" fmla="*/ 469900 h 1651000"/>
              <a:gd name="connsiteX5" fmla="*/ 5067300 w 9169400"/>
              <a:gd name="connsiteY5" fmla="*/ 622300 h 1651000"/>
              <a:gd name="connsiteX6" fmla="*/ 6197600 w 9169400"/>
              <a:gd name="connsiteY6" fmla="*/ 482600 h 1651000"/>
              <a:gd name="connsiteX7" fmla="*/ 7785100 w 9169400"/>
              <a:gd name="connsiteY7" fmla="*/ 63500 h 1651000"/>
              <a:gd name="connsiteX8" fmla="*/ 9156700 w 9169400"/>
              <a:gd name="connsiteY8" fmla="*/ 0 h 1651000"/>
              <a:gd name="connsiteX9" fmla="*/ 9169400 w 9169400"/>
              <a:gd name="connsiteY9" fmla="*/ 1651000 h 1651000"/>
              <a:gd name="connsiteX10" fmla="*/ 0 w 9169400"/>
              <a:gd name="connsiteY10" fmla="*/ 1651000 h 1651000"/>
              <a:gd name="connsiteX11" fmla="*/ 12700 w 9169400"/>
              <a:gd name="connsiteY11" fmla="*/ 571500 h 1651000"/>
              <a:gd name="connsiteX0" fmla="*/ 12700 w 9169400"/>
              <a:gd name="connsiteY0" fmla="*/ 571500 h 1651000"/>
              <a:gd name="connsiteX1" fmla="*/ 863600 w 9169400"/>
              <a:gd name="connsiteY1" fmla="*/ 342900 h 1651000"/>
              <a:gd name="connsiteX2" fmla="*/ 1879600 w 9169400"/>
              <a:gd name="connsiteY2" fmla="*/ 215900 h 1651000"/>
              <a:gd name="connsiteX3" fmla="*/ 2794000 w 9169400"/>
              <a:gd name="connsiteY3" fmla="*/ 355600 h 1651000"/>
              <a:gd name="connsiteX4" fmla="*/ 3873500 w 9169400"/>
              <a:gd name="connsiteY4" fmla="*/ 469900 h 1651000"/>
              <a:gd name="connsiteX5" fmla="*/ 5067300 w 9169400"/>
              <a:gd name="connsiteY5" fmla="*/ 622300 h 1651000"/>
              <a:gd name="connsiteX6" fmla="*/ 6197600 w 9169400"/>
              <a:gd name="connsiteY6" fmla="*/ 482600 h 1651000"/>
              <a:gd name="connsiteX7" fmla="*/ 7785100 w 9169400"/>
              <a:gd name="connsiteY7" fmla="*/ 63500 h 1651000"/>
              <a:gd name="connsiteX8" fmla="*/ 9156700 w 9169400"/>
              <a:gd name="connsiteY8" fmla="*/ 0 h 1651000"/>
              <a:gd name="connsiteX9" fmla="*/ 9169400 w 9169400"/>
              <a:gd name="connsiteY9" fmla="*/ 1651000 h 1651000"/>
              <a:gd name="connsiteX10" fmla="*/ 0 w 9169400"/>
              <a:gd name="connsiteY10" fmla="*/ 1651000 h 1651000"/>
              <a:gd name="connsiteX11" fmla="*/ 12700 w 9169400"/>
              <a:gd name="connsiteY11" fmla="*/ 571500 h 1651000"/>
              <a:gd name="connsiteX0" fmla="*/ 12700 w 9169400"/>
              <a:gd name="connsiteY0" fmla="*/ 571500 h 1651000"/>
              <a:gd name="connsiteX1" fmla="*/ 863600 w 9169400"/>
              <a:gd name="connsiteY1" fmla="*/ 342900 h 1651000"/>
              <a:gd name="connsiteX2" fmla="*/ 2794000 w 9169400"/>
              <a:gd name="connsiteY2" fmla="*/ 355600 h 1651000"/>
              <a:gd name="connsiteX3" fmla="*/ 3873500 w 9169400"/>
              <a:gd name="connsiteY3" fmla="*/ 469900 h 1651000"/>
              <a:gd name="connsiteX4" fmla="*/ 5067300 w 9169400"/>
              <a:gd name="connsiteY4" fmla="*/ 622300 h 1651000"/>
              <a:gd name="connsiteX5" fmla="*/ 6197600 w 9169400"/>
              <a:gd name="connsiteY5" fmla="*/ 482600 h 1651000"/>
              <a:gd name="connsiteX6" fmla="*/ 7785100 w 9169400"/>
              <a:gd name="connsiteY6" fmla="*/ 63500 h 1651000"/>
              <a:gd name="connsiteX7" fmla="*/ 9156700 w 9169400"/>
              <a:gd name="connsiteY7" fmla="*/ 0 h 1651000"/>
              <a:gd name="connsiteX8" fmla="*/ 9169400 w 9169400"/>
              <a:gd name="connsiteY8" fmla="*/ 1651000 h 1651000"/>
              <a:gd name="connsiteX9" fmla="*/ 0 w 9169400"/>
              <a:gd name="connsiteY9" fmla="*/ 1651000 h 1651000"/>
              <a:gd name="connsiteX10" fmla="*/ 12700 w 9169400"/>
              <a:gd name="connsiteY10" fmla="*/ 571500 h 1651000"/>
              <a:gd name="connsiteX0" fmla="*/ 12700 w 9169400"/>
              <a:gd name="connsiteY0" fmla="*/ 571500 h 1651000"/>
              <a:gd name="connsiteX1" fmla="*/ 863600 w 9169400"/>
              <a:gd name="connsiteY1" fmla="*/ 342900 h 1651000"/>
              <a:gd name="connsiteX2" fmla="*/ 2565400 w 9169400"/>
              <a:gd name="connsiteY2" fmla="*/ 317500 h 1651000"/>
              <a:gd name="connsiteX3" fmla="*/ 3873500 w 9169400"/>
              <a:gd name="connsiteY3" fmla="*/ 469900 h 1651000"/>
              <a:gd name="connsiteX4" fmla="*/ 5067300 w 9169400"/>
              <a:gd name="connsiteY4" fmla="*/ 622300 h 1651000"/>
              <a:gd name="connsiteX5" fmla="*/ 6197600 w 9169400"/>
              <a:gd name="connsiteY5" fmla="*/ 482600 h 1651000"/>
              <a:gd name="connsiteX6" fmla="*/ 7785100 w 9169400"/>
              <a:gd name="connsiteY6" fmla="*/ 63500 h 1651000"/>
              <a:gd name="connsiteX7" fmla="*/ 9156700 w 9169400"/>
              <a:gd name="connsiteY7" fmla="*/ 0 h 1651000"/>
              <a:gd name="connsiteX8" fmla="*/ 9169400 w 9169400"/>
              <a:gd name="connsiteY8" fmla="*/ 1651000 h 1651000"/>
              <a:gd name="connsiteX9" fmla="*/ 0 w 9169400"/>
              <a:gd name="connsiteY9" fmla="*/ 1651000 h 1651000"/>
              <a:gd name="connsiteX10" fmla="*/ 12700 w 9169400"/>
              <a:gd name="connsiteY10" fmla="*/ 571500 h 1651000"/>
              <a:gd name="connsiteX0" fmla="*/ 12700 w 9169400"/>
              <a:gd name="connsiteY0" fmla="*/ 571500 h 1651000"/>
              <a:gd name="connsiteX1" fmla="*/ 863600 w 9169400"/>
              <a:gd name="connsiteY1" fmla="*/ 342900 h 1651000"/>
              <a:gd name="connsiteX2" fmla="*/ 2565400 w 9169400"/>
              <a:gd name="connsiteY2" fmla="*/ 317500 h 1651000"/>
              <a:gd name="connsiteX3" fmla="*/ 3873500 w 9169400"/>
              <a:gd name="connsiteY3" fmla="*/ 469900 h 1651000"/>
              <a:gd name="connsiteX4" fmla="*/ 5067300 w 9169400"/>
              <a:gd name="connsiteY4" fmla="*/ 622300 h 1651000"/>
              <a:gd name="connsiteX5" fmla="*/ 6197600 w 9169400"/>
              <a:gd name="connsiteY5" fmla="*/ 482600 h 1651000"/>
              <a:gd name="connsiteX6" fmla="*/ 7785100 w 9169400"/>
              <a:gd name="connsiteY6" fmla="*/ 63500 h 1651000"/>
              <a:gd name="connsiteX7" fmla="*/ 9156700 w 9169400"/>
              <a:gd name="connsiteY7" fmla="*/ 0 h 1651000"/>
              <a:gd name="connsiteX8" fmla="*/ 9169400 w 9169400"/>
              <a:gd name="connsiteY8" fmla="*/ 1651000 h 1651000"/>
              <a:gd name="connsiteX9" fmla="*/ 0 w 9169400"/>
              <a:gd name="connsiteY9" fmla="*/ 1651000 h 1651000"/>
              <a:gd name="connsiteX10" fmla="*/ 12700 w 9169400"/>
              <a:gd name="connsiteY10" fmla="*/ 571500 h 1651000"/>
              <a:gd name="connsiteX0" fmla="*/ 12700 w 9169400"/>
              <a:gd name="connsiteY0" fmla="*/ 571500 h 1651000"/>
              <a:gd name="connsiteX1" fmla="*/ 1143000 w 9169400"/>
              <a:gd name="connsiteY1" fmla="*/ 431800 h 1651000"/>
              <a:gd name="connsiteX2" fmla="*/ 2565400 w 9169400"/>
              <a:gd name="connsiteY2" fmla="*/ 317500 h 1651000"/>
              <a:gd name="connsiteX3" fmla="*/ 3873500 w 9169400"/>
              <a:gd name="connsiteY3" fmla="*/ 469900 h 1651000"/>
              <a:gd name="connsiteX4" fmla="*/ 5067300 w 9169400"/>
              <a:gd name="connsiteY4" fmla="*/ 622300 h 1651000"/>
              <a:gd name="connsiteX5" fmla="*/ 6197600 w 9169400"/>
              <a:gd name="connsiteY5" fmla="*/ 482600 h 1651000"/>
              <a:gd name="connsiteX6" fmla="*/ 7785100 w 9169400"/>
              <a:gd name="connsiteY6" fmla="*/ 63500 h 1651000"/>
              <a:gd name="connsiteX7" fmla="*/ 9156700 w 9169400"/>
              <a:gd name="connsiteY7" fmla="*/ 0 h 1651000"/>
              <a:gd name="connsiteX8" fmla="*/ 9169400 w 9169400"/>
              <a:gd name="connsiteY8" fmla="*/ 1651000 h 1651000"/>
              <a:gd name="connsiteX9" fmla="*/ 0 w 9169400"/>
              <a:gd name="connsiteY9" fmla="*/ 1651000 h 1651000"/>
              <a:gd name="connsiteX10" fmla="*/ 12700 w 9169400"/>
              <a:gd name="connsiteY10" fmla="*/ 571500 h 1651000"/>
              <a:gd name="connsiteX0" fmla="*/ 12700 w 9169400"/>
              <a:gd name="connsiteY0" fmla="*/ 571500 h 1651000"/>
              <a:gd name="connsiteX1" fmla="*/ 1143000 w 9169400"/>
              <a:gd name="connsiteY1" fmla="*/ 431800 h 1651000"/>
              <a:gd name="connsiteX2" fmla="*/ 2565400 w 9169400"/>
              <a:gd name="connsiteY2" fmla="*/ 317500 h 1651000"/>
              <a:gd name="connsiteX3" fmla="*/ 3873500 w 9169400"/>
              <a:gd name="connsiteY3" fmla="*/ 469900 h 1651000"/>
              <a:gd name="connsiteX4" fmla="*/ 5067300 w 9169400"/>
              <a:gd name="connsiteY4" fmla="*/ 622300 h 1651000"/>
              <a:gd name="connsiteX5" fmla="*/ 6197600 w 9169400"/>
              <a:gd name="connsiteY5" fmla="*/ 482600 h 1651000"/>
              <a:gd name="connsiteX6" fmla="*/ 7785100 w 9169400"/>
              <a:gd name="connsiteY6" fmla="*/ 63500 h 1651000"/>
              <a:gd name="connsiteX7" fmla="*/ 9156700 w 9169400"/>
              <a:gd name="connsiteY7" fmla="*/ 0 h 1651000"/>
              <a:gd name="connsiteX8" fmla="*/ 9169400 w 9169400"/>
              <a:gd name="connsiteY8" fmla="*/ 1651000 h 1651000"/>
              <a:gd name="connsiteX9" fmla="*/ 0 w 9169400"/>
              <a:gd name="connsiteY9" fmla="*/ 1651000 h 1651000"/>
              <a:gd name="connsiteX10" fmla="*/ 12700 w 9169400"/>
              <a:gd name="connsiteY10" fmla="*/ 571500 h 1651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169400" h="1651000">
                <a:moveTo>
                  <a:pt x="12700" y="571500"/>
                </a:moveTo>
                <a:cubicBezTo>
                  <a:pt x="662517" y="469900"/>
                  <a:pt x="717550" y="474133"/>
                  <a:pt x="1143000" y="431800"/>
                </a:cubicBezTo>
                <a:cubicBezTo>
                  <a:pt x="1568450" y="389467"/>
                  <a:pt x="2110317" y="311150"/>
                  <a:pt x="2565400" y="317500"/>
                </a:cubicBezTo>
                <a:cubicBezTo>
                  <a:pt x="3020483" y="323850"/>
                  <a:pt x="3456517" y="419100"/>
                  <a:pt x="3873500" y="469900"/>
                </a:cubicBezTo>
                <a:cubicBezTo>
                  <a:pt x="4290483" y="520700"/>
                  <a:pt x="4679950" y="620183"/>
                  <a:pt x="5067300" y="622300"/>
                </a:cubicBezTo>
                <a:cubicBezTo>
                  <a:pt x="5454650" y="624417"/>
                  <a:pt x="5744633" y="575733"/>
                  <a:pt x="6197600" y="482600"/>
                </a:cubicBezTo>
                <a:cubicBezTo>
                  <a:pt x="6650567" y="389467"/>
                  <a:pt x="7253817" y="131233"/>
                  <a:pt x="7785100" y="63500"/>
                </a:cubicBezTo>
                <a:cubicBezTo>
                  <a:pt x="8316383" y="-4233"/>
                  <a:pt x="8453967" y="21167"/>
                  <a:pt x="9156700" y="0"/>
                </a:cubicBezTo>
                <a:cubicBezTo>
                  <a:pt x="9160933" y="550333"/>
                  <a:pt x="9165167" y="1100667"/>
                  <a:pt x="9169400" y="1651000"/>
                </a:cubicBezTo>
                <a:lnTo>
                  <a:pt x="0" y="1651000"/>
                </a:lnTo>
                <a:lnTo>
                  <a:pt x="12700" y="571500"/>
                </a:lnTo>
                <a:close/>
              </a:path>
            </a:pathLst>
          </a:cu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Multiply 3"/>
          <p:cNvSpPr/>
          <p:nvPr/>
        </p:nvSpPr>
        <p:spPr>
          <a:xfrm>
            <a:off x="681306" y="2724150"/>
            <a:ext cx="1075788" cy="1075788"/>
          </a:xfrm>
          <a:prstGeom prst="mathMultiply">
            <a:avLst/>
          </a:prstGeom>
          <a:solidFill>
            <a:srgbClr val="FF000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9" name="Multiply 8"/>
          <p:cNvSpPr/>
          <p:nvPr/>
        </p:nvSpPr>
        <p:spPr>
          <a:xfrm>
            <a:off x="3124200" y="2724150"/>
            <a:ext cx="1075788" cy="1075788"/>
          </a:xfrm>
          <a:prstGeom prst="mathMultiply">
            <a:avLst/>
          </a:prstGeom>
          <a:solidFill>
            <a:srgbClr val="FF000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0" name="Multiply 9"/>
          <p:cNvSpPr/>
          <p:nvPr/>
        </p:nvSpPr>
        <p:spPr>
          <a:xfrm>
            <a:off x="6781800" y="2724150"/>
            <a:ext cx="1075788" cy="1075788"/>
          </a:xfrm>
          <a:prstGeom prst="mathMultiply">
            <a:avLst/>
          </a:prstGeom>
          <a:solidFill>
            <a:srgbClr val="FF000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1" name="Sun 10"/>
          <p:cNvSpPr/>
          <p:nvPr/>
        </p:nvSpPr>
        <p:spPr>
          <a:xfrm>
            <a:off x="6400800" y="133350"/>
            <a:ext cx="1219200" cy="1219200"/>
          </a:xfrm>
          <a:prstGeom prst="sun">
            <a:avLst>
              <a:gd name="adj" fmla="val 32500"/>
            </a:avLst>
          </a:prstGeom>
          <a:solidFill>
            <a:srgbClr val="FFFF0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2" name="Cloud 11"/>
          <p:cNvSpPr/>
          <p:nvPr/>
        </p:nvSpPr>
        <p:spPr>
          <a:xfrm>
            <a:off x="5410200" y="742950"/>
            <a:ext cx="1447800" cy="914400"/>
          </a:xfrm>
          <a:prstGeom prst="cloud">
            <a:avLst/>
          </a:prstGeom>
          <a:solidFill>
            <a:schemeClr val="bg1"/>
          </a:solidFill>
          <a:ln>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610556347"/>
      </p:ext>
    </p:extLst>
  </p:cSld>
  <p:clrMapOvr>
    <a:masterClrMapping/>
  </p:clrMapOvr>
  <mc:AlternateContent xmlns:mc="http://schemas.openxmlformats.org/markup-compatibility/2006" xmlns:p14="http://schemas.microsoft.com/office/powerpoint/2010/main">
    <mc:Choice Requires="p14">
      <p:transition spd="slow" p14:dur="2000">
        <p:push/>
      </p:transition>
    </mc:Choice>
    <mc:Fallback xmlns="">
      <p:transition spd="slow">
        <p:push/>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250"/>
                                        <p:tgtEl>
                                          <p:spTgt spid="4"/>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9"/>
                                        </p:tgtEl>
                                        <p:attrNameLst>
                                          <p:attrName>style.visibility</p:attrName>
                                        </p:attrNameLst>
                                      </p:cBhvr>
                                      <p:to>
                                        <p:strVal val="visible"/>
                                      </p:to>
                                    </p:set>
                                    <p:animEffect transition="in" filter="fade">
                                      <p:cBhvr>
                                        <p:cTn id="12" dur="250"/>
                                        <p:tgtEl>
                                          <p:spTgt spid="9"/>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10"/>
                                        </p:tgtEl>
                                        <p:attrNameLst>
                                          <p:attrName>style.visibility</p:attrName>
                                        </p:attrNameLst>
                                      </p:cBhvr>
                                      <p:to>
                                        <p:strVal val="visible"/>
                                      </p:to>
                                    </p:set>
                                    <p:animEffect transition="in" filter="fade">
                                      <p:cBhvr>
                                        <p:cTn id="17" dur="25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9" grpId="0" animBg="1"/>
      <p:bldP spid="10" grpId="0"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232936555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584"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2" name="Cloud Callout 11"/>
          <p:cNvSpPr/>
          <p:nvPr/>
        </p:nvSpPr>
        <p:spPr>
          <a:xfrm>
            <a:off x="2819400" y="438150"/>
            <a:ext cx="4343400" cy="2910078"/>
          </a:xfrm>
          <a:prstGeom prst="cloudCallout">
            <a:avLst>
              <a:gd name="adj1" fmla="val -48702"/>
              <a:gd name="adj2" fmla="val 62088"/>
            </a:avLst>
          </a:prstGeom>
          <a:solidFill>
            <a:schemeClr val="accent5">
              <a:lumMod val="20000"/>
              <a:lumOff val="80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grpSp>
        <p:nvGrpSpPr>
          <p:cNvPr id="22" name="Group 21"/>
          <p:cNvGrpSpPr/>
          <p:nvPr/>
        </p:nvGrpSpPr>
        <p:grpSpPr>
          <a:xfrm>
            <a:off x="3832486" y="1855328"/>
            <a:ext cx="800296" cy="886657"/>
            <a:chOff x="3412793" y="3119917"/>
            <a:chExt cx="988458" cy="1095124"/>
          </a:xfrm>
        </p:grpSpPr>
        <p:sp>
          <p:nvSpPr>
            <p:cNvPr id="23" name="Parallelogram 22"/>
            <p:cNvSpPr/>
            <p:nvPr/>
          </p:nvSpPr>
          <p:spPr>
            <a:xfrm flipH="1">
              <a:off x="3412793" y="3119917"/>
              <a:ext cx="988458" cy="1095124"/>
            </a:xfrm>
            <a:prstGeom prst="parallelogram">
              <a:avLst>
                <a:gd name="adj" fmla="val 27409"/>
              </a:avLst>
            </a:prstGeom>
            <a:solidFill>
              <a:schemeClr val="bg1"/>
            </a:solidFill>
            <a:ln>
              <a:no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grpSp>
          <p:nvGrpSpPr>
            <p:cNvPr id="24" name="Group 23"/>
            <p:cNvGrpSpPr/>
            <p:nvPr/>
          </p:nvGrpSpPr>
          <p:grpSpPr>
            <a:xfrm>
              <a:off x="3488531" y="3156897"/>
              <a:ext cx="685802" cy="307680"/>
              <a:chOff x="3505198" y="3156897"/>
              <a:chExt cx="588168" cy="307680"/>
            </a:xfrm>
          </p:grpSpPr>
          <p:sp>
            <p:nvSpPr>
              <p:cNvPr id="35" name="Parallelogram 34"/>
              <p:cNvSpPr/>
              <p:nvPr/>
            </p:nvSpPr>
            <p:spPr>
              <a:xfrm flipH="1">
                <a:off x="3505198" y="3156897"/>
                <a:ext cx="152401" cy="307680"/>
              </a:xfrm>
              <a:prstGeom prst="parallelogram">
                <a:avLst>
                  <a:gd name="adj" fmla="val 47819"/>
                </a:avLst>
              </a:prstGeom>
              <a:solidFill>
                <a:schemeClr val="bg1"/>
              </a:solidFill>
              <a:ln>
                <a:no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36" name="Parallelogram 35"/>
              <p:cNvSpPr/>
              <p:nvPr/>
            </p:nvSpPr>
            <p:spPr>
              <a:xfrm flipH="1">
                <a:off x="3650454" y="3156897"/>
                <a:ext cx="152401" cy="307680"/>
              </a:xfrm>
              <a:prstGeom prst="parallelogram">
                <a:avLst>
                  <a:gd name="adj" fmla="val 47819"/>
                </a:avLst>
              </a:prstGeom>
              <a:solidFill>
                <a:schemeClr val="bg1"/>
              </a:solidFill>
              <a:ln>
                <a:no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37" name="Parallelogram 36"/>
              <p:cNvSpPr/>
              <p:nvPr/>
            </p:nvSpPr>
            <p:spPr>
              <a:xfrm flipH="1">
                <a:off x="3795710" y="3156897"/>
                <a:ext cx="152401" cy="307680"/>
              </a:xfrm>
              <a:prstGeom prst="parallelogram">
                <a:avLst>
                  <a:gd name="adj" fmla="val 47819"/>
                </a:avLst>
              </a:prstGeom>
              <a:solidFill>
                <a:schemeClr val="bg1"/>
              </a:solidFill>
              <a:ln>
                <a:no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38" name="Parallelogram 37"/>
              <p:cNvSpPr/>
              <p:nvPr/>
            </p:nvSpPr>
            <p:spPr>
              <a:xfrm flipH="1">
                <a:off x="3940965" y="3156897"/>
                <a:ext cx="152401" cy="307680"/>
              </a:xfrm>
              <a:prstGeom prst="parallelogram">
                <a:avLst>
                  <a:gd name="adj" fmla="val 47819"/>
                </a:avLst>
              </a:prstGeom>
              <a:solidFill>
                <a:schemeClr val="bg1"/>
              </a:solidFill>
              <a:ln>
                <a:no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grpSp>
        <p:grpSp>
          <p:nvGrpSpPr>
            <p:cNvPr id="25" name="Group 24"/>
            <p:cNvGrpSpPr/>
            <p:nvPr/>
          </p:nvGrpSpPr>
          <p:grpSpPr>
            <a:xfrm>
              <a:off x="3581398" y="3508857"/>
              <a:ext cx="685802" cy="307680"/>
              <a:chOff x="3505198" y="3156897"/>
              <a:chExt cx="588168" cy="307680"/>
            </a:xfrm>
          </p:grpSpPr>
          <p:sp>
            <p:nvSpPr>
              <p:cNvPr id="31" name="Parallelogram 30"/>
              <p:cNvSpPr/>
              <p:nvPr/>
            </p:nvSpPr>
            <p:spPr>
              <a:xfrm flipH="1">
                <a:off x="3505198" y="3156897"/>
                <a:ext cx="152401" cy="307680"/>
              </a:xfrm>
              <a:prstGeom prst="parallelogram">
                <a:avLst>
                  <a:gd name="adj" fmla="val 47819"/>
                </a:avLst>
              </a:prstGeom>
              <a:solidFill>
                <a:schemeClr val="bg1"/>
              </a:solidFill>
              <a:ln>
                <a:no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32" name="Parallelogram 31"/>
              <p:cNvSpPr/>
              <p:nvPr/>
            </p:nvSpPr>
            <p:spPr>
              <a:xfrm flipH="1">
                <a:off x="3650454" y="3156897"/>
                <a:ext cx="152401" cy="307680"/>
              </a:xfrm>
              <a:prstGeom prst="parallelogram">
                <a:avLst>
                  <a:gd name="adj" fmla="val 47819"/>
                </a:avLst>
              </a:prstGeom>
              <a:solidFill>
                <a:schemeClr val="bg1"/>
              </a:solidFill>
              <a:ln>
                <a:no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33" name="Parallelogram 32"/>
              <p:cNvSpPr/>
              <p:nvPr/>
            </p:nvSpPr>
            <p:spPr>
              <a:xfrm flipH="1">
                <a:off x="3795710" y="3156897"/>
                <a:ext cx="152401" cy="307680"/>
              </a:xfrm>
              <a:prstGeom prst="parallelogram">
                <a:avLst>
                  <a:gd name="adj" fmla="val 47819"/>
                </a:avLst>
              </a:prstGeom>
              <a:solidFill>
                <a:schemeClr val="bg1"/>
              </a:solidFill>
              <a:ln>
                <a:no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34" name="Parallelogram 33"/>
              <p:cNvSpPr/>
              <p:nvPr/>
            </p:nvSpPr>
            <p:spPr>
              <a:xfrm flipH="1">
                <a:off x="3940965" y="3156897"/>
                <a:ext cx="152401" cy="307680"/>
              </a:xfrm>
              <a:prstGeom prst="parallelogram">
                <a:avLst>
                  <a:gd name="adj" fmla="val 47819"/>
                </a:avLst>
              </a:prstGeom>
              <a:solidFill>
                <a:schemeClr val="bg1"/>
              </a:solidFill>
              <a:ln>
                <a:no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grpSp>
        <p:grpSp>
          <p:nvGrpSpPr>
            <p:cNvPr id="26" name="Group 25"/>
            <p:cNvGrpSpPr/>
            <p:nvPr/>
          </p:nvGrpSpPr>
          <p:grpSpPr>
            <a:xfrm>
              <a:off x="3672838" y="3851910"/>
              <a:ext cx="685802" cy="307680"/>
              <a:chOff x="3505198" y="3156897"/>
              <a:chExt cx="588168" cy="307680"/>
            </a:xfrm>
          </p:grpSpPr>
          <p:sp>
            <p:nvSpPr>
              <p:cNvPr id="27" name="Parallelogram 26"/>
              <p:cNvSpPr/>
              <p:nvPr/>
            </p:nvSpPr>
            <p:spPr>
              <a:xfrm flipH="1">
                <a:off x="3505198" y="3156897"/>
                <a:ext cx="152401" cy="307680"/>
              </a:xfrm>
              <a:prstGeom prst="parallelogram">
                <a:avLst>
                  <a:gd name="adj" fmla="val 47819"/>
                </a:avLst>
              </a:prstGeom>
              <a:solidFill>
                <a:schemeClr val="bg1"/>
              </a:solidFill>
              <a:ln>
                <a:no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28" name="Parallelogram 27"/>
              <p:cNvSpPr/>
              <p:nvPr/>
            </p:nvSpPr>
            <p:spPr>
              <a:xfrm flipH="1">
                <a:off x="3650454" y="3156897"/>
                <a:ext cx="152401" cy="307680"/>
              </a:xfrm>
              <a:prstGeom prst="parallelogram">
                <a:avLst>
                  <a:gd name="adj" fmla="val 47819"/>
                </a:avLst>
              </a:prstGeom>
              <a:solidFill>
                <a:schemeClr val="bg1"/>
              </a:solidFill>
              <a:ln>
                <a:no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29" name="Parallelogram 28"/>
              <p:cNvSpPr/>
              <p:nvPr/>
            </p:nvSpPr>
            <p:spPr>
              <a:xfrm flipH="1">
                <a:off x="3795710" y="3156897"/>
                <a:ext cx="152401" cy="307680"/>
              </a:xfrm>
              <a:prstGeom prst="parallelogram">
                <a:avLst>
                  <a:gd name="adj" fmla="val 47819"/>
                </a:avLst>
              </a:prstGeom>
              <a:solidFill>
                <a:schemeClr val="bg1"/>
              </a:solidFill>
              <a:ln>
                <a:no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30" name="Parallelogram 29"/>
              <p:cNvSpPr/>
              <p:nvPr/>
            </p:nvSpPr>
            <p:spPr>
              <a:xfrm flipH="1">
                <a:off x="3940965" y="3156897"/>
                <a:ext cx="152401" cy="307680"/>
              </a:xfrm>
              <a:prstGeom prst="parallelogram">
                <a:avLst>
                  <a:gd name="adj" fmla="val 47819"/>
                </a:avLst>
              </a:prstGeom>
              <a:solidFill>
                <a:schemeClr val="bg1"/>
              </a:solidFill>
              <a:ln>
                <a:no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grpSp>
      </p:grpSp>
      <p:sp>
        <p:nvSpPr>
          <p:cNvPr id="13" name="Freeform 12"/>
          <p:cNvSpPr/>
          <p:nvPr/>
        </p:nvSpPr>
        <p:spPr>
          <a:xfrm flipH="1">
            <a:off x="-12700" y="3505200"/>
            <a:ext cx="9169400" cy="1651000"/>
          </a:xfrm>
          <a:custGeom>
            <a:avLst/>
            <a:gdLst>
              <a:gd name="connsiteX0" fmla="*/ 12700 w 9169400"/>
              <a:gd name="connsiteY0" fmla="*/ 571500 h 1651000"/>
              <a:gd name="connsiteX1" fmla="*/ 622300 w 9169400"/>
              <a:gd name="connsiteY1" fmla="*/ 431800 h 1651000"/>
              <a:gd name="connsiteX2" fmla="*/ 1143000 w 9169400"/>
              <a:gd name="connsiteY2" fmla="*/ 279400 h 1651000"/>
              <a:gd name="connsiteX3" fmla="*/ 1701800 w 9169400"/>
              <a:gd name="connsiteY3" fmla="*/ 228600 h 1651000"/>
              <a:gd name="connsiteX4" fmla="*/ 2794000 w 9169400"/>
              <a:gd name="connsiteY4" fmla="*/ 355600 h 1651000"/>
              <a:gd name="connsiteX5" fmla="*/ 3873500 w 9169400"/>
              <a:gd name="connsiteY5" fmla="*/ 469900 h 1651000"/>
              <a:gd name="connsiteX6" fmla="*/ 5067300 w 9169400"/>
              <a:gd name="connsiteY6" fmla="*/ 622300 h 1651000"/>
              <a:gd name="connsiteX7" fmla="*/ 6261100 w 9169400"/>
              <a:gd name="connsiteY7" fmla="*/ 558800 h 1651000"/>
              <a:gd name="connsiteX8" fmla="*/ 7086600 w 9169400"/>
              <a:gd name="connsiteY8" fmla="*/ 177800 h 1651000"/>
              <a:gd name="connsiteX9" fmla="*/ 9156700 w 9169400"/>
              <a:gd name="connsiteY9" fmla="*/ 0 h 1651000"/>
              <a:gd name="connsiteX10" fmla="*/ 9169400 w 9169400"/>
              <a:gd name="connsiteY10" fmla="*/ 1651000 h 1651000"/>
              <a:gd name="connsiteX11" fmla="*/ 0 w 9169400"/>
              <a:gd name="connsiteY11" fmla="*/ 1651000 h 1651000"/>
              <a:gd name="connsiteX12" fmla="*/ 12700 w 9169400"/>
              <a:gd name="connsiteY12" fmla="*/ 571500 h 1651000"/>
              <a:gd name="connsiteX0" fmla="*/ 12700 w 9169400"/>
              <a:gd name="connsiteY0" fmla="*/ 571500 h 1651000"/>
              <a:gd name="connsiteX1" fmla="*/ 622300 w 9169400"/>
              <a:gd name="connsiteY1" fmla="*/ 431800 h 1651000"/>
              <a:gd name="connsiteX2" fmla="*/ 1143000 w 9169400"/>
              <a:gd name="connsiteY2" fmla="*/ 279400 h 1651000"/>
              <a:gd name="connsiteX3" fmla="*/ 1701800 w 9169400"/>
              <a:gd name="connsiteY3" fmla="*/ 228600 h 1651000"/>
              <a:gd name="connsiteX4" fmla="*/ 2794000 w 9169400"/>
              <a:gd name="connsiteY4" fmla="*/ 355600 h 1651000"/>
              <a:gd name="connsiteX5" fmla="*/ 3873500 w 9169400"/>
              <a:gd name="connsiteY5" fmla="*/ 469900 h 1651000"/>
              <a:gd name="connsiteX6" fmla="*/ 5067300 w 9169400"/>
              <a:gd name="connsiteY6" fmla="*/ 622300 h 1651000"/>
              <a:gd name="connsiteX7" fmla="*/ 6261100 w 9169400"/>
              <a:gd name="connsiteY7" fmla="*/ 558800 h 1651000"/>
              <a:gd name="connsiteX8" fmla="*/ 7086600 w 9169400"/>
              <a:gd name="connsiteY8" fmla="*/ 177800 h 1651000"/>
              <a:gd name="connsiteX9" fmla="*/ 9156700 w 9169400"/>
              <a:gd name="connsiteY9" fmla="*/ 0 h 1651000"/>
              <a:gd name="connsiteX10" fmla="*/ 9169400 w 9169400"/>
              <a:gd name="connsiteY10" fmla="*/ 1651000 h 1651000"/>
              <a:gd name="connsiteX11" fmla="*/ 0 w 9169400"/>
              <a:gd name="connsiteY11" fmla="*/ 1651000 h 1651000"/>
              <a:gd name="connsiteX12" fmla="*/ 12700 w 9169400"/>
              <a:gd name="connsiteY12" fmla="*/ 571500 h 1651000"/>
              <a:gd name="connsiteX0" fmla="*/ 12700 w 9169400"/>
              <a:gd name="connsiteY0" fmla="*/ 571500 h 1651000"/>
              <a:gd name="connsiteX1" fmla="*/ 622300 w 9169400"/>
              <a:gd name="connsiteY1" fmla="*/ 431800 h 1651000"/>
              <a:gd name="connsiteX2" fmla="*/ 1143000 w 9169400"/>
              <a:gd name="connsiteY2" fmla="*/ 279400 h 1651000"/>
              <a:gd name="connsiteX3" fmla="*/ 1701800 w 9169400"/>
              <a:gd name="connsiteY3" fmla="*/ 228600 h 1651000"/>
              <a:gd name="connsiteX4" fmla="*/ 2794000 w 9169400"/>
              <a:gd name="connsiteY4" fmla="*/ 355600 h 1651000"/>
              <a:gd name="connsiteX5" fmla="*/ 3873500 w 9169400"/>
              <a:gd name="connsiteY5" fmla="*/ 469900 h 1651000"/>
              <a:gd name="connsiteX6" fmla="*/ 5067300 w 9169400"/>
              <a:gd name="connsiteY6" fmla="*/ 622300 h 1651000"/>
              <a:gd name="connsiteX7" fmla="*/ 6261100 w 9169400"/>
              <a:gd name="connsiteY7" fmla="*/ 558800 h 1651000"/>
              <a:gd name="connsiteX8" fmla="*/ 7086600 w 9169400"/>
              <a:gd name="connsiteY8" fmla="*/ 177800 h 1651000"/>
              <a:gd name="connsiteX9" fmla="*/ 9156700 w 9169400"/>
              <a:gd name="connsiteY9" fmla="*/ 0 h 1651000"/>
              <a:gd name="connsiteX10" fmla="*/ 9169400 w 9169400"/>
              <a:gd name="connsiteY10" fmla="*/ 1651000 h 1651000"/>
              <a:gd name="connsiteX11" fmla="*/ 0 w 9169400"/>
              <a:gd name="connsiteY11" fmla="*/ 1651000 h 1651000"/>
              <a:gd name="connsiteX12" fmla="*/ 12700 w 9169400"/>
              <a:gd name="connsiteY12" fmla="*/ 571500 h 1651000"/>
              <a:gd name="connsiteX0" fmla="*/ 12700 w 9169400"/>
              <a:gd name="connsiteY0" fmla="*/ 571500 h 1651000"/>
              <a:gd name="connsiteX1" fmla="*/ 622300 w 9169400"/>
              <a:gd name="connsiteY1" fmla="*/ 431800 h 1651000"/>
              <a:gd name="connsiteX2" fmla="*/ 1143000 w 9169400"/>
              <a:gd name="connsiteY2" fmla="*/ 279400 h 1651000"/>
              <a:gd name="connsiteX3" fmla="*/ 1701800 w 9169400"/>
              <a:gd name="connsiteY3" fmla="*/ 228600 h 1651000"/>
              <a:gd name="connsiteX4" fmla="*/ 2794000 w 9169400"/>
              <a:gd name="connsiteY4" fmla="*/ 355600 h 1651000"/>
              <a:gd name="connsiteX5" fmla="*/ 3873500 w 9169400"/>
              <a:gd name="connsiteY5" fmla="*/ 469900 h 1651000"/>
              <a:gd name="connsiteX6" fmla="*/ 5067300 w 9169400"/>
              <a:gd name="connsiteY6" fmla="*/ 622300 h 1651000"/>
              <a:gd name="connsiteX7" fmla="*/ 6261100 w 9169400"/>
              <a:gd name="connsiteY7" fmla="*/ 558800 h 1651000"/>
              <a:gd name="connsiteX8" fmla="*/ 7086600 w 9169400"/>
              <a:gd name="connsiteY8" fmla="*/ 177800 h 1651000"/>
              <a:gd name="connsiteX9" fmla="*/ 9156700 w 9169400"/>
              <a:gd name="connsiteY9" fmla="*/ 0 h 1651000"/>
              <a:gd name="connsiteX10" fmla="*/ 9169400 w 9169400"/>
              <a:gd name="connsiteY10" fmla="*/ 1651000 h 1651000"/>
              <a:gd name="connsiteX11" fmla="*/ 0 w 9169400"/>
              <a:gd name="connsiteY11" fmla="*/ 1651000 h 1651000"/>
              <a:gd name="connsiteX12" fmla="*/ 12700 w 9169400"/>
              <a:gd name="connsiteY12" fmla="*/ 571500 h 1651000"/>
              <a:gd name="connsiteX0" fmla="*/ 12700 w 9169400"/>
              <a:gd name="connsiteY0" fmla="*/ 571500 h 1651000"/>
              <a:gd name="connsiteX1" fmla="*/ 622300 w 9169400"/>
              <a:gd name="connsiteY1" fmla="*/ 431800 h 1651000"/>
              <a:gd name="connsiteX2" fmla="*/ 1143000 w 9169400"/>
              <a:gd name="connsiteY2" fmla="*/ 279400 h 1651000"/>
              <a:gd name="connsiteX3" fmla="*/ 1701800 w 9169400"/>
              <a:gd name="connsiteY3" fmla="*/ 228600 h 1651000"/>
              <a:gd name="connsiteX4" fmla="*/ 2794000 w 9169400"/>
              <a:gd name="connsiteY4" fmla="*/ 355600 h 1651000"/>
              <a:gd name="connsiteX5" fmla="*/ 3873500 w 9169400"/>
              <a:gd name="connsiteY5" fmla="*/ 469900 h 1651000"/>
              <a:gd name="connsiteX6" fmla="*/ 5067300 w 9169400"/>
              <a:gd name="connsiteY6" fmla="*/ 622300 h 1651000"/>
              <a:gd name="connsiteX7" fmla="*/ 6261100 w 9169400"/>
              <a:gd name="connsiteY7" fmla="*/ 558800 h 1651000"/>
              <a:gd name="connsiteX8" fmla="*/ 7086600 w 9169400"/>
              <a:gd name="connsiteY8" fmla="*/ 177800 h 1651000"/>
              <a:gd name="connsiteX9" fmla="*/ 9156700 w 9169400"/>
              <a:gd name="connsiteY9" fmla="*/ 0 h 1651000"/>
              <a:gd name="connsiteX10" fmla="*/ 9169400 w 9169400"/>
              <a:gd name="connsiteY10" fmla="*/ 1651000 h 1651000"/>
              <a:gd name="connsiteX11" fmla="*/ 0 w 9169400"/>
              <a:gd name="connsiteY11" fmla="*/ 1651000 h 1651000"/>
              <a:gd name="connsiteX12" fmla="*/ 12700 w 9169400"/>
              <a:gd name="connsiteY12" fmla="*/ 571500 h 1651000"/>
              <a:gd name="connsiteX0" fmla="*/ 12700 w 9169400"/>
              <a:gd name="connsiteY0" fmla="*/ 571500 h 1651000"/>
              <a:gd name="connsiteX1" fmla="*/ 622300 w 9169400"/>
              <a:gd name="connsiteY1" fmla="*/ 431800 h 1651000"/>
              <a:gd name="connsiteX2" fmla="*/ 1143000 w 9169400"/>
              <a:gd name="connsiteY2" fmla="*/ 279400 h 1651000"/>
              <a:gd name="connsiteX3" fmla="*/ 1701800 w 9169400"/>
              <a:gd name="connsiteY3" fmla="*/ 228600 h 1651000"/>
              <a:gd name="connsiteX4" fmla="*/ 2794000 w 9169400"/>
              <a:gd name="connsiteY4" fmla="*/ 355600 h 1651000"/>
              <a:gd name="connsiteX5" fmla="*/ 3873500 w 9169400"/>
              <a:gd name="connsiteY5" fmla="*/ 469900 h 1651000"/>
              <a:gd name="connsiteX6" fmla="*/ 5067300 w 9169400"/>
              <a:gd name="connsiteY6" fmla="*/ 622300 h 1651000"/>
              <a:gd name="connsiteX7" fmla="*/ 6261100 w 9169400"/>
              <a:gd name="connsiteY7" fmla="*/ 558800 h 1651000"/>
              <a:gd name="connsiteX8" fmla="*/ 7086600 w 9169400"/>
              <a:gd name="connsiteY8" fmla="*/ 177800 h 1651000"/>
              <a:gd name="connsiteX9" fmla="*/ 9156700 w 9169400"/>
              <a:gd name="connsiteY9" fmla="*/ 0 h 1651000"/>
              <a:gd name="connsiteX10" fmla="*/ 9169400 w 9169400"/>
              <a:gd name="connsiteY10" fmla="*/ 1651000 h 1651000"/>
              <a:gd name="connsiteX11" fmla="*/ 0 w 9169400"/>
              <a:gd name="connsiteY11" fmla="*/ 1651000 h 1651000"/>
              <a:gd name="connsiteX12" fmla="*/ 12700 w 9169400"/>
              <a:gd name="connsiteY12" fmla="*/ 571500 h 1651000"/>
              <a:gd name="connsiteX0" fmla="*/ 12700 w 9169400"/>
              <a:gd name="connsiteY0" fmla="*/ 571500 h 1651000"/>
              <a:gd name="connsiteX1" fmla="*/ 622300 w 9169400"/>
              <a:gd name="connsiteY1" fmla="*/ 431800 h 1651000"/>
              <a:gd name="connsiteX2" fmla="*/ 1143000 w 9169400"/>
              <a:gd name="connsiteY2" fmla="*/ 279400 h 1651000"/>
              <a:gd name="connsiteX3" fmla="*/ 1701800 w 9169400"/>
              <a:gd name="connsiteY3" fmla="*/ 228600 h 1651000"/>
              <a:gd name="connsiteX4" fmla="*/ 2794000 w 9169400"/>
              <a:gd name="connsiteY4" fmla="*/ 355600 h 1651000"/>
              <a:gd name="connsiteX5" fmla="*/ 3873500 w 9169400"/>
              <a:gd name="connsiteY5" fmla="*/ 469900 h 1651000"/>
              <a:gd name="connsiteX6" fmla="*/ 5067300 w 9169400"/>
              <a:gd name="connsiteY6" fmla="*/ 622300 h 1651000"/>
              <a:gd name="connsiteX7" fmla="*/ 6261100 w 9169400"/>
              <a:gd name="connsiteY7" fmla="*/ 558800 h 1651000"/>
              <a:gd name="connsiteX8" fmla="*/ 7086600 w 9169400"/>
              <a:gd name="connsiteY8" fmla="*/ 177800 h 1651000"/>
              <a:gd name="connsiteX9" fmla="*/ 9156700 w 9169400"/>
              <a:gd name="connsiteY9" fmla="*/ 0 h 1651000"/>
              <a:gd name="connsiteX10" fmla="*/ 9169400 w 9169400"/>
              <a:gd name="connsiteY10" fmla="*/ 1651000 h 1651000"/>
              <a:gd name="connsiteX11" fmla="*/ 0 w 9169400"/>
              <a:gd name="connsiteY11" fmla="*/ 1651000 h 1651000"/>
              <a:gd name="connsiteX12" fmla="*/ 12700 w 9169400"/>
              <a:gd name="connsiteY12" fmla="*/ 571500 h 1651000"/>
              <a:gd name="connsiteX0" fmla="*/ 12700 w 9169400"/>
              <a:gd name="connsiteY0" fmla="*/ 571500 h 1651000"/>
              <a:gd name="connsiteX1" fmla="*/ 622300 w 9169400"/>
              <a:gd name="connsiteY1" fmla="*/ 431800 h 1651000"/>
              <a:gd name="connsiteX2" fmla="*/ 1143000 w 9169400"/>
              <a:gd name="connsiteY2" fmla="*/ 279400 h 1651000"/>
              <a:gd name="connsiteX3" fmla="*/ 1701800 w 9169400"/>
              <a:gd name="connsiteY3" fmla="*/ 228600 h 1651000"/>
              <a:gd name="connsiteX4" fmla="*/ 2794000 w 9169400"/>
              <a:gd name="connsiteY4" fmla="*/ 355600 h 1651000"/>
              <a:gd name="connsiteX5" fmla="*/ 3873500 w 9169400"/>
              <a:gd name="connsiteY5" fmla="*/ 469900 h 1651000"/>
              <a:gd name="connsiteX6" fmla="*/ 5067300 w 9169400"/>
              <a:gd name="connsiteY6" fmla="*/ 622300 h 1651000"/>
              <a:gd name="connsiteX7" fmla="*/ 6261100 w 9169400"/>
              <a:gd name="connsiteY7" fmla="*/ 558800 h 1651000"/>
              <a:gd name="connsiteX8" fmla="*/ 7086600 w 9169400"/>
              <a:gd name="connsiteY8" fmla="*/ 177800 h 1651000"/>
              <a:gd name="connsiteX9" fmla="*/ 9156700 w 9169400"/>
              <a:gd name="connsiteY9" fmla="*/ 0 h 1651000"/>
              <a:gd name="connsiteX10" fmla="*/ 9169400 w 9169400"/>
              <a:gd name="connsiteY10" fmla="*/ 1651000 h 1651000"/>
              <a:gd name="connsiteX11" fmla="*/ 0 w 9169400"/>
              <a:gd name="connsiteY11" fmla="*/ 1651000 h 1651000"/>
              <a:gd name="connsiteX12" fmla="*/ 12700 w 9169400"/>
              <a:gd name="connsiteY12" fmla="*/ 571500 h 1651000"/>
              <a:gd name="connsiteX0" fmla="*/ 12700 w 9169400"/>
              <a:gd name="connsiteY0" fmla="*/ 571500 h 1651000"/>
              <a:gd name="connsiteX1" fmla="*/ 622300 w 9169400"/>
              <a:gd name="connsiteY1" fmla="*/ 431800 h 1651000"/>
              <a:gd name="connsiteX2" fmla="*/ 1143000 w 9169400"/>
              <a:gd name="connsiteY2" fmla="*/ 279400 h 1651000"/>
              <a:gd name="connsiteX3" fmla="*/ 1701800 w 9169400"/>
              <a:gd name="connsiteY3" fmla="*/ 228600 h 1651000"/>
              <a:gd name="connsiteX4" fmla="*/ 2794000 w 9169400"/>
              <a:gd name="connsiteY4" fmla="*/ 355600 h 1651000"/>
              <a:gd name="connsiteX5" fmla="*/ 3873500 w 9169400"/>
              <a:gd name="connsiteY5" fmla="*/ 469900 h 1651000"/>
              <a:gd name="connsiteX6" fmla="*/ 5067300 w 9169400"/>
              <a:gd name="connsiteY6" fmla="*/ 622300 h 1651000"/>
              <a:gd name="connsiteX7" fmla="*/ 6261100 w 9169400"/>
              <a:gd name="connsiteY7" fmla="*/ 558800 h 1651000"/>
              <a:gd name="connsiteX8" fmla="*/ 7086600 w 9169400"/>
              <a:gd name="connsiteY8" fmla="*/ 177800 h 1651000"/>
              <a:gd name="connsiteX9" fmla="*/ 9156700 w 9169400"/>
              <a:gd name="connsiteY9" fmla="*/ 0 h 1651000"/>
              <a:gd name="connsiteX10" fmla="*/ 9169400 w 9169400"/>
              <a:gd name="connsiteY10" fmla="*/ 1651000 h 1651000"/>
              <a:gd name="connsiteX11" fmla="*/ 0 w 9169400"/>
              <a:gd name="connsiteY11" fmla="*/ 1651000 h 1651000"/>
              <a:gd name="connsiteX12" fmla="*/ 12700 w 9169400"/>
              <a:gd name="connsiteY12" fmla="*/ 571500 h 1651000"/>
              <a:gd name="connsiteX0" fmla="*/ 12700 w 9169400"/>
              <a:gd name="connsiteY0" fmla="*/ 571500 h 1651000"/>
              <a:gd name="connsiteX1" fmla="*/ 622300 w 9169400"/>
              <a:gd name="connsiteY1" fmla="*/ 431800 h 1651000"/>
              <a:gd name="connsiteX2" fmla="*/ 1701800 w 9169400"/>
              <a:gd name="connsiteY2" fmla="*/ 228600 h 1651000"/>
              <a:gd name="connsiteX3" fmla="*/ 2794000 w 9169400"/>
              <a:gd name="connsiteY3" fmla="*/ 355600 h 1651000"/>
              <a:gd name="connsiteX4" fmla="*/ 3873500 w 9169400"/>
              <a:gd name="connsiteY4" fmla="*/ 469900 h 1651000"/>
              <a:gd name="connsiteX5" fmla="*/ 5067300 w 9169400"/>
              <a:gd name="connsiteY5" fmla="*/ 622300 h 1651000"/>
              <a:gd name="connsiteX6" fmla="*/ 6261100 w 9169400"/>
              <a:gd name="connsiteY6" fmla="*/ 558800 h 1651000"/>
              <a:gd name="connsiteX7" fmla="*/ 7086600 w 9169400"/>
              <a:gd name="connsiteY7" fmla="*/ 177800 h 1651000"/>
              <a:gd name="connsiteX8" fmla="*/ 9156700 w 9169400"/>
              <a:gd name="connsiteY8" fmla="*/ 0 h 1651000"/>
              <a:gd name="connsiteX9" fmla="*/ 9169400 w 9169400"/>
              <a:gd name="connsiteY9" fmla="*/ 1651000 h 1651000"/>
              <a:gd name="connsiteX10" fmla="*/ 0 w 9169400"/>
              <a:gd name="connsiteY10" fmla="*/ 1651000 h 1651000"/>
              <a:gd name="connsiteX11" fmla="*/ 12700 w 9169400"/>
              <a:gd name="connsiteY11" fmla="*/ 571500 h 1651000"/>
              <a:gd name="connsiteX0" fmla="*/ 12700 w 9169400"/>
              <a:gd name="connsiteY0" fmla="*/ 571500 h 1651000"/>
              <a:gd name="connsiteX1" fmla="*/ 863600 w 9169400"/>
              <a:gd name="connsiteY1" fmla="*/ 342900 h 1651000"/>
              <a:gd name="connsiteX2" fmla="*/ 1701800 w 9169400"/>
              <a:gd name="connsiteY2" fmla="*/ 228600 h 1651000"/>
              <a:gd name="connsiteX3" fmla="*/ 2794000 w 9169400"/>
              <a:gd name="connsiteY3" fmla="*/ 355600 h 1651000"/>
              <a:gd name="connsiteX4" fmla="*/ 3873500 w 9169400"/>
              <a:gd name="connsiteY4" fmla="*/ 469900 h 1651000"/>
              <a:gd name="connsiteX5" fmla="*/ 5067300 w 9169400"/>
              <a:gd name="connsiteY5" fmla="*/ 622300 h 1651000"/>
              <a:gd name="connsiteX6" fmla="*/ 6261100 w 9169400"/>
              <a:gd name="connsiteY6" fmla="*/ 558800 h 1651000"/>
              <a:gd name="connsiteX7" fmla="*/ 7086600 w 9169400"/>
              <a:gd name="connsiteY7" fmla="*/ 177800 h 1651000"/>
              <a:gd name="connsiteX8" fmla="*/ 9156700 w 9169400"/>
              <a:gd name="connsiteY8" fmla="*/ 0 h 1651000"/>
              <a:gd name="connsiteX9" fmla="*/ 9169400 w 9169400"/>
              <a:gd name="connsiteY9" fmla="*/ 1651000 h 1651000"/>
              <a:gd name="connsiteX10" fmla="*/ 0 w 9169400"/>
              <a:gd name="connsiteY10" fmla="*/ 1651000 h 1651000"/>
              <a:gd name="connsiteX11" fmla="*/ 12700 w 9169400"/>
              <a:gd name="connsiteY11" fmla="*/ 571500 h 1651000"/>
              <a:gd name="connsiteX0" fmla="*/ 12700 w 9169400"/>
              <a:gd name="connsiteY0" fmla="*/ 571500 h 1651000"/>
              <a:gd name="connsiteX1" fmla="*/ 863600 w 9169400"/>
              <a:gd name="connsiteY1" fmla="*/ 342900 h 1651000"/>
              <a:gd name="connsiteX2" fmla="*/ 1701800 w 9169400"/>
              <a:gd name="connsiteY2" fmla="*/ 228600 h 1651000"/>
              <a:gd name="connsiteX3" fmla="*/ 2794000 w 9169400"/>
              <a:gd name="connsiteY3" fmla="*/ 355600 h 1651000"/>
              <a:gd name="connsiteX4" fmla="*/ 3873500 w 9169400"/>
              <a:gd name="connsiteY4" fmla="*/ 469900 h 1651000"/>
              <a:gd name="connsiteX5" fmla="*/ 5067300 w 9169400"/>
              <a:gd name="connsiteY5" fmla="*/ 622300 h 1651000"/>
              <a:gd name="connsiteX6" fmla="*/ 6261100 w 9169400"/>
              <a:gd name="connsiteY6" fmla="*/ 558800 h 1651000"/>
              <a:gd name="connsiteX7" fmla="*/ 7086600 w 9169400"/>
              <a:gd name="connsiteY7" fmla="*/ 177800 h 1651000"/>
              <a:gd name="connsiteX8" fmla="*/ 9156700 w 9169400"/>
              <a:gd name="connsiteY8" fmla="*/ 0 h 1651000"/>
              <a:gd name="connsiteX9" fmla="*/ 9169400 w 9169400"/>
              <a:gd name="connsiteY9" fmla="*/ 1651000 h 1651000"/>
              <a:gd name="connsiteX10" fmla="*/ 0 w 9169400"/>
              <a:gd name="connsiteY10" fmla="*/ 1651000 h 1651000"/>
              <a:gd name="connsiteX11" fmla="*/ 12700 w 9169400"/>
              <a:gd name="connsiteY11" fmla="*/ 571500 h 1651000"/>
              <a:gd name="connsiteX0" fmla="*/ 12700 w 9169400"/>
              <a:gd name="connsiteY0" fmla="*/ 571500 h 1651000"/>
              <a:gd name="connsiteX1" fmla="*/ 863600 w 9169400"/>
              <a:gd name="connsiteY1" fmla="*/ 342900 h 1651000"/>
              <a:gd name="connsiteX2" fmla="*/ 1701800 w 9169400"/>
              <a:gd name="connsiteY2" fmla="*/ 228600 h 1651000"/>
              <a:gd name="connsiteX3" fmla="*/ 2794000 w 9169400"/>
              <a:gd name="connsiteY3" fmla="*/ 355600 h 1651000"/>
              <a:gd name="connsiteX4" fmla="*/ 3873500 w 9169400"/>
              <a:gd name="connsiteY4" fmla="*/ 469900 h 1651000"/>
              <a:gd name="connsiteX5" fmla="*/ 5067300 w 9169400"/>
              <a:gd name="connsiteY5" fmla="*/ 622300 h 1651000"/>
              <a:gd name="connsiteX6" fmla="*/ 6197600 w 9169400"/>
              <a:gd name="connsiteY6" fmla="*/ 482600 h 1651000"/>
              <a:gd name="connsiteX7" fmla="*/ 7086600 w 9169400"/>
              <a:gd name="connsiteY7" fmla="*/ 177800 h 1651000"/>
              <a:gd name="connsiteX8" fmla="*/ 9156700 w 9169400"/>
              <a:gd name="connsiteY8" fmla="*/ 0 h 1651000"/>
              <a:gd name="connsiteX9" fmla="*/ 9169400 w 9169400"/>
              <a:gd name="connsiteY9" fmla="*/ 1651000 h 1651000"/>
              <a:gd name="connsiteX10" fmla="*/ 0 w 9169400"/>
              <a:gd name="connsiteY10" fmla="*/ 1651000 h 1651000"/>
              <a:gd name="connsiteX11" fmla="*/ 12700 w 9169400"/>
              <a:gd name="connsiteY11" fmla="*/ 571500 h 1651000"/>
              <a:gd name="connsiteX0" fmla="*/ 12700 w 9169400"/>
              <a:gd name="connsiteY0" fmla="*/ 571500 h 1651000"/>
              <a:gd name="connsiteX1" fmla="*/ 863600 w 9169400"/>
              <a:gd name="connsiteY1" fmla="*/ 342900 h 1651000"/>
              <a:gd name="connsiteX2" fmla="*/ 1701800 w 9169400"/>
              <a:gd name="connsiteY2" fmla="*/ 228600 h 1651000"/>
              <a:gd name="connsiteX3" fmla="*/ 2794000 w 9169400"/>
              <a:gd name="connsiteY3" fmla="*/ 355600 h 1651000"/>
              <a:gd name="connsiteX4" fmla="*/ 3873500 w 9169400"/>
              <a:gd name="connsiteY4" fmla="*/ 469900 h 1651000"/>
              <a:gd name="connsiteX5" fmla="*/ 5067300 w 9169400"/>
              <a:gd name="connsiteY5" fmla="*/ 622300 h 1651000"/>
              <a:gd name="connsiteX6" fmla="*/ 6197600 w 9169400"/>
              <a:gd name="connsiteY6" fmla="*/ 482600 h 1651000"/>
              <a:gd name="connsiteX7" fmla="*/ 7785100 w 9169400"/>
              <a:gd name="connsiteY7" fmla="*/ 63500 h 1651000"/>
              <a:gd name="connsiteX8" fmla="*/ 9156700 w 9169400"/>
              <a:gd name="connsiteY8" fmla="*/ 0 h 1651000"/>
              <a:gd name="connsiteX9" fmla="*/ 9169400 w 9169400"/>
              <a:gd name="connsiteY9" fmla="*/ 1651000 h 1651000"/>
              <a:gd name="connsiteX10" fmla="*/ 0 w 9169400"/>
              <a:gd name="connsiteY10" fmla="*/ 1651000 h 1651000"/>
              <a:gd name="connsiteX11" fmla="*/ 12700 w 9169400"/>
              <a:gd name="connsiteY11" fmla="*/ 571500 h 1651000"/>
              <a:gd name="connsiteX0" fmla="*/ 12700 w 9169400"/>
              <a:gd name="connsiteY0" fmla="*/ 571500 h 1651000"/>
              <a:gd name="connsiteX1" fmla="*/ 863600 w 9169400"/>
              <a:gd name="connsiteY1" fmla="*/ 342900 h 1651000"/>
              <a:gd name="connsiteX2" fmla="*/ 1701800 w 9169400"/>
              <a:gd name="connsiteY2" fmla="*/ 228600 h 1651000"/>
              <a:gd name="connsiteX3" fmla="*/ 2794000 w 9169400"/>
              <a:gd name="connsiteY3" fmla="*/ 355600 h 1651000"/>
              <a:gd name="connsiteX4" fmla="*/ 3873500 w 9169400"/>
              <a:gd name="connsiteY4" fmla="*/ 469900 h 1651000"/>
              <a:gd name="connsiteX5" fmla="*/ 5067300 w 9169400"/>
              <a:gd name="connsiteY5" fmla="*/ 622300 h 1651000"/>
              <a:gd name="connsiteX6" fmla="*/ 6197600 w 9169400"/>
              <a:gd name="connsiteY6" fmla="*/ 482600 h 1651000"/>
              <a:gd name="connsiteX7" fmla="*/ 7785100 w 9169400"/>
              <a:gd name="connsiteY7" fmla="*/ 63500 h 1651000"/>
              <a:gd name="connsiteX8" fmla="*/ 9156700 w 9169400"/>
              <a:gd name="connsiteY8" fmla="*/ 0 h 1651000"/>
              <a:gd name="connsiteX9" fmla="*/ 9169400 w 9169400"/>
              <a:gd name="connsiteY9" fmla="*/ 1651000 h 1651000"/>
              <a:gd name="connsiteX10" fmla="*/ 0 w 9169400"/>
              <a:gd name="connsiteY10" fmla="*/ 1651000 h 1651000"/>
              <a:gd name="connsiteX11" fmla="*/ 12700 w 9169400"/>
              <a:gd name="connsiteY11" fmla="*/ 571500 h 1651000"/>
              <a:gd name="connsiteX0" fmla="*/ 12700 w 9169400"/>
              <a:gd name="connsiteY0" fmla="*/ 571500 h 1651000"/>
              <a:gd name="connsiteX1" fmla="*/ 863600 w 9169400"/>
              <a:gd name="connsiteY1" fmla="*/ 342900 h 1651000"/>
              <a:gd name="connsiteX2" fmla="*/ 1701800 w 9169400"/>
              <a:gd name="connsiteY2" fmla="*/ 228600 h 1651000"/>
              <a:gd name="connsiteX3" fmla="*/ 2794000 w 9169400"/>
              <a:gd name="connsiteY3" fmla="*/ 355600 h 1651000"/>
              <a:gd name="connsiteX4" fmla="*/ 3873500 w 9169400"/>
              <a:gd name="connsiteY4" fmla="*/ 469900 h 1651000"/>
              <a:gd name="connsiteX5" fmla="*/ 5067300 w 9169400"/>
              <a:gd name="connsiteY5" fmla="*/ 622300 h 1651000"/>
              <a:gd name="connsiteX6" fmla="*/ 6197600 w 9169400"/>
              <a:gd name="connsiteY6" fmla="*/ 482600 h 1651000"/>
              <a:gd name="connsiteX7" fmla="*/ 7785100 w 9169400"/>
              <a:gd name="connsiteY7" fmla="*/ 63500 h 1651000"/>
              <a:gd name="connsiteX8" fmla="*/ 9156700 w 9169400"/>
              <a:gd name="connsiteY8" fmla="*/ 0 h 1651000"/>
              <a:gd name="connsiteX9" fmla="*/ 9169400 w 9169400"/>
              <a:gd name="connsiteY9" fmla="*/ 1651000 h 1651000"/>
              <a:gd name="connsiteX10" fmla="*/ 0 w 9169400"/>
              <a:gd name="connsiteY10" fmla="*/ 1651000 h 1651000"/>
              <a:gd name="connsiteX11" fmla="*/ 12700 w 9169400"/>
              <a:gd name="connsiteY11" fmla="*/ 571500 h 1651000"/>
              <a:gd name="connsiteX0" fmla="*/ 12700 w 9169400"/>
              <a:gd name="connsiteY0" fmla="*/ 571500 h 1651000"/>
              <a:gd name="connsiteX1" fmla="*/ 863600 w 9169400"/>
              <a:gd name="connsiteY1" fmla="*/ 342900 h 1651000"/>
              <a:gd name="connsiteX2" fmla="*/ 1879600 w 9169400"/>
              <a:gd name="connsiteY2" fmla="*/ 215900 h 1651000"/>
              <a:gd name="connsiteX3" fmla="*/ 2794000 w 9169400"/>
              <a:gd name="connsiteY3" fmla="*/ 355600 h 1651000"/>
              <a:gd name="connsiteX4" fmla="*/ 3873500 w 9169400"/>
              <a:gd name="connsiteY4" fmla="*/ 469900 h 1651000"/>
              <a:gd name="connsiteX5" fmla="*/ 5067300 w 9169400"/>
              <a:gd name="connsiteY5" fmla="*/ 622300 h 1651000"/>
              <a:gd name="connsiteX6" fmla="*/ 6197600 w 9169400"/>
              <a:gd name="connsiteY6" fmla="*/ 482600 h 1651000"/>
              <a:gd name="connsiteX7" fmla="*/ 7785100 w 9169400"/>
              <a:gd name="connsiteY7" fmla="*/ 63500 h 1651000"/>
              <a:gd name="connsiteX8" fmla="*/ 9156700 w 9169400"/>
              <a:gd name="connsiteY8" fmla="*/ 0 h 1651000"/>
              <a:gd name="connsiteX9" fmla="*/ 9169400 w 9169400"/>
              <a:gd name="connsiteY9" fmla="*/ 1651000 h 1651000"/>
              <a:gd name="connsiteX10" fmla="*/ 0 w 9169400"/>
              <a:gd name="connsiteY10" fmla="*/ 1651000 h 1651000"/>
              <a:gd name="connsiteX11" fmla="*/ 12700 w 9169400"/>
              <a:gd name="connsiteY11" fmla="*/ 571500 h 1651000"/>
              <a:gd name="connsiteX0" fmla="*/ 12700 w 9169400"/>
              <a:gd name="connsiteY0" fmla="*/ 571500 h 1651000"/>
              <a:gd name="connsiteX1" fmla="*/ 863600 w 9169400"/>
              <a:gd name="connsiteY1" fmla="*/ 342900 h 1651000"/>
              <a:gd name="connsiteX2" fmla="*/ 2794000 w 9169400"/>
              <a:gd name="connsiteY2" fmla="*/ 355600 h 1651000"/>
              <a:gd name="connsiteX3" fmla="*/ 3873500 w 9169400"/>
              <a:gd name="connsiteY3" fmla="*/ 469900 h 1651000"/>
              <a:gd name="connsiteX4" fmla="*/ 5067300 w 9169400"/>
              <a:gd name="connsiteY4" fmla="*/ 622300 h 1651000"/>
              <a:gd name="connsiteX5" fmla="*/ 6197600 w 9169400"/>
              <a:gd name="connsiteY5" fmla="*/ 482600 h 1651000"/>
              <a:gd name="connsiteX6" fmla="*/ 7785100 w 9169400"/>
              <a:gd name="connsiteY6" fmla="*/ 63500 h 1651000"/>
              <a:gd name="connsiteX7" fmla="*/ 9156700 w 9169400"/>
              <a:gd name="connsiteY7" fmla="*/ 0 h 1651000"/>
              <a:gd name="connsiteX8" fmla="*/ 9169400 w 9169400"/>
              <a:gd name="connsiteY8" fmla="*/ 1651000 h 1651000"/>
              <a:gd name="connsiteX9" fmla="*/ 0 w 9169400"/>
              <a:gd name="connsiteY9" fmla="*/ 1651000 h 1651000"/>
              <a:gd name="connsiteX10" fmla="*/ 12700 w 9169400"/>
              <a:gd name="connsiteY10" fmla="*/ 571500 h 1651000"/>
              <a:gd name="connsiteX0" fmla="*/ 12700 w 9169400"/>
              <a:gd name="connsiteY0" fmla="*/ 571500 h 1651000"/>
              <a:gd name="connsiteX1" fmla="*/ 863600 w 9169400"/>
              <a:gd name="connsiteY1" fmla="*/ 342900 h 1651000"/>
              <a:gd name="connsiteX2" fmla="*/ 2565400 w 9169400"/>
              <a:gd name="connsiteY2" fmla="*/ 317500 h 1651000"/>
              <a:gd name="connsiteX3" fmla="*/ 3873500 w 9169400"/>
              <a:gd name="connsiteY3" fmla="*/ 469900 h 1651000"/>
              <a:gd name="connsiteX4" fmla="*/ 5067300 w 9169400"/>
              <a:gd name="connsiteY4" fmla="*/ 622300 h 1651000"/>
              <a:gd name="connsiteX5" fmla="*/ 6197600 w 9169400"/>
              <a:gd name="connsiteY5" fmla="*/ 482600 h 1651000"/>
              <a:gd name="connsiteX6" fmla="*/ 7785100 w 9169400"/>
              <a:gd name="connsiteY6" fmla="*/ 63500 h 1651000"/>
              <a:gd name="connsiteX7" fmla="*/ 9156700 w 9169400"/>
              <a:gd name="connsiteY7" fmla="*/ 0 h 1651000"/>
              <a:gd name="connsiteX8" fmla="*/ 9169400 w 9169400"/>
              <a:gd name="connsiteY8" fmla="*/ 1651000 h 1651000"/>
              <a:gd name="connsiteX9" fmla="*/ 0 w 9169400"/>
              <a:gd name="connsiteY9" fmla="*/ 1651000 h 1651000"/>
              <a:gd name="connsiteX10" fmla="*/ 12700 w 9169400"/>
              <a:gd name="connsiteY10" fmla="*/ 571500 h 1651000"/>
              <a:gd name="connsiteX0" fmla="*/ 12700 w 9169400"/>
              <a:gd name="connsiteY0" fmla="*/ 571500 h 1651000"/>
              <a:gd name="connsiteX1" fmla="*/ 863600 w 9169400"/>
              <a:gd name="connsiteY1" fmla="*/ 342900 h 1651000"/>
              <a:gd name="connsiteX2" fmla="*/ 2565400 w 9169400"/>
              <a:gd name="connsiteY2" fmla="*/ 317500 h 1651000"/>
              <a:gd name="connsiteX3" fmla="*/ 3873500 w 9169400"/>
              <a:gd name="connsiteY3" fmla="*/ 469900 h 1651000"/>
              <a:gd name="connsiteX4" fmla="*/ 5067300 w 9169400"/>
              <a:gd name="connsiteY4" fmla="*/ 622300 h 1651000"/>
              <a:gd name="connsiteX5" fmla="*/ 6197600 w 9169400"/>
              <a:gd name="connsiteY5" fmla="*/ 482600 h 1651000"/>
              <a:gd name="connsiteX6" fmla="*/ 7785100 w 9169400"/>
              <a:gd name="connsiteY6" fmla="*/ 63500 h 1651000"/>
              <a:gd name="connsiteX7" fmla="*/ 9156700 w 9169400"/>
              <a:gd name="connsiteY7" fmla="*/ 0 h 1651000"/>
              <a:gd name="connsiteX8" fmla="*/ 9169400 w 9169400"/>
              <a:gd name="connsiteY8" fmla="*/ 1651000 h 1651000"/>
              <a:gd name="connsiteX9" fmla="*/ 0 w 9169400"/>
              <a:gd name="connsiteY9" fmla="*/ 1651000 h 1651000"/>
              <a:gd name="connsiteX10" fmla="*/ 12700 w 9169400"/>
              <a:gd name="connsiteY10" fmla="*/ 571500 h 1651000"/>
              <a:gd name="connsiteX0" fmla="*/ 12700 w 9169400"/>
              <a:gd name="connsiteY0" fmla="*/ 571500 h 1651000"/>
              <a:gd name="connsiteX1" fmla="*/ 1143000 w 9169400"/>
              <a:gd name="connsiteY1" fmla="*/ 431800 h 1651000"/>
              <a:gd name="connsiteX2" fmla="*/ 2565400 w 9169400"/>
              <a:gd name="connsiteY2" fmla="*/ 317500 h 1651000"/>
              <a:gd name="connsiteX3" fmla="*/ 3873500 w 9169400"/>
              <a:gd name="connsiteY3" fmla="*/ 469900 h 1651000"/>
              <a:gd name="connsiteX4" fmla="*/ 5067300 w 9169400"/>
              <a:gd name="connsiteY4" fmla="*/ 622300 h 1651000"/>
              <a:gd name="connsiteX5" fmla="*/ 6197600 w 9169400"/>
              <a:gd name="connsiteY5" fmla="*/ 482600 h 1651000"/>
              <a:gd name="connsiteX6" fmla="*/ 7785100 w 9169400"/>
              <a:gd name="connsiteY6" fmla="*/ 63500 h 1651000"/>
              <a:gd name="connsiteX7" fmla="*/ 9156700 w 9169400"/>
              <a:gd name="connsiteY7" fmla="*/ 0 h 1651000"/>
              <a:gd name="connsiteX8" fmla="*/ 9169400 w 9169400"/>
              <a:gd name="connsiteY8" fmla="*/ 1651000 h 1651000"/>
              <a:gd name="connsiteX9" fmla="*/ 0 w 9169400"/>
              <a:gd name="connsiteY9" fmla="*/ 1651000 h 1651000"/>
              <a:gd name="connsiteX10" fmla="*/ 12700 w 9169400"/>
              <a:gd name="connsiteY10" fmla="*/ 571500 h 1651000"/>
              <a:gd name="connsiteX0" fmla="*/ 12700 w 9169400"/>
              <a:gd name="connsiteY0" fmla="*/ 571500 h 1651000"/>
              <a:gd name="connsiteX1" fmla="*/ 1143000 w 9169400"/>
              <a:gd name="connsiteY1" fmla="*/ 431800 h 1651000"/>
              <a:gd name="connsiteX2" fmla="*/ 2565400 w 9169400"/>
              <a:gd name="connsiteY2" fmla="*/ 317500 h 1651000"/>
              <a:gd name="connsiteX3" fmla="*/ 3873500 w 9169400"/>
              <a:gd name="connsiteY3" fmla="*/ 469900 h 1651000"/>
              <a:gd name="connsiteX4" fmla="*/ 5067300 w 9169400"/>
              <a:gd name="connsiteY4" fmla="*/ 622300 h 1651000"/>
              <a:gd name="connsiteX5" fmla="*/ 6197600 w 9169400"/>
              <a:gd name="connsiteY5" fmla="*/ 482600 h 1651000"/>
              <a:gd name="connsiteX6" fmla="*/ 7785100 w 9169400"/>
              <a:gd name="connsiteY6" fmla="*/ 63500 h 1651000"/>
              <a:gd name="connsiteX7" fmla="*/ 9156700 w 9169400"/>
              <a:gd name="connsiteY7" fmla="*/ 0 h 1651000"/>
              <a:gd name="connsiteX8" fmla="*/ 9169400 w 9169400"/>
              <a:gd name="connsiteY8" fmla="*/ 1651000 h 1651000"/>
              <a:gd name="connsiteX9" fmla="*/ 0 w 9169400"/>
              <a:gd name="connsiteY9" fmla="*/ 1651000 h 1651000"/>
              <a:gd name="connsiteX10" fmla="*/ 12700 w 9169400"/>
              <a:gd name="connsiteY10" fmla="*/ 571500 h 1651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169400" h="1651000">
                <a:moveTo>
                  <a:pt x="12700" y="571500"/>
                </a:moveTo>
                <a:cubicBezTo>
                  <a:pt x="662517" y="469900"/>
                  <a:pt x="717550" y="474133"/>
                  <a:pt x="1143000" y="431800"/>
                </a:cubicBezTo>
                <a:cubicBezTo>
                  <a:pt x="1568450" y="389467"/>
                  <a:pt x="2110317" y="311150"/>
                  <a:pt x="2565400" y="317500"/>
                </a:cubicBezTo>
                <a:cubicBezTo>
                  <a:pt x="3020483" y="323850"/>
                  <a:pt x="3456517" y="419100"/>
                  <a:pt x="3873500" y="469900"/>
                </a:cubicBezTo>
                <a:cubicBezTo>
                  <a:pt x="4290483" y="520700"/>
                  <a:pt x="4679950" y="620183"/>
                  <a:pt x="5067300" y="622300"/>
                </a:cubicBezTo>
                <a:cubicBezTo>
                  <a:pt x="5454650" y="624417"/>
                  <a:pt x="5744633" y="575733"/>
                  <a:pt x="6197600" y="482600"/>
                </a:cubicBezTo>
                <a:cubicBezTo>
                  <a:pt x="6650567" y="389467"/>
                  <a:pt x="7253817" y="131233"/>
                  <a:pt x="7785100" y="63500"/>
                </a:cubicBezTo>
                <a:cubicBezTo>
                  <a:pt x="8316383" y="-4233"/>
                  <a:pt x="8453967" y="21167"/>
                  <a:pt x="9156700" y="0"/>
                </a:cubicBezTo>
                <a:cubicBezTo>
                  <a:pt x="9160933" y="550333"/>
                  <a:pt x="9165167" y="1100667"/>
                  <a:pt x="9169400" y="1651000"/>
                </a:cubicBezTo>
                <a:lnTo>
                  <a:pt x="0" y="1651000"/>
                </a:lnTo>
                <a:lnTo>
                  <a:pt x="12700" y="571500"/>
                </a:lnTo>
                <a:close/>
              </a:path>
            </a:pathLst>
          </a:cu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39" name="Group 38"/>
          <p:cNvGrpSpPr/>
          <p:nvPr/>
        </p:nvGrpSpPr>
        <p:grpSpPr>
          <a:xfrm>
            <a:off x="5436312" y="886846"/>
            <a:ext cx="1268155" cy="1417816"/>
            <a:chOff x="1447800" y="2266950"/>
            <a:chExt cx="1957351" cy="2188347"/>
          </a:xfrm>
        </p:grpSpPr>
        <p:sp>
          <p:nvSpPr>
            <p:cNvPr id="40" name="Flowchart: Manual Input 39"/>
            <p:cNvSpPr/>
            <p:nvPr/>
          </p:nvSpPr>
          <p:spPr>
            <a:xfrm flipH="1">
              <a:off x="1447800" y="2266950"/>
              <a:ext cx="1088378" cy="1981200"/>
            </a:xfrm>
            <a:prstGeom prst="flowChartManualInput">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41" name="Flowchart: Manual Input 40"/>
            <p:cNvSpPr/>
            <p:nvPr/>
          </p:nvSpPr>
          <p:spPr>
            <a:xfrm flipH="1">
              <a:off x="2059602" y="2647950"/>
              <a:ext cx="301480" cy="1524000"/>
            </a:xfrm>
            <a:prstGeom prst="flowChartManualInput">
              <a:avLst/>
            </a:prstGeom>
            <a:solidFill>
              <a:schemeClr val="bg1"/>
            </a:solidFill>
            <a:ln>
              <a:noFill/>
            </a:ln>
            <a:effectLst>
              <a:outerShdw blurRad="50800" dist="38100" algn="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42" name="Flowchart: Manual Input 41"/>
            <p:cNvSpPr/>
            <p:nvPr/>
          </p:nvSpPr>
          <p:spPr>
            <a:xfrm flipH="1">
              <a:off x="1869661" y="2647950"/>
              <a:ext cx="301480" cy="1524000"/>
            </a:xfrm>
            <a:prstGeom prst="flowChartManualInput">
              <a:avLst/>
            </a:prstGeom>
            <a:solidFill>
              <a:schemeClr val="bg1"/>
            </a:solidFill>
            <a:ln>
              <a:noFill/>
            </a:ln>
            <a:effectLst>
              <a:outerShdw blurRad="50800" dist="38100" algn="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43" name="Double Wave 42"/>
            <p:cNvSpPr/>
            <p:nvPr/>
          </p:nvSpPr>
          <p:spPr>
            <a:xfrm rot="2700000">
              <a:off x="1666859" y="3495691"/>
              <a:ext cx="1350146" cy="569065"/>
            </a:xfrm>
            <a:prstGeom prst="doubleWave">
              <a:avLst>
                <a:gd name="adj1" fmla="val 12500"/>
                <a:gd name="adj2" fmla="val 0"/>
              </a:avLst>
            </a:prstGeom>
            <a:solidFill>
              <a:srgbClr val="0070C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44" name="Double Wave 43"/>
            <p:cNvSpPr/>
            <p:nvPr/>
          </p:nvSpPr>
          <p:spPr>
            <a:xfrm rot="2700000">
              <a:off x="1925791" y="3495691"/>
              <a:ext cx="1350146" cy="569065"/>
            </a:xfrm>
            <a:prstGeom prst="doubleWave">
              <a:avLst>
                <a:gd name="adj1" fmla="val 12500"/>
                <a:gd name="adj2" fmla="val 0"/>
              </a:avLst>
            </a:prstGeom>
            <a:solidFill>
              <a:srgbClr val="0070C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45" name="Double Wave 44"/>
            <p:cNvSpPr/>
            <p:nvPr/>
          </p:nvSpPr>
          <p:spPr>
            <a:xfrm rot="2700000">
              <a:off x="2186612" y="3495691"/>
              <a:ext cx="1350146" cy="569065"/>
            </a:xfrm>
            <a:prstGeom prst="doubleWave">
              <a:avLst>
                <a:gd name="adj1" fmla="val 12500"/>
                <a:gd name="adj2" fmla="val 0"/>
              </a:avLst>
            </a:prstGeom>
            <a:solidFill>
              <a:srgbClr val="0070C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46" name="Double Wave 45"/>
            <p:cNvSpPr/>
            <p:nvPr/>
          </p:nvSpPr>
          <p:spPr>
            <a:xfrm rot="2700000">
              <a:off x="2445546" y="3495691"/>
              <a:ext cx="1350146" cy="569065"/>
            </a:xfrm>
            <a:prstGeom prst="doubleWave">
              <a:avLst>
                <a:gd name="adj1" fmla="val 12500"/>
                <a:gd name="adj2" fmla="val 0"/>
              </a:avLst>
            </a:prstGeom>
            <a:solidFill>
              <a:srgbClr val="0070C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47" name="Flowchart: Manual Input 46"/>
            <p:cNvSpPr/>
            <p:nvPr/>
          </p:nvSpPr>
          <p:spPr>
            <a:xfrm flipH="1">
              <a:off x="1679720" y="2647950"/>
              <a:ext cx="301480" cy="1524000"/>
            </a:xfrm>
            <a:prstGeom prst="flowChartManualInput">
              <a:avLst/>
            </a:prstGeom>
            <a:solidFill>
              <a:schemeClr val="bg1"/>
            </a:solidFill>
            <a:ln>
              <a:noFill/>
            </a:ln>
            <a:effectLst>
              <a:outerShdw blurRad="50800" dist="38100" algn="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grpSp>
      <p:sp>
        <p:nvSpPr>
          <p:cNvPr id="48" name="Plus 47"/>
          <p:cNvSpPr/>
          <p:nvPr/>
        </p:nvSpPr>
        <p:spPr>
          <a:xfrm>
            <a:off x="4452312" y="1256053"/>
            <a:ext cx="914400" cy="914400"/>
          </a:xfrm>
          <a:prstGeom prst="mathPlus">
            <a:avLst/>
          </a:prstGeom>
          <a:solidFill>
            <a:srgbClr val="FF000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grpSp>
        <p:nvGrpSpPr>
          <p:cNvPr id="49" name="Group 48"/>
          <p:cNvGrpSpPr/>
          <p:nvPr/>
        </p:nvGrpSpPr>
        <p:grpSpPr>
          <a:xfrm flipH="1">
            <a:off x="3126425" y="935246"/>
            <a:ext cx="1096837" cy="1702173"/>
            <a:chOff x="274646" y="-1004072"/>
            <a:chExt cx="5446648" cy="8452622"/>
          </a:xfrm>
          <a:effectLst>
            <a:outerShdw blurRad="50800" dist="38100" dir="2700000" algn="tl" rotWithShape="0">
              <a:prstClr val="black">
                <a:alpha val="40000"/>
              </a:prstClr>
            </a:outerShdw>
          </a:effectLst>
        </p:grpSpPr>
        <p:sp>
          <p:nvSpPr>
            <p:cNvPr id="50" name="Isosceles Triangle 49"/>
            <p:cNvSpPr/>
            <p:nvPr/>
          </p:nvSpPr>
          <p:spPr>
            <a:xfrm>
              <a:off x="2789660" y="1551279"/>
              <a:ext cx="575648" cy="5897271"/>
            </a:xfrm>
            <a:prstGeom prst="triangle">
              <a:avLst>
                <a:gd name="adj" fmla="val 5330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51" name="Group 50"/>
            <p:cNvGrpSpPr/>
            <p:nvPr/>
          </p:nvGrpSpPr>
          <p:grpSpPr>
            <a:xfrm>
              <a:off x="274646" y="-1004072"/>
              <a:ext cx="5446648" cy="3713114"/>
              <a:chOff x="274646" y="-1004072"/>
              <a:chExt cx="5446648" cy="3713114"/>
            </a:xfrm>
          </p:grpSpPr>
          <p:sp>
            <p:nvSpPr>
              <p:cNvPr id="52" name="Round Same Side Corner Rectangle 11"/>
              <p:cNvSpPr/>
              <p:nvPr/>
            </p:nvSpPr>
            <p:spPr>
              <a:xfrm rot="240000">
                <a:off x="3037776" y="-1004072"/>
                <a:ext cx="251846" cy="2632765"/>
              </a:xfrm>
              <a:custGeom>
                <a:avLst/>
                <a:gdLst>
                  <a:gd name="connsiteX0" fmla="*/ 192704 w 474348"/>
                  <a:gd name="connsiteY0" fmla="*/ 0 h 645319"/>
                  <a:gd name="connsiteX1" fmla="*/ 281644 w 474348"/>
                  <a:gd name="connsiteY1" fmla="*/ 0 h 645319"/>
                  <a:gd name="connsiteX2" fmla="*/ 474348 w 474348"/>
                  <a:gd name="connsiteY2" fmla="*/ 192704 h 645319"/>
                  <a:gd name="connsiteX3" fmla="*/ 474348 w 474348"/>
                  <a:gd name="connsiteY3" fmla="*/ 645319 h 645319"/>
                  <a:gd name="connsiteX4" fmla="*/ 474348 w 474348"/>
                  <a:gd name="connsiteY4" fmla="*/ 645319 h 645319"/>
                  <a:gd name="connsiteX5" fmla="*/ 0 w 474348"/>
                  <a:gd name="connsiteY5" fmla="*/ 645319 h 645319"/>
                  <a:gd name="connsiteX6" fmla="*/ 0 w 474348"/>
                  <a:gd name="connsiteY6" fmla="*/ 645319 h 645319"/>
                  <a:gd name="connsiteX7" fmla="*/ 0 w 474348"/>
                  <a:gd name="connsiteY7" fmla="*/ 192704 h 645319"/>
                  <a:gd name="connsiteX8" fmla="*/ 192704 w 474348"/>
                  <a:gd name="connsiteY8" fmla="*/ 0 h 645319"/>
                  <a:gd name="connsiteX0" fmla="*/ 192704 w 474348"/>
                  <a:gd name="connsiteY0" fmla="*/ 0 h 645319"/>
                  <a:gd name="connsiteX1" fmla="*/ 281644 w 474348"/>
                  <a:gd name="connsiteY1" fmla="*/ 0 h 645319"/>
                  <a:gd name="connsiteX2" fmla="*/ 474348 w 474348"/>
                  <a:gd name="connsiteY2" fmla="*/ 192704 h 645319"/>
                  <a:gd name="connsiteX3" fmla="*/ 474348 w 474348"/>
                  <a:gd name="connsiteY3" fmla="*/ 645319 h 645319"/>
                  <a:gd name="connsiteX4" fmla="*/ 474348 w 474348"/>
                  <a:gd name="connsiteY4" fmla="*/ 645319 h 645319"/>
                  <a:gd name="connsiteX5" fmla="*/ 248129 w 474348"/>
                  <a:gd name="connsiteY5" fmla="*/ 645319 h 645319"/>
                  <a:gd name="connsiteX6" fmla="*/ 0 w 474348"/>
                  <a:gd name="connsiteY6" fmla="*/ 645319 h 645319"/>
                  <a:gd name="connsiteX7" fmla="*/ 0 w 474348"/>
                  <a:gd name="connsiteY7" fmla="*/ 645319 h 645319"/>
                  <a:gd name="connsiteX8" fmla="*/ 0 w 474348"/>
                  <a:gd name="connsiteY8" fmla="*/ 192704 h 645319"/>
                  <a:gd name="connsiteX9" fmla="*/ 192704 w 474348"/>
                  <a:gd name="connsiteY9" fmla="*/ 0 h 645319"/>
                  <a:gd name="connsiteX0" fmla="*/ 192704 w 474348"/>
                  <a:gd name="connsiteY0" fmla="*/ 2381 h 647700"/>
                  <a:gd name="connsiteX1" fmla="*/ 240986 w 474348"/>
                  <a:gd name="connsiteY1" fmla="*/ 0 h 647700"/>
                  <a:gd name="connsiteX2" fmla="*/ 281644 w 474348"/>
                  <a:gd name="connsiteY2" fmla="*/ 2381 h 647700"/>
                  <a:gd name="connsiteX3" fmla="*/ 474348 w 474348"/>
                  <a:gd name="connsiteY3" fmla="*/ 195085 h 647700"/>
                  <a:gd name="connsiteX4" fmla="*/ 474348 w 474348"/>
                  <a:gd name="connsiteY4" fmla="*/ 647700 h 647700"/>
                  <a:gd name="connsiteX5" fmla="*/ 474348 w 474348"/>
                  <a:gd name="connsiteY5" fmla="*/ 647700 h 647700"/>
                  <a:gd name="connsiteX6" fmla="*/ 248129 w 474348"/>
                  <a:gd name="connsiteY6" fmla="*/ 647700 h 647700"/>
                  <a:gd name="connsiteX7" fmla="*/ 0 w 474348"/>
                  <a:gd name="connsiteY7" fmla="*/ 647700 h 647700"/>
                  <a:gd name="connsiteX8" fmla="*/ 0 w 474348"/>
                  <a:gd name="connsiteY8" fmla="*/ 647700 h 647700"/>
                  <a:gd name="connsiteX9" fmla="*/ 0 w 474348"/>
                  <a:gd name="connsiteY9" fmla="*/ 195085 h 647700"/>
                  <a:gd name="connsiteX10" fmla="*/ 192704 w 474348"/>
                  <a:gd name="connsiteY10" fmla="*/ 2381 h 647700"/>
                  <a:gd name="connsiteX0" fmla="*/ 192704 w 474348"/>
                  <a:gd name="connsiteY0" fmla="*/ 42862 h 688181"/>
                  <a:gd name="connsiteX1" fmla="*/ 240986 w 474348"/>
                  <a:gd name="connsiteY1" fmla="*/ 0 h 688181"/>
                  <a:gd name="connsiteX2" fmla="*/ 281644 w 474348"/>
                  <a:gd name="connsiteY2" fmla="*/ 42862 h 688181"/>
                  <a:gd name="connsiteX3" fmla="*/ 474348 w 474348"/>
                  <a:gd name="connsiteY3" fmla="*/ 235566 h 688181"/>
                  <a:gd name="connsiteX4" fmla="*/ 474348 w 474348"/>
                  <a:gd name="connsiteY4" fmla="*/ 688181 h 688181"/>
                  <a:gd name="connsiteX5" fmla="*/ 474348 w 474348"/>
                  <a:gd name="connsiteY5" fmla="*/ 688181 h 688181"/>
                  <a:gd name="connsiteX6" fmla="*/ 248129 w 474348"/>
                  <a:gd name="connsiteY6" fmla="*/ 688181 h 688181"/>
                  <a:gd name="connsiteX7" fmla="*/ 0 w 474348"/>
                  <a:gd name="connsiteY7" fmla="*/ 688181 h 688181"/>
                  <a:gd name="connsiteX8" fmla="*/ 0 w 474348"/>
                  <a:gd name="connsiteY8" fmla="*/ 688181 h 688181"/>
                  <a:gd name="connsiteX9" fmla="*/ 0 w 474348"/>
                  <a:gd name="connsiteY9" fmla="*/ 235566 h 688181"/>
                  <a:gd name="connsiteX10" fmla="*/ 192704 w 474348"/>
                  <a:gd name="connsiteY10" fmla="*/ 42862 h 688181"/>
                  <a:gd name="connsiteX0" fmla="*/ 192704 w 474348"/>
                  <a:gd name="connsiteY0" fmla="*/ 23812 h 669131"/>
                  <a:gd name="connsiteX1" fmla="*/ 265690 w 474348"/>
                  <a:gd name="connsiteY1" fmla="*/ 0 h 669131"/>
                  <a:gd name="connsiteX2" fmla="*/ 281644 w 474348"/>
                  <a:gd name="connsiteY2" fmla="*/ 23812 h 669131"/>
                  <a:gd name="connsiteX3" fmla="*/ 474348 w 474348"/>
                  <a:gd name="connsiteY3" fmla="*/ 216516 h 669131"/>
                  <a:gd name="connsiteX4" fmla="*/ 474348 w 474348"/>
                  <a:gd name="connsiteY4" fmla="*/ 669131 h 669131"/>
                  <a:gd name="connsiteX5" fmla="*/ 474348 w 474348"/>
                  <a:gd name="connsiteY5" fmla="*/ 669131 h 669131"/>
                  <a:gd name="connsiteX6" fmla="*/ 248129 w 474348"/>
                  <a:gd name="connsiteY6" fmla="*/ 669131 h 669131"/>
                  <a:gd name="connsiteX7" fmla="*/ 0 w 474348"/>
                  <a:gd name="connsiteY7" fmla="*/ 669131 h 669131"/>
                  <a:gd name="connsiteX8" fmla="*/ 0 w 474348"/>
                  <a:gd name="connsiteY8" fmla="*/ 669131 h 669131"/>
                  <a:gd name="connsiteX9" fmla="*/ 0 w 474348"/>
                  <a:gd name="connsiteY9" fmla="*/ 216516 h 669131"/>
                  <a:gd name="connsiteX10" fmla="*/ 192704 w 474348"/>
                  <a:gd name="connsiteY10" fmla="*/ 23812 h 669131"/>
                  <a:gd name="connsiteX0" fmla="*/ 192704 w 474348"/>
                  <a:gd name="connsiteY0" fmla="*/ 23812 h 669131"/>
                  <a:gd name="connsiteX1" fmla="*/ 265690 w 474348"/>
                  <a:gd name="connsiteY1" fmla="*/ 0 h 669131"/>
                  <a:gd name="connsiteX2" fmla="*/ 281644 w 474348"/>
                  <a:gd name="connsiteY2" fmla="*/ 23812 h 669131"/>
                  <a:gd name="connsiteX3" fmla="*/ 474348 w 474348"/>
                  <a:gd name="connsiteY3" fmla="*/ 216516 h 669131"/>
                  <a:gd name="connsiteX4" fmla="*/ 474348 w 474348"/>
                  <a:gd name="connsiteY4" fmla="*/ 669131 h 669131"/>
                  <a:gd name="connsiteX5" fmla="*/ 474348 w 474348"/>
                  <a:gd name="connsiteY5" fmla="*/ 669131 h 669131"/>
                  <a:gd name="connsiteX6" fmla="*/ 248129 w 474348"/>
                  <a:gd name="connsiteY6" fmla="*/ 669131 h 669131"/>
                  <a:gd name="connsiteX7" fmla="*/ 0 w 474348"/>
                  <a:gd name="connsiteY7" fmla="*/ 669131 h 669131"/>
                  <a:gd name="connsiteX8" fmla="*/ 0 w 474348"/>
                  <a:gd name="connsiteY8" fmla="*/ 669131 h 669131"/>
                  <a:gd name="connsiteX9" fmla="*/ 0 w 474348"/>
                  <a:gd name="connsiteY9" fmla="*/ 216516 h 669131"/>
                  <a:gd name="connsiteX10" fmla="*/ 192704 w 474348"/>
                  <a:gd name="connsiteY10" fmla="*/ 23812 h 669131"/>
                  <a:gd name="connsiteX0" fmla="*/ 192704 w 474348"/>
                  <a:gd name="connsiteY0" fmla="*/ 23812 h 669131"/>
                  <a:gd name="connsiteX1" fmla="*/ 265690 w 474348"/>
                  <a:gd name="connsiteY1" fmla="*/ 0 h 669131"/>
                  <a:gd name="connsiteX2" fmla="*/ 281644 w 474348"/>
                  <a:gd name="connsiteY2" fmla="*/ 23812 h 669131"/>
                  <a:gd name="connsiteX3" fmla="*/ 474348 w 474348"/>
                  <a:gd name="connsiteY3" fmla="*/ 216516 h 669131"/>
                  <a:gd name="connsiteX4" fmla="*/ 474348 w 474348"/>
                  <a:gd name="connsiteY4" fmla="*/ 669131 h 669131"/>
                  <a:gd name="connsiteX5" fmla="*/ 474348 w 474348"/>
                  <a:gd name="connsiteY5" fmla="*/ 669131 h 669131"/>
                  <a:gd name="connsiteX6" fmla="*/ 248129 w 474348"/>
                  <a:gd name="connsiteY6" fmla="*/ 669131 h 669131"/>
                  <a:gd name="connsiteX7" fmla="*/ 0 w 474348"/>
                  <a:gd name="connsiteY7" fmla="*/ 669131 h 669131"/>
                  <a:gd name="connsiteX8" fmla="*/ 0 w 474348"/>
                  <a:gd name="connsiteY8" fmla="*/ 669131 h 669131"/>
                  <a:gd name="connsiteX9" fmla="*/ 0 w 474348"/>
                  <a:gd name="connsiteY9" fmla="*/ 216516 h 669131"/>
                  <a:gd name="connsiteX10" fmla="*/ 192704 w 474348"/>
                  <a:gd name="connsiteY10" fmla="*/ 23812 h 669131"/>
                  <a:gd name="connsiteX0" fmla="*/ 192704 w 474348"/>
                  <a:gd name="connsiteY0" fmla="*/ 23812 h 669131"/>
                  <a:gd name="connsiteX1" fmla="*/ 265690 w 474348"/>
                  <a:gd name="connsiteY1" fmla="*/ 0 h 669131"/>
                  <a:gd name="connsiteX2" fmla="*/ 281644 w 474348"/>
                  <a:gd name="connsiteY2" fmla="*/ 23812 h 669131"/>
                  <a:gd name="connsiteX3" fmla="*/ 474348 w 474348"/>
                  <a:gd name="connsiteY3" fmla="*/ 216516 h 669131"/>
                  <a:gd name="connsiteX4" fmla="*/ 474348 w 474348"/>
                  <a:gd name="connsiteY4" fmla="*/ 669131 h 669131"/>
                  <a:gd name="connsiteX5" fmla="*/ 474348 w 474348"/>
                  <a:gd name="connsiteY5" fmla="*/ 669131 h 669131"/>
                  <a:gd name="connsiteX6" fmla="*/ 248129 w 474348"/>
                  <a:gd name="connsiteY6" fmla="*/ 669131 h 669131"/>
                  <a:gd name="connsiteX7" fmla="*/ 0 w 474348"/>
                  <a:gd name="connsiteY7" fmla="*/ 669131 h 669131"/>
                  <a:gd name="connsiteX8" fmla="*/ 0 w 474348"/>
                  <a:gd name="connsiteY8" fmla="*/ 669131 h 669131"/>
                  <a:gd name="connsiteX9" fmla="*/ 0 w 474348"/>
                  <a:gd name="connsiteY9" fmla="*/ 216516 h 669131"/>
                  <a:gd name="connsiteX10" fmla="*/ 192704 w 474348"/>
                  <a:gd name="connsiteY10" fmla="*/ 23812 h 669131"/>
                  <a:gd name="connsiteX0" fmla="*/ 192704 w 474348"/>
                  <a:gd name="connsiteY0" fmla="*/ 23812 h 669131"/>
                  <a:gd name="connsiteX1" fmla="*/ 265690 w 474348"/>
                  <a:gd name="connsiteY1" fmla="*/ 0 h 669131"/>
                  <a:gd name="connsiteX2" fmla="*/ 281644 w 474348"/>
                  <a:gd name="connsiteY2" fmla="*/ 23812 h 669131"/>
                  <a:gd name="connsiteX3" fmla="*/ 474348 w 474348"/>
                  <a:gd name="connsiteY3" fmla="*/ 216516 h 669131"/>
                  <a:gd name="connsiteX4" fmla="*/ 474348 w 474348"/>
                  <a:gd name="connsiteY4" fmla="*/ 669131 h 669131"/>
                  <a:gd name="connsiteX5" fmla="*/ 474348 w 474348"/>
                  <a:gd name="connsiteY5" fmla="*/ 669131 h 669131"/>
                  <a:gd name="connsiteX6" fmla="*/ 248129 w 474348"/>
                  <a:gd name="connsiteY6" fmla="*/ 669131 h 669131"/>
                  <a:gd name="connsiteX7" fmla="*/ 0 w 474348"/>
                  <a:gd name="connsiteY7" fmla="*/ 669131 h 669131"/>
                  <a:gd name="connsiteX8" fmla="*/ 0 w 474348"/>
                  <a:gd name="connsiteY8" fmla="*/ 669131 h 669131"/>
                  <a:gd name="connsiteX9" fmla="*/ 0 w 474348"/>
                  <a:gd name="connsiteY9" fmla="*/ 216516 h 669131"/>
                  <a:gd name="connsiteX10" fmla="*/ 192704 w 474348"/>
                  <a:gd name="connsiteY10" fmla="*/ 23812 h 669131"/>
                  <a:gd name="connsiteX0" fmla="*/ 192704 w 474348"/>
                  <a:gd name="connsiteY0" fmla="*/ 23812 h 669131"/>
                  <a:gd name="connsiteX1" fmla="*/ 265690 w 474348"/>
                  <a:gd name="connsiteY1" fmla="*/ 0 h 669131"/>
                  <a:gd name="connsiteX2" fmla="*/ 299854 w 474348"/>
                  <a:gd name="connsiteY2" fmla="*/ 24247 h 669131"/>
                  <a:gd name="connsiteX3" fmla="*/ 474348 w 474348"/>
                  <a:gd name="connsiteY3" fmla="*/ 216516 h 669131"/>
                  <a:gd name="connsiteX4" fmla="*/ 474348 w 474348"/>
                  <a:gd name="connsiteY4" fmla="*/ 669131 h 669131"/>
                  <a:gd name="connsiteX5" fmla="*/ 474348 w 474348"/>
                  <a:gd name="connsiteY5" fmla="*/ 669131 h 669131"/>
                  <a:gd name="connsiteX6" fmla="*/ 248129 w 474348"/>
                  <a:gd name="connsiteY6" fmla="*/ 669131 h 669131"/>
                  <a:gd name="connsiteX7" fmla="*/ 0 w 474348"/>
                  <a:gd name="connsiteY7" fmla="*/ 669131 h 669131"/>
                  <a:gd name="connsiteX8" fmla="*/ 0 w 474348"/>
                  <a:gd name="connsiteY8" fmla="*/ 669131 h 669131"/>
                  <a:gd name="connsiteX9" fmla="*/ 0 w 474348"/>
                  <a:gd name="connsiteY9" fmla="*/ 216516 h 669131"/>
                  <a:gd name="connsiteX10" fmla="*/ 192704 w 474348"/>
                  <a:gd name="connsiteY10" fmla="*/ 23812 h 669131"/>
                  <a:gd name="connsiteX0" fmla="*/ 192704 w 474348"/>
                  <a:gd name="connsiteY0" fmla="*/ 23812 h 669131"/>
                  <a:gd name="connsiteX1" fmla="*/ 265690 w 474348"/>
                  <a:gd name="connsiteY1" fmla="*/ 0 h 669131"/>
                  <a:gd name="connsiteX2" fmla="*/ 299854 w 474348"/>
                  <a:gd name="connsiteY2" fmla="*/ 24247 h 669131"/>
                  <a:gd name="connsiteX3" fmla="*/ 474348 w 474348"/>
                  <a:gd name="connsiteY3" fmla="*/ 216516 h 669131"/>
                  <a:gd name="connsiteX4" fmla="*/ 474348 w 474348"/>
                  <a:gd name="connsiteY4" fmla="*/ 669131 h 669131"/>
                  <a:gd name="connsiteX5" fmla="*/ 474348 w 474348"/>
                  <a:gd name="connsiteY5" fmla="*/ 669131 h 669131"/>
                  <a:gd name="connsiteX6" fmla="*/ 248129 w 474348"/>
                  <a:gd name="connsiteY6" fmla="*/ 669131 h 669131"/>
                  <a:gd name="connsiteX7" fmla="*/ 0 w 474348"/>
                  <a:gd name="connsiteY7" fmla="*/ 669131 h 669131"/>
                  <a:gd name="connsiteX8" fmla="*/ 0 w 474348"/>
                  <a:gd name="connsiteY8" fmla="*/ 669131 h 669131"/>
                  <a:gd name="connsiteX9" fmla="*/ 0 w 474348"/>
                  <a:gd name="connsiteY9" fmla="*/ 216516 h 669131"/>
                  <a:gd name="connsiteX10" fmla="*/ 192704 w 474348"/>
                  <a:gd name="connsiteY10" fmla="*/ 23812 h 669131"/>
                  <a:gd name="connsiteX0" fmla="*/ 192704 w 474348"/>
                  <a:gd name="connsiteY0" fmla="*/ 23812 h 669131"/>
                  <a:gd name="connsiteX1" fmla="*/ 265690 w 474348"/>
                  <a:gd name="connsiteY1" fmla="*/ 0 h 669131"/>
                  <a:gd name="connsiteX2" fmla="*/ 299854 w 474348"/>
                  <a:gd name="connsiteY2" fmla="*/ 24247 h 669131"/>
                  <a:gd name="connsiteX3" fmla="*/ 474348 w 474348"/>
                  <a:gd name="connsiteY3" fmla="*/ 216516 h 669131"/>
                  <a:gd name="connsiteX4" fmla="*/ 474348 w 474348"/>
                  <a:gd name="connsiteY4" fmla="*/ 669131 h 669131"/>
                  <a:gd name="connsiteX5" fmla="*/ 474348 w 474348"/>
                  <a:gd name="connsiteY5" fmla="*/ 669131 h 669131"/>
                  <a:gd name="connsiteX6" fmla="*/ 248129 w 474348"/>
                  <a:gd name="connsiteY6" fmla="*/ 669131 h 669131"/>
                  <a:gd name="connsiteX7" fmla="*/ 0 w 474348"/>
                  <a:gd name="connsiteY7" fmla="*/ 669131 h 669131"/>
                  <a:gd name="connsiteX8" fmla="*/ 0 w 474348"/>
                  <a:gd name="connsiteY8" fmla="*/ 669131 h 669131"/>
                  <a:gd name="connsiteX9" fmla="*/ 0 w 474348"/>
                  <a:gd name="connsiteY9" fmla="*/ 216516 h 669131"/>
                  <a:gd name="connsiteX10" fmla="*/ 192704 w 474348"/>
                  <a:gd name="connsiteY10" fmla="*/ 23812 h 669131"/>
                  <a:gd name="connsiteX0" fmla="*/ 192704 w 474348"/>
                  <a:gd name="connsiteY0" fmla="*/ 23812 h 669131"/>
                  <a:gd name="connsiteX1" fmla="*/ 265690 w 474348"/>
                  <a:gd name="connsiteY1" fmla="*/ 0 h 669131"/>
                  <a:gd name="connsiteX2" fmla="*/ 299854 w 474348"/>
                  <a:gd name="connsiteY2" fmla="*/ 24247 h 669131"/>
                  <a:gd name="connsiteX3" fmla="*/ 474348 w 474348"/>
                  <a:gd name="connsiteY3" fmla="*/ 216516 h 669131"/>
                  <a:gd name="connsiteX4" fmla="*/ 474348 w 474348"/>
                  <a:gd name="connsiteY4" fmla="*/ 669131 h 669131"/>
                  <a:gd name="connsiteX5" fmla="*/ 474348 w 474348"/>
                  <a:gd name="connsiteY5" fmla="*/ 669131 h 669131"/>
                  <a:gd name="connsiteX6" fmla="*/ 248129 w 474348"/>
                  <a:gd name="connsiteY6" fmla="*/ 669131 h 669131"/>
                  <a:gd name="connsiteX7" fmla="*/ 0 w 474348"/>
                  <a:gd name="connsiteY7" fmla="*/ 669131 h 669131"/>
                  <a:gd name="connsiteX8" fmla="*/ 0 w 474348"/>
                  <a:gd name="connsiteY8" fmla="*/ 669131 h 669131"/>
                  <a:gd name="connsiteX9" fmla="*/ 0 w 474348"/>
                  <a:gd name="connsiteY9" fmla="*/ 216516 h 669131"/>
                  <a:gd name="connsiteX10" fmla="*/ 192704 w 474348"/>
                  <a:gd name="connsiteY10" fmla="*/ 23812 h 669131"/>
                  <a:gd name="connsiteX0" fmla="*/ 192704 w 474348"/>
                  <a:gd name="connsiteY0" fmla="*/ 23812 h 669131"/>
                  <a:gd name="connsiteX1" fmla="*/ 265690 w 474348"/>
                  <a:gd name="connsiteY1" fmla="*/ 0 h 669131"/>
                  <a:gd name="connsiteX2" fmla="*/ 317751 w 474348"/>
                  <a:gd name="connsiteY2" fmla="*/ 24078 h 669131"/>
                  <a:gd name="connsiteX3" fmla="*/ 474348 w 474348"/>
                  <a:gd name="connsiteY3" fmla="*/ 216516 h 669131"/>
                  <a:gd name="connsiteX4" fmla="*/ 474348 w 474348"/>
                  <a:gd name="connsiteY4" fmla="*/ 669131 h 669131"/>
                  <a:gd name="connsiteX5" fmla="*/ 474348 w 474348"/>
                  <a:gd name="connsiteY5" fmla="*/ 669131 h 669131"/>
                  <a:gd name="connsiteX6" fmla="*/ 248129 w 474348"/>
                  <a:gd name="connsiteY6" fmla="*/ 669131 h 669131"/>
                  <a:gd name="connsiteX7" fmla="*/ 0 w 474348"/>
                  <a:gd name="connsiteY7" fmla="*/ 669131 h 669131"/>
                  <a:gd name="connsiteX8" fmla="*/ 0 w 474348"/>
                  <a:gd name="connsiteY8" fmla="*/ 669131 h 669131"/>
                  <a:gd name="connsiteX9" fmla="*/ 0 w 474348"/>
                  <a:gd name="connsiteY9" fmla="*/ 216516 h 669131"/>
                  <a:gd name="connsiteX10" fmla="*/ 192704 w 474348"/>
                  <a:gd name="connsiteY10" fmla="*/ 23812 h 669131"/>
                  <a:gd name="connsiteX0" fmla="*/ 192704 w 474348"/>
                  <a:gd name="connsiteY0" fmla="*/ 23812 h 669131"/>
                  <a:gd name="connsiteX1" fmla="*/ 265690 w 474348"/>
                  <a:gd name="connsiteY1" fmla="*/ 0 h 669131"/>
                  <a:gd name="connsiteX2" fmla="*/ 317751 w 474348"/>
                  <a:gd name="connsiteY2" fmla="*/ 24078 h 669131"/>
                  <a:gd name="connsiteX3" fmla="*/ 474348 w 474348"/>
                  <a:gd name="connsiteY3" fmla="*/ 216516 h 669131"/>
                  <a:gd name="connsiteX4" fmla="*/ 474348 w 474348"/>
                  <a:gd name="connsiteY4" fmla="*/ 669131 h 669131"/>
                  <a:gd name="connsiteX5" fmla="*/ 474348 w 474348"/>
                  <a:gd name="connsiteY5" fmla="*/ 669131 h 669131"/>
                  <a:gd name="connsiteX6" fmla="*/ 248129 w 474348"/>
                  <a:gd name="connsiteY6" fmla="*/ 669131 h 669131"/>
                  <a:gd name="connsiteX7" fmla="*/ 0 w 474348"/>
                  <a:gd name="connsiteY7" fmla="*/ 669131 h 669131"/>
                  <a:gd name="connsiteX8" fmla="*/ 0 w 474348"/>
                  <a:gd name="connsiteY8" fmla="*/ 669131 h 669131"/>
                  <a:gd name="connsiteX9" fmla="*/ 0 w 474348"/>
                  <a:gd name="connsiteY9" fmla="*/ 216516 h 669131"/>
                  <a:gd name="connsiteX10" fmla="*/ 192704 w 474348"/>
                  <a:gd name="connsiteY10" fmla="*/ 23812 h 6691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74348" h="669131">
                    <a:moveTo>
                      <a:pt x="192704" y="23812"/>
                    </a:moveTo>
                    <a:cubicBezTo>
                      <a:pt x="263527" y="1482"/>
                      <a:pt x="241361" y="7937"/>
                      <a:pt x="265690" y="0"/>
                    </a:cubicBezTo>
                    <a:cubicBezTo>
                      <a:pt x="271008" y="7937"/>
                      <a:pt x="263093" y="-988"/>
                      <a:pt x="317751" y="24078"/>
                    </a:cubicBezTo>
                    <a:cubicBezTo>
                      <a:pt x="369579" y="48860"/>
                      <a:pt x="474348" y="110089"/>
                      <a:pt x="474348" y="216516"/>
                    </a:cubicBezTo>
                    <a:lnTo>
                      <a:pt x="474348" y="669131"/>
                    </a:lnTo>
                    <a:lnTo>
                      <a:pt x="474348" y="669131"/>
                    </a:lnTo>
                    <a:lnTo>
                      <a:pt x="248129" y="669131"/>
                    </a:lnTo>
                    <a:lnTo>
                      <a:pt x="0" y="669131"/>
                    </a:lnTo>
                    <a:lnTo>
                      <a:pt x="0" y="669131"/>
                    </a:lnTo>
                    <a:lnTo>
                      <a:pt x="0" y="216516"/>
                    </a:lnTo>
                    <a:cubicBezTo>
                      <a:pt x="0" y="110089"/>
                      <a:pt x="141340" y="43314"/>
                      <a:pt x="192704" y="23812"/>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53" name="Round Same Side Corner Rectangle 11"/>
              <p:cNvSpPr/>
              <p:nvPr/>
            </p:nvSpPr>
            <p:spPr>
              <a:xfrm rot="15060000">
                <a:off x="1454696" y="1026331"/>
                <a:ext cx="251846" cy="2611946"/>
              </a:xfrm>
              <a:custGeom>
                <a:avLst/>
                <a:gdLst>
                  <a:gd name="connsiteX0" fmla="*/ 192704 w 474348"/>
                  <a:gd name="connsiteY0" fmla="*/ 0 h 645319"/>
                  <a:gd name="connsiteX1" fmla="*/ 281644 w 474348"/>
                  <a:gd name="connsiteY1" fmla="*/ 0 h 645319"/>
                  <a:gd name="connsiteX2" fmla="*/ 474348 w 474348"/>
                  <a:gd name="connsiteY2" fmla="*/ 192704 h 645319"/>
                  <a:gd name="connsiteX3" fmla="*/ 474348 w 474348"/>
                  <a:gd name="connsiteY3" fmla="*/ 645319 h 645319"/>
                  <a:gd name="connsiteX4" fmla="*/ 474348 w 474348"/>
                  <a:gd name="connsiteY4" fmla="*/ 645319 h 645319"/>
                  <a:gd name="connsiteX5" fmla="*/ 0 w 474348"/>
                  <a:gd name="connsiteY5" fmla="*/ 645319 h 645319"/>
                  <a:gd name="connsiteX6" fmla="*/ 0 w 474348"/>
                  <a:gd name="connsiteY6" fmla="*/ 645319 h 645319"/>
                  <a:gd name="connsiteX7" fmla="*/ 0 w 474348"/>
                  <a:gd name="connsiteY7" fmla="*/ 192704 h 645319"/>
                  <a:gd name="connsiteX8" fmla="*/ 192704 w 474348"/>
                  <a:gd name="connsiteY8" fmla="*/ 0 h 645319"/>
                  <a:gd name="connsiteX0" fmla="*/ 192704 w 474348"/>
                  <a:gd name="connsiteY0" fmla="*/ 0 h 645319"/>
                  <a:gd name="connsiteX1" fmla="*/ 281644 w 474348"/>
                  <a:gd name="connsiteY1" fmla="*/ 0 h 645319"/>
                  <a:gd name="connsiteX2" fmla="*/ 474348 w 474348"/>
                  <a:gd name="connsiteY2" fmla="*/ 192704 h 645319"/>
                  <a:gd name="connsiteX3" fmla="*/ 474348 w 474348"/>
                  <a:gd name="connsiteY3" fmla="*/ 645319 h 645319"/>
                  <a:gd name="connsiteX4" fmla="*/ 474348 w 474348"/>
                  <a:gd name="connsiteY4" fmla="*/ 645319 h 645319"/>
                  <a:gd name="connsiteX5" fmla="*/ 248129 w 474348"/>
                  <a:gd name="connsiteY5" fmla="*/ 645319 h 645319"/>
                  <a:gd name="connsiteX6" fmla="*/ 0 w 474348"/>
                  <a:gd name="connsiteY6" fmla="*/ 645319 h 645319"/>
                  <a:gd name="connsiteX7" fmla="*/ 0 w 474348"/>
                  <a:gd name="connsiteY7" fmla="*/ 645319 h 645319"/>
                  <a:gd name="connsiteX8" fmla="*/ 0 w 474348"/>
                  <a:gd name="connsiteY8" fmla="*/ 192704 h 645319"/>
                  <a:gd name="connsiteX9" fmla="*/ 192704 w 474348"/>
                  <a:gd name="connsiteY9" fmla="*/ 0 h 645319"/>
                  <a:gd name="connsiteX0" fmla="*/ 192704 w 474348"/>
                  <a:gd name="connsiteY0" fmla="*/ 2381 h 647700"/>
                  <a:gd name="connsiteX1" fmla="*/ 240986 w 474348"/>
                  <a:gd name="connsiteY1" fmla="*/ 0 h 647700"/>
                  <a:gd name="connsiteX2" fmla="*/ 281644 w 474348"/>
                  <a:gd name="connsiteY2" fmla="*/ 2381 h 647700"/>
                  <a:gd name="connsiteX3" fmla="*/ 474348 w 474348"/>
                  <a:gd name="connsiteY3" fmla="*/ 195085 h 647700"/>
                  <a:gd name="connsiteX4" fmla="*/ 474348 w 474348"/>
                  <a:gd name="connsiteY4" fmla="*/ 647700 h 647700"/>
                  <a:gd name="connsiteX5" fmla="*/ 474348 w 474348"/>
                  <a:gd name="connsiteY5" fmla="*/ 647700 h 647700"/>
                  <a:gd name="connsiteX6" fmla="*/ 248129 w 474348"/>
                  <a:gd name="connsiteY6" fmla="*/ 647700 h 647700"/>
                  <a:gd name="connsiteX7" fmla="*/ 0 w 474348"/>
                  <a:gd name="connsiteY7" fmla="*/ 647700 h 647700"/>
                  <a:gd name="connsiteX8" fmla="*/ 0 w 474348"/>
                  <a:gd name="connsiteY8" fmla="*/ 647700 h 647700"/>
                  <a:gd name="connsiteX9" fmla="*/ 0 w 474348"/>
                  <a:gd name="connsiteY9" fmla="*/ 195085 h 647700"/>
                  <a:gd name="connsiteX10" fmla="*/ 192704 w 474348"/>
                  <a:gd name="connsiteY10" fmla="*/ 2381 h 647700"/>
                  <a:gd name="connsiteX0" fmla="*/ 192704 w 474348"/>
                  <a:gd name="connsiteY0" fmla="*/ 42862 h 688181"/>
                  <a:gd name="connsiteX1" fmla="*/ 240986 w 474348"/>
                  <a:gd name="connsiteY1" fmla="*/ 0 h 688181"/>
                  <a:gd name="connsiteX2" fmla="*/ 281644 w 474348"/>
                  <a:gd name="connsiteY2" fmla="*/ 42862 h 688181"/>
                  <a:gd name="connsiteX3" fmla="*/ 474348 w 474348"/>
                  <a:gd name="connsiteY3" fmla="*/ 235566 h 688181"/>
                  <a:gd name="connsiteX4" fmla="*/ 474348 w 474348"/>
                  <a:gd name="connsiteY4" fmla="*/ 688181 h 688181"/>
                  <a:gd name="connsiteX5" fmla="*/ 474348 w 474348"/>
                  <a:gd name="connsiteY5" fmla="*/ 688181 h 688181"/>
                  <a:gd name="connsiteX6" fmla="*/ 248129 w 474348"/>
                  <a:gd name="connsiteY6" fmla="*/ 688181 h 688181"/>
                  <a:gd name="connsiteX7" fmla="*/ 0 w 474348"/>
                  <a:gd name="connsiteY7" fmla="*/ 688181 h 688181"/>
                  <a:gd name="connsiteX8" fmla="*/ 0 w 474348"/>
                  <a:gd name="connsiteY8" fmla="*/ 688181 h 688181"/>
                  <a:gd name="connsiteX9" fmla="*/ 0 w 474348"/>
                  <a:gd name="connsiteY9" fmla="*/ 235566 h 688181"/>
                  <a:gd name="connsiteX10" fmla="*/ 192704 w 474348"/>
                  <a:gd name="connsiteY10" fmla="*/ 42862 h 688181"/>
                  <a:gd name="connsiteX0" fmla="*/ 192704 w 474348"/>
                  <a:gd name="connsiteY0" fmla="*/ 23812 h 669131"/>
                  <a:gd name="connsiteX1" fmla="*/ 265690 w 474348"/>
                  <a:gd name="connsiteY1" fmla="*/ 0 h 669131"/>
                  <a:gd name="connsiteX2" fmla="*/ 281644 w 474348"/>
                  <a:gd name="connsiteY2" fmla="*/ 23812 h 669131"/>
                  <a:gd name="connsiteX3" fmla="*/ 474348 w 474348"/>
                  <a:gd name="connsiteY3" fmla="*/ 216516 h 669131"/>
                  <a:gd name="connsiteX4" fmla="*/ 474348 w 474348"/>
                  <a:gd name="connsiteY4" fmla="*/ 669131 h 669131"/>
                  <a:gd name="connsiteX5" fmla="*/ 474348 w 474348"/>
                  <a:gd name="connsiteY5" fmla="*/ 669131 h 669131"/>
                  <a:gd name="connsiteX6" fmla="*/ 248129 w 474348"/>
                  <a:gd name="connsiteY6" fmla="*/ 669131 h 669131"/>
                  <a:gd name="connsiteX7" fmla="*/ 0 w 474348"/>
                  <a:gd name="connsiteY7" fmla="*/ 669131 h 669131"/>
                  <a:gd name="connsiteX8" fmla="*/ 0 w 474348"/>
                  <a:gd name="connsiteY8" fmla="*/ 669131 h 669131"/>
                  <a:gd name="connsiteX9" fmla="*/ 0 w 474348"/>
                  <a:gd name="connsiteY9" fmla="*/ 216516 h 669131"/>
                  <a:gd name="connsiteX10" fmla="*/ 192704 w 474348"/>
                  <a:gd name="connsiteY10" fmla="*/ 23812 h 669131"/>
                  <a:gd name="connsiteX0" fmla="*/ 192704 w 474348"/>
                  <a:gd name="connsiteY0" fmla="*/ 23812 h 669131"/>
                  <a:gd name="connsiteX1" fmla="*/ 265690 w 474348"/>
                  <a:gd name="connsiteY1" fmla="*/ 0 h 669131"/>
                  <a:gd name="connsiteX2" fmla="*/ 281644 w 474348"/>
                  <a:gd name="connsiteY2" fmla="*/ 23812 h 669131"/>
                  <a:gd name="connsiteX3" fmla="*/ 474348 w 474348"/>
                  <a:gd name="connsiteY3" fmla="*/ 216516 h 669131"/>
                  <a:gd name="connsiteX4" fmla="*/ 474348 w 474348"/>
                  <a:gd name="connsiteY4" fmla="*/ 669131 h 669131"/>
                  <a:gd name="connsiteX5" fmla="*/ 474348 w 474348"/>
                  <a:gd name="connsiteY5" fmla="*/ 669131 h 669131"/>
                  <a:gd name="connsiteX6" fmla="*/ 248129 w 474348"/>
                  <a:gd name="connsiteY6" fmla="*/ 669131 h 669131"/>
                  <a:gd name="connsiteX7" fmla="*/ 0 w 474348"/>
                  <a:gd name="connsiteY7" fmla="*/ 669131 h 669131"/>
                  <a:gd name="connsiteX8" fmla="*/ 0 w 474348"/>
                  <a:gd name="connsiteY8" fmla="*/ 669131 h 669131"/>
                  <a:gd name="connsiteX9" fmla="*/ 0 w 474348"/>
                  <a:gd name="connsiteY9" fmla="*/ 216516 h 669131"/>
                  <a:gd name="connsiteX10" fmla="*/ 192704 w 474348"/>
                  <a:gd name="connsiteY10" fmla="*/ 23812 h 669131"/>
                  <a:gd name="connsiteX0" fmla="*/ 192704 w 474348"/>
                  <a:gd name="connsiteY0" fmla="*/ 23812 h 669131"/>
                  <a:gd name="connsiteX1" fmla="*/ 265690 w 474348"/>
                  <a:gd name="connsiteY1" fmla="*/ 0 h 669131"/>
                  <a:gd name="connsiteX2" fmla="*/ 281644 w 474348"/>
                  <a:gd name="connsiteY2" fmla="*/ 23812 h 669131"/>
                  <a:gd name="connsiteX3" fmla="*/ 474348 w 474348"/>
                  <a:gd name="connsiteY3" fmla="*/ 216516 h 669131"/>
                  <a:gd name="connsiteX4" fmla="*/ 474348 w 474348"/>
                  <a:gd name="connsiteY4" fmla="*/ 669131 h 669131"/>
                  <a:gd name="connsiteX5" fmla="*/ 474348 w 474348"/>
                  <a:gd name="connsiteY5" fmla="*/ 669131 h 669131"/>
                  <a:gd name="connsiteX6" fmla="*/ 248129 w 474348"/>
                  <a:gd name="connsiteY6" fmla="*/ 669131 h 669131"/>
                  <a:gd name="connsiteX7" fmla="*/ 0 w 474348"/>
                  <a:gd name="connsiteY7" fmla="*/ 669131 h 669131"/>
                  <a:gd name="connsiteX8" fmla="*/ 0 w 474348"/>
                  <a:gd name="connsiteY8" fmla="*/ 669131 h 669131"/>
                  <a:gd name="connsiteX9" fmla="*/ 0 w 474348"/>
                  <a:gd name="connsiteY9" fmla="*/ 216516 h 669131"/>
                  <a:gd name="connsiteX10" fmla="*/ 192704 w 474348"/>
                  <a:gd name="connsiteY10" fmla="*/ 23812 h 669131"/>
                  <a:gd name="connsiteX0" fmla="*/ 192704 w 474348"/>
                  <a:gd name="connsiteY0" fmla="*/ 23812 h 669131"/>
                  <a:gd name="connsiteX1" fmla="*/ 265690 w 474348"/>
                  <a:gd name="connsiteY1" fmla="*/ 0 h 669131"/>
                  <a:gd name="connsiteX2" fmla="*/ 314250 w 474348"/>
                  <a:gd name="connsiteY2" fmla="*/ 24047 h 669131"/>
                  <a:gd name="connsiteX3" fmla="*/ 474348 w 474348"/>
                  <a:gd name="connsiteY3" fmla="*/ 216516 h 669131"/>
                  <a:gd name="connsiteX4" fmla="*/ 474348 w 474348"/>
                  <a:gd name="connsiteY4" fmla="*/ 669131 h 669131"/>
                  <a:gd name="connsiteX5" fmla="*/ 474348 w 474348"/>
                  <a:gd name="connsiteY5" fmla="*/ 669131 h 669131"/>
                  <a:gd name="connsiteX6" fmla="*/ 248129 w 474348"/>
                  <a:gd name="connsiteY6" fmla="*/ 669131 h 669131"/>
                  <a:gd name="connsiteX7" fmla="*/ 0 w 474348"/>
                  <a:gd name="connsiteY7" fmla="*/ 669131 h 669131"/>
                  <a:gd name="connsiteX8" fmla="*/ 0 w 474348"/>
                  <a:gd name="connsiteY8" fmla="*/ 669131 h 669131"/>
                  <a:gd name="connsiteX9" fmla="*/ 0 w 474348"/>
                  <a:gd name="connsiteY9" fmla="*/ 216516 h 669131"/>
                  <a:gd name="connsiteX10" fmla="*/ 192704 w 474348"/>
                  <a:gd name="connsiteY10" fmla="*/ 23812 h 669131"/>
                  <a:gd name="connsiteX0" fmla="*/ 192704 w 474348"/>
                  <a:gd name="connsiteY0" fmla="*/ 23812 h 669131"/>
                  <a:gd name="connsiteX1" fmla="*/ 265690 w 474348"/>
                  <a:gd name="connsiteY1" fmla="*/ 0 h 669131"/>
                  <a:gd name="connsiteX2" fmla="*/ 314250 w 474348"/>
                  <a:gd name="connsiteY2" fmla="*/ 24047 h 669131"/>
                  <a:gd name="connsiteX3" fmla="*/ 474348 w 474348"/>
                  <a:gd name="connsiteY3" fmla="*/ 216516 h 669131"/>
                  <a:gd name="connsiteX4" fmla="*/ 474348 w 474348"/>
                  <a:gd name="connsiteY4" fmla="*/ 669131 h 669131"/>
                  <a:gd name="connsiteX5" fmla="*/ 474348 w 474348"/>
                  <a:gd name="connsiteY5" fmla="*/ 669131 h 669131"/>
                  <a:gd name="connsiteX6" fmla="*/ 248129 w 474348"/>
                  <a:gd name="connsiteY6" fmla="*/ 669131 h 669131"/>
                  <a:gd name="connsiteX7" fmla="*/ 0 w 474348"/>
                  <a:gd name="connsiteY7" fmla="*/ 669131 h 669131"/>
                  <a:gd name="connsiteX8" fmla="*/ 0 w 474348"/>
                  <a:gd name="connsiteY8" fmla="*/ 669131 h 669131"/>
                  <a:gd name="connsiteX9" fmla="*/ 0 w 474348"/>
                  <a:gd name="connsiteY9" fmla="*/ 216516 h 669131"/>
                  <a:gd name="connsiteX10" fmla="*/ 192704 w 474348"/>
                  <a:gd name="connsiteY10" fmla="*/ 23812 h 669131"/>
                  <a:gd name="connsiteX0" fmla="*/ 192704 w 474348"/>
                  <a:gd name="connsiteY0" fmla="*/ 23812 h 669131"/>
                  <a:gd name="connsiteX1" fmla="*/ 265690 w 474348"/>
                  <a:gd name="connsiteY1" fmla="*/ 0 h 669131"/>
                  <a:gd name="connsiteX2" fmla="*/ 314250 w 474348"/>
                  <a:gd name="connsiteY2" fmla="*/ 24047 h 669131"/>
                  <a:gd name="connsiteX3" fmla="*/ 474348 w 474348"/>
                  <a:gd name="connsiteY3" fmla="*/ 216516 h 669131"/>
                  <a:gd name="connsiteX4" fmla="*/ 474348 w 474348"/>
                  <a:gd name="connsiteY4" fmla="*/ 669131 h 669131"/>
                  <a:gd name="connsiteX5" fmla="*/ 474348 w 474348"/>
                  <a:gd name="connsiteY5" fmla="*/ 669131 h 669131"/>
                  <a:gd name="connsiteX6" fmla="*/ 248129 w 474348"/>
                  <a:gd name="connsiteY6" fmla="*/ 669131 h 669131"/>
                  <a:gd name="connsiteX7" fmla="*/ 0 w 474348"/>
                  <a:gd name="connsiteY7" fmla="*/ 669131 h 669131"/>
                  <a:gd name="connsiteX8" fmla="*/ 0 w 474348"/>
                  <a:gd name="connsiteY8" fmla="*/ 669131 h 669131"/>
                  <a:gd name="connsiteX9" fmla="*/ 0 w 474348"/>
                  <a:gd name="connsiteY9" fmla="*/ 216516 h 669131"/>
                  <a:gd name="connsiteX10" fmla="*/ 192704 w 474348"/>
                  <a:gd name="connsiteY10" fmla="*/ 23812 h 669131"/>
                  <a:gd name="connsiteX0" fmla="*/ 174282 w 474348"/>
                  <a:gd name="connsiteY0" fmla="*/ 23596 h 669131"/>
                  <a:gd name="connsiteX1" fmla="*/ 265690 w 474348"/>
                  <a:gd name="connsiteY1" fmla="*/ 0 h 669131"/>
                  <a:gd name="connsiteX2" fmla="*/ 314250 w 474348"/>
                  <a:gd name="connsiteY2" fmla="*/ 24047 h 669131"/>
                  <a:gd name="connsiteX3" fmla="*/ 474348 w 474348"/>
                  <a:gd name="connsiteY3" fmla="*/ 216516 h 669131"/>
                  <a:gd name="connsiteX4" fmla="*/ 474348 w 474348"/>
                  <a:gd name="connsiteY4" fmla="*/ 669131 h 669131"/>
                  <a:gd name="connsiteX5" fmla="*/ 474348 w 474348"/>
                  <a:gd name="connsiteY5" fmla="*/ 669131 h 669131"/>
                  <a:gd name="connsiteX6" fmla="*/ 248129 w 474348"/>
                  <a:gd name="connsiteY6" fmla="*/ 669131 h 669131"/>
                  <a:gd name="connsiteX7" fmla="*/ 0 w 474348"/>
                  <a:gd name="connsiteY7" fmla="*/ 669131 h 669131"/>
                  <a:gd name="connsiteX8" fmla="*/ 0 w 474348"/>
                  <a:gd name="connsiteY8" fmla="*/ 669131 h 669131"/>
                  <a:gd name="connsiteX9" fmla="*/ 0 w 474348"/>
                  <a:gd name="connsiteY9" fmla="*/ 216516 h 669131"/>
                  <a:gd name="connsiteX10" fmla="*/ 174282 w 474348"/>
                  <a:gd name="connsiteY10" fmla="*/ 23596 h 669131"/>
                  <a:gd name="connsiteX0" fmla="*/ 174282 w 474348"/>
                  <a:gd name="connsiteY0" fmla="*/ 24619 h 670154"/>
                  <a:gd name="connsiteX1" fmla="*/ 216121 w 474348"/>
                  <a:gd name="connsiteY1" fmla="*/ 0 h 670154"/>
                  <a:gd name="connsiteX2" fmla="*/ 314250 w 474348"/>
                  <a:gd name="connsiteY2" fmla="*/ 25070 h 670154"/>
                  <a:gd name="connsiteX3" fmla="*/ 474348 w 474348"/>
                  <a:gd name="connsiteY3" fmla="*/ 217539 h 670154"/>
                  <a:gd name="connsiteX4" fmla="*/ 474348 w 474348"/>
                  <a:gd name="connsiteY4" fmla="*/ 670154 h 670154"/>
                  <a:gd name="connsiteX5" fmla="*/ 474348 w 474348"/>
                  <a:gd name="connsiteY5" fmla="*/ 670154 h 670154"/>
                  <a:gd name="connsiteX6" fmla="*/ 248129 w 474348"/>
                  <a:gd name="connsiteY6" fmla="*/ 670154 h 670154"/>
                  <a:gd name="connsiteX7" fmla="*/ 0 w 474348"/>
                  <a:gd name="connsiteY7" fmla="*/ 670154 h 670154"/>
                  <a:gd name="connsiteX8" fmla="*/ 0 w 474348"/>
                  <a:gd name="connsiteY8" fmla="*/ 670154 h 670154"/>
                  <a:gd name="connsiteX9" fmla="*/ 0 w 474348"/>
                  <a:gd name="connsiteY9" fmla="*/ 217539 h 670154"/>
                  <a:gd name="connsiteX10" fmla="*/ 174282 w 474348"/>
                  <a:gd name="connsiteY10" fmla="*/ 24619 h 670154"/>
                  <a:gd name="connsiteX0" fmla="*/ 174282 w 474348"/>
                  <a:gd name="connsiteY0" fmla="*/ 24619 h 670154"/>
                  <a:gd name="connsiteX1" fmla="*/ 216121 w 474348"/>
                  <a:gd name="connsiteY1" fmla="*/ 0 h 670154"/>
                  <a:gd name="connsiteX2" fmla="*/ 314250 w 474348"/>
                  <a:gd name="connsiteY2" fmla="*/ 25070 h 670154"/>
                  <a:gd name="connsiteX3" fmla="*/ 474348 w 474348"/>
                  <a:gd name="connsiteY3" fmla="*/ 217539 h 670154"/>
                  <a:gd name="connsiteX4" fmla="*/ 474348 w 474348"/>
                  <a:gd name="connsiteY4" fmla="*/ 670154 h 670154"/>
                  <a:gd name="connsiteX5" fmla="*/ 474348 w 474348"/>
                  <a:gd name="connsiteY5" fmla="*/ 670154 h 670154"/>
                  <a:gd name="connsiteX6" fmla="*/ 248129 w 474348"/>
                  <a:gd name="connsiteY6" fmla="*/ 670154 h 670154"/>
                  <a:gd name="connsiteX7" fmla="*/ 0 w 474348"/>
                  <a:gd name="connsiteY7" fmla="*/ 670154 h 670154"/>
                  <a:gd name="connsiteX8" fmla="*/ 0 w 474348"/>
                  <a:gd name="connsiteY8" fmla="*/ 670154 h 670154"/>
                  <a:gd name="connsiteX9" fmla="*/ 0 w 474348"/>
                  <a:gd name="connsiteY9" fmla="*/ 217539 h 670154"/>
                  <a:gd name="connsiteX10" fmla="*/ 174282 w 474348"/>
                  <a:gd name="connsiteY10" fmla="*/ 24619 h 670154"/>
                  <a:gd name="connsiteX0" fmla="*/ 174282 w 474348"/>
                  <a:gd name="connsiteY0" fmla="*/ 24619 h 670154"/>
                  <a:gd name="connsiteX1" fmla="*/ 216121 w 474348"/>
                  <a:gd name="connsiteY1" fmla="*/ 0 h 670154"/>
                  <a:gd name="connsiteX2" fmla="*/ 314250 w 474348"/>
                  <a:gd name="connsiteY2" fmla="*/ 25070 h 670154"/>
                  <a:gd name="connsiteX3" fmla="*/ 474348 w 474348"/>
                  <a:gd name="connsiteY3" fmla="*/ 217539 h 670154"/>
                  <a:gd name="connsiteX4" fmla="*/ 474348 w 474348"/>
                  <a:gd name="connsiteY4" fmla="*/ 670154 h 670154"/>
                  <a:gd name="connsiteX5" fmla="*/ 474348 w 474348"/>
                  <a:gd name="connsiteY5" fmla="*/ 670154 h 670154"/>
                  <a:gd name="connsiteX6" fmla="*/ 248129 w 474348"/>
                  <a:gd name="connsiteY6" fmla="*/ 670154 h 670154"/>
                  <a:gd name="connsiteX7" fmla="*/ 0 w 474348"/>
                  <a:gd name="connsiteY7" fmla="*/ 670154 h 670154"/>
                  <a:gd name="connsiteX8" fmla="*/ 0 w 474348"/>
                  <a:gd name="connsiteY8" fmla="*/ 670154 h 670154"/>
                  <a:gd name="connsiteX9" fmla="*/ 0 w 474348"/>
                  <a:gd name="connsiteY9" fmla="*/ 217539 h 670154"/>
                  <a:gd name="connsiteX10" fmla="*/ 174282 w 474348"/>
                  <a:gd name="connsiteY10" fmla="*/ 24619 h 670154"/>
                  <a:gd name="connsiteX0" fmla="*/ 174282 w 474348"/>
                  <a:gd name="connsiteY0" fmla="*/ 24619 h 670154"/>
                  <a:gd name="connsiteX1" fmla="*/ 216121 w 474348"/>
                  <a:gd name="connsiteY1" fmla="*/ 0 h 670154"/>
                  <a:gd name="connsiteX2" fmla="*/ 314250 w 474348"/>
                  <a:gd name="connsiteY2" fmla="*/ 25070 h 670154"/>
                  <a:gd name="connsiteX3" fmla="*/ 474348 w 474348"/>
                  <a:gd name="connsiteY3" fmla="*/ 217539 h 670154"/>
                  <a:gd name="connsiteX4" fmla="*/ 474348 w 474348"/>
                  <a:gd name="connsiteY4" fmla="*/ 670154 h 670154"/>
                  <a:gd name="connsiteX5" fmla="*/ 474348 w 474348"/>
                  <a:gd name="connsiteY5" fmla="*/ 670154 h 670154"/>
                  <a:gd name="connsiteX6" fmla="*/ 248129 w 474348"/>
                  <a:gd name="connsiteY6" fmla="*/ 670154 h 670154"/>
                  <a:gd name="connsiteX7" fmla="*/ 0 w 474348"/>
                  <a:gd name="connsiteY7" fmla="*/ 670154 h 670154"/>
                  <a:gd name="connsiteX8" fmla="*/ 0 w 474348"/>
                  <a:gd name="connsiteY8" fmla="*/ 670154 h 670154"/>
                  <a:gd name="connsiteX9" fmla="*/ 0 w 474348"/>
                  <a:gd name="connsiteY9" fmla="*/ 217539 h 670154"/>
                  <a:gd name="connsiteX10" fmla="*/ 174282 w 474348"/>
                  <a:gd name="connsiteY10" fmla="*/ 24619 h 670154"/>
                  <a:gd name="connsiteX0" fmla="*/ 148557 w 474348"/>
                  <a:gd name="connsiteY0" fmla="*/ 27264 h 670154"/>
                  <a:gd name="connsiteX1" fmla="*/ 216121 w 474348"/>
                  <a:gd name="connsiteY1" fmla="*/ 0 h 670154"/>
                  <a:gd name="connsiteX2" fmla="*/ 314250 w 474348"/>
                  <a:gd name="connsiteY2" fmla="*/ 25070 h 670154"/>
                  <a:gd name="connsiteX3" fmla="*/ 474348 w 474348"/>
                  <a:gd name="connsiteY3" fmla="*/ 217539 h 670154"/>
                  <a:gd name="connsiteX4" fmla="*/ 474348 w 474348"/>
                  <a:gd name="connsiteY4" fmla="*/ 670154 h 670154"/>
                  <a:gd name="connsiteX5" fmla="*/ 474348 w 474348"/>
                  <a:gd name="connsiteY5" fmla="*/ 670154 h 670154"/>
                  <a:gd name="connsiteX6" fmla="*/ 248129 w 474348"/>
                  <a:gd name="connsiteY6" fmla="*/ 670154 h 670154"/>
                  <a:gd name="connsiteX7" fmla="*/ 0 w 474348"/>
                  <a:gd name="connsiteY7" fmla="*/ 670154 h 670154"/>
                  <a:gd name="connsiteX8" fmla="*/ 0 w 474348"/>
                  <a:gd name="connsiteY8" fmla="*/ 670154 h 670154"/>
                  <a:gd name="connsiteX9" fmla="*/ 0 w 474348"/>
                  <a:gd name="connsiteY9" fmla="*/ 217539 h 670154"/>
                  <a:gd name="connsiteX10" fmla="*/ 148557 w 474348"/>
                  <a:gd name="connsiteY10" fmla="*/ 27264 h 670154"/>
                  <a:gd name="connsiteX0" fmla="*/ 148557 w 474348"/>
                  <a:gd name="connsiteY0" fmla="*/ 20950 h 663840"/>
                  <a:gd name="connsiteX1" fmla="*/ 214238 w 474348"/>
                  <a:gd name="connsiteY1" fmla="*/ 0 h 663840"/>
                  <a:gd name="connsiteX2" fmla="*/ 314250 w 474348"/>
                  <a:gd name="connsiteY2" fmla="*/ 18756 h 663840"/>
                  <a:gd name="connsiteX3" fmla="*/ 474348 w 474348"/>
                  <a:gd name="connsiteY3" fmla="*/ 211225 h 663840"/>
                  <a:gd name="connsiteX4" fmla="*/ 474348 w 474348"/>
                  <a:gd name="connsiteY4" fmla="*/ 663840 h 663840"/>
                  <a:gd name="connsiteX5" fmla="*/ 474348 w 474348"/>
                  <a:gd name="connsiteY5" fmla="*/ 663840 h 663840"/>
                  <a:gd name="connsiteX6" fmla="*/ 248129 w 474348"/>
                  <a:gd name="connsiteY6" fmla="*/ 663840 h 663840"/>
                  <a:gd name="connsiteX7" fmla="*/ 0 w 474348"/>
                  <a:gd name="connsiteY7" fmla="*/ 663840 h 663840"/>
                  <a:gd name="connsiteX8" fmla="*/ 0 w 474348"/>
                  <a:gd name="connsiteY8" fmla="*/ 663840 h 663840"/>
                  <a:gd name="connsiteX9" fmla="*/ 0 w 474348"/>
                  <a:gd name="connsiteY9" fmla="*/ 211225 h 663840"/>
                  <a:gd name="connsiteX10" fmla="*/ 148557 w 474348"/>
                  <a:gd name="connsiteY10" fmla="*/ 20950 h 663840"/>
                  <a:gd name="connsiteX0" fmla="*/ 148557 w 474348"/>
                  <a:gd name="connsiteY0" fmla="*/ 20950 h 663840"/>
                  <a:gd name="connsiteX1" fmla="*/ 214238 w 474348"/>
                  <a:gd name="connsiteY1" fmla="*/ 0 h 663840"/>
                  <a:gd name="connsiteX2" fmla="*/ 314250 w 474348"/>
                  <a:gd name="connsiteY2" fmla="*/ 18756 h 663840"/>
                  <a:gd name="connsiteX3" fmla="*/ 474348 w 474348"/>
                  <a:gd name="connsiteY3" fmla="*/ 211225 h 663840"/>
                  <a:gd name="connsiteX4" fmla="*/ 474348 w 474348"/>
                  <a:gd name="connsiteY4" fmla="*/ 663840 h 663840"/>
                  <a:gd name="connsiteX5" fmla="*/ 474348 w 474348"/>
                  <a:gd name="connsiteY5" fmla="*/ 663840 h 663840"/>
                  <a:gd name="connsiteX6" fmla="*/ 248129 w 474348"/>
                  <a:gd name="connsiteY6" fmla="*/ 663840 h 663840"/>
                  <a:gd name="connsiteX7" fmla="*/ 0 w 474348"/>
                  <a:gd name="connsiteY7" fmla="*/ 663840 h 663840"/>
                  <a:gd name="connsiteX8" fmla="*/ 0 w 474348"/>
                  <a:gd name="connsiteY8" fmla="*/ 663840 h 663840"/>
                  <a:gd name="connsiteX9" fmla="*/ 0 w 474348"/>
                  <a:gd name="connsiteY9" fmla="*/ 211225 h 663840"/>
                  <a:gd name="connsiteX10" fmla="*/ 148557 w 474348"/>
                  <a:gd name="connsiteY10" fmla="*/ 20950 h 663840"/>
                  <a:gd name="connsiteX0" fmla="*/ 148557 w 474348"/>
                  <a:gd name="connsiteY0" fmla="*/ 20950 h 663840"/>
                  <a:gd name="connsiteX1" fmla="*/ 214238 w 474348"/>
                  <a:gd name="connsiteY1" fmla="*/ 0 h 663840"/>
                  <a:gd name="connsiteX2" fmla="*/ 314250 w 474348"/>
                  <a:gd name="connsiteY2" fmla="*/ 18756 h 663840"/>
                  <a:gd name="connsiteX3" fmla="*/ 474348 w 474348"/>
                  <a:gd name="connsiteY3" fmla="*/ 211225 h 663840"/>
                  <a:gd name="connsiteX4" fmla="*/ 474348 w 474348"/>
                  <a:gd name="connsiteY4" fmla="*/ 663840 h 663840"/>
                  <a:gd name="connsiteX5" fmla="*/ 474348 w 474348"/>
                  <a:gd name="connsiteY5" fmla="*/ 663840 h 663840"/>
                  <a:gd name="connsiteX6" fmla="*/ 248129 w 474348"/>
                  <a:gd name="connsiteY6" fmla="*/ 663840 h 663840"/>
                  <a:gd name="connsiteX7" fmla="*/ 0 w 474348"/>
                  <a:gd name="connsiteY7" fmla="*/ 663840 h 663840"/>
                  <a:gd name="connsiteX8" fmla="*/ 0 w 474348"/>
                  <a:gd name="connsiteY8" fmla="*/ 663840 h 663840"/>
                  <a:gd name="connsiteX9" fmla="*/ 0 w 474348"/>
                  <a:gd name="connsiteY9" fmla="*/ 211225 h 663840"/>
                  <a:gd name="connsiteX10" fmla="*/ 148557 w 474348"/>
                  <a:gd name="connsiteY10" fmla="*/ 20950 h 663840"/>
                  <a:gd name="connsiteX0" fmla="*/ 144178 w 474348"/>
                  <a:gd name="connsiteY0" fmla="*/ 22667 h 663840"/>
                  <a:gd name="connsiteX1" fmla="*/ 214238 w 474348"/>
                  <a:gd name="connsiteY1" fmla="*/ 0 h 663840"/>
                  <a:gd name="connsiteX2" fmla="*/ 314250 w 474348"/>
                  <a:gd name="connsiteY2" fmla="*/ 18756 h 663840"/>
                  <a:gd name="connsiteX3" fmla="*/ 474348 w 474348"/>
                  <a:gd name="connsiteY3" fmla="*/ 211225 h 663840"/>
                  <a:gd name="connsiteX4" fmla="*/ 474348 w 474348"/>
                  <a:gd name="connsiteY4" fmla="*/ 663840 h 663840"/>
                  <a:gd name="connsiteX5" fmla="*/ 474348 w 474348"/>
                  <a:gd name="connsiteY5" fmla="*/ 663840 h 663840"/>
                  <a:gd name="connsiteX6" fmla="*/ 248129 w 474348"/>
                  <a:gd name="connsiteY6" fmla="*/ 663840 h 663840"/>
                  <a:gd name="connsiteX7" fmla="*/ 0 w 474348"/>
                  <a:gd name="connsiteY7" fmla="*/ 663840 h 663840"/>
                  <a:gd name="connsiteX8" fmla="*/ 0 w 474348"/>
                  <a:gd name="connsiteY8" fmla="*/ 663840 h 663840"/>
                  <a:gd name="connsiteX9" fmla="*/ 0 w 474348"/>
                  <a:gd name="connsiteY9" fmla="*/ 211225 h 663840"/>
                  <a:gd name="connsiteX10" fmla="*/ 144178 w 474348"/>
                  <a:gd name="connsiteY10" fmla="*/ 22667 h 663840"/>
                  <a:gd name="connsiteX0" fmla="*/ 144178 w 474348"/>
                  <a:gd name="connsiteY0" fmla="*/ 22667 h 663840"/>
                  <a:gd name="connsiteX1" fmla="*/ 214238 w 474348"/>
                  <a:gd name="connsiteY1" fmla="*/ 0 h 663840"/>
                  <a:gd name="connsiteX2" fmla="*/ 314250 w 474348"/>
                  <a:gd name="connsiteY2" fmla="*/ 18756 h 663840"/>
                  <a:gd name="connsiteX3" fmla="*/ 474348 w 474348"/>
                  <a:gd name="connsiteY3" fmla="*/ 211225 h 663840"/>
                  <a:gd name="connsiteX4" fmla="*/ 474348 w 474348"/>
                  <a:gd name="connsiteY4" fmla="*/ 663840 h 663840"/>
                  <a:gd name="connsiteX5" fmla="*/ 474348 w 474348"/>
                  <a:gd name="connsiteY5" fmla="*/ 663840 h 663840"/>
                  <a:gd name="connsiteX6" fmla="*/ 248129 w 474348"/>
                  <a:gd name="connsiteY6" fmla="*/ 663840 h 663840"/>
                  <a:gd name="connsiteX7" fmla="*/ 0 w 474348"/>
                  <a:gd name="connsiteY7" fmla="*/ 663840 h 663840"/>
                  <a:gd name="connsiteX8" fmla="*/ 0 w 474348"/>
                  <a:gd name="connsiteY8" fmla="*/ 663840 h 663840"/>
                  <a:gd name="connsiteX9" fmla="*/ 0 w 474348"/>
                  <a:gd name="connsiteY9" fmla="*/ 211225 h 663840"/>
                  <a:gd name="connsiteX10" fmla="*/ 144178 w 474348"/>
                  <a:gd name="connsiteY10" fmla="*/ 22667 h 663840"/>
                  <a:gd name="connsiteX0" fmla="*/ 144178 w 474348"/>
                  <a:gd name="connsiteY0" fmla="*/ 22667 h 663840"/>
                  <a:gd name="connsiteX1" fmla="*/ 214238 w 474348"/>
                  <a:gd name="connsiteY1" fmla="*/ 0 h 663840"/>
                  <a:gd name="connsiteX2" fmla="*/ 314250 w 474348"/>
                  <a:gd name="connsiteY2" fmla="*/ 18756 h 663840"/>
                  <a:gd name="connsiteX3" fmla="*/ 474348 w 474348"/>
                  <a:gd name="connsiteY3" fmla="*/ 211225 h 663840"/>
                  <a:gd name="connsiteX4" fmla="*/ 474348 w 474348"/>
                  <a:gd name="connsiteY4" fmla="*/ 663840 h 663840"/>
                  <a:gd name="connsiteX5" fmla="*/ 474348 w 474348"/>
                  <a:gd name="connsiteY5" fmla="*/ 663840 h 663840"/>
                  <a:gd name="connsiteX6" fmla="*/ 248129 w 474348"/>
                  <a:gd name="connsiteY6" fmla="*/ 663840 h 663840"/>
                  <a:gd name="connsiteX7" fmla="*/ 0 w 474348"/>
                  <a:gd name="connsiteY7" fmla="*/ 663840 h 663840"/>
                  <a:gd name="connsiteX8" fmla="*/ 0 w 474348"/>
                  <a:gd name="connsiteY8" fmla="*/ 663840 h 663840"/>
                  <a:gd name="connsiteX9" fmla="*/ 0 w 474348"/>
                  <a:gd name="connsiteY9" fmla="*/ 211225 h 663840"/>
                  <a:gd name="connsiteX10" fmla="*/ 144178 w 474348"/>
                  <a:gd name="connsiteY10" fmla="*/ 22667 h 663840"/>
                  <a:gd name="connsiteX0" fmla="*/ 144178 w 474348"/>
                  <a:gd name="connsiteY0" fmla="*/ 22667 h 663840"/>
                  <a:gd name="connsiteX1" fmla="*/ 214238 w 474348"/>
                  <a:gd name="connsiteY1" fmla="*/ 0 h 663840"/>
                  <a:gd name="connsiteX2" fmla="*/ 314250 w 474348"/>
                  <a:gd name="connsiteY2" fmla="*/ 18756 h 663840"/>
                  <a:gd name="connsiteX3" fmla="*/ 474348 w 474348"/>
                  <a:gd name="connsiteY3" fmla="*/ 211225 h 663840"/>
                  <a:gd name="connsiteX4" fmla="*/ 474348 w 474348"/>
                  <a:gd name="connsiteY4" fmla="*/ 663840 h 663840"/>
                  <a:gd name="connsiteX5" fmla="*/ 474348 w 474348"/>
                  <a:gd name="connsiteY5" fmla="*/ 663840 h 663840"/>
                  <a:gd name="connsiteX6" fmla="*/ 248129 w 474348"/>
                  <a:gd name="connsiteY6" fmla="*/ 663840 h 663840"/>
                  <a:gd name="connsiteX7" fmla="*/ 0 w 474348"/>
                  <a:gd name="connsiteY7" fmla="*/ 663840 h 663840"/>
                  <a:gd name="connsiteX8" fmla="*/ 0 w 474348"/>
                  <a:gd name="connsiteY8" fmla="*/ 663840 h 663840"/>
                  <a:gd name="connsiteX9" fmla="*/ 0 w 474348"/>
                  <a:gd name="connsiteY9" fmla="*/ 211225 h 663840"/>
                  <a:gd name="connsiteX10" fmla="*/ 144178 w 474348"/>
                  <a:gd name="connsiteY10" fmla="*/ 22667 h 6638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74348" h="663840">
                    <a:moveTo>
                      <a:pt x="144178" y="22667"/>
                    </a:moveTo>
                    <a:cubicBezTo>
                      <a:pt x="211732" y="-970"/>
                      <a:pt x="181869" y="7990"/>
                      <a:pt x="214238" y="0"/>
                    </a:cubicBezTo>
                    <a:cubicBezTo>
                      <a:pt x="259321" y="7224"/>
                      <a:pt x="221757" y="369"/>
                      <a:pt x="314250" y="18756"/>
                    </a:cubicBezTo>
                    <a:cubicBezTo>
                      <a:pt x="399877" y="51074"/>
                      <a:pt x="474348" y="104798"/>
                      <a:pt x="474348" y="211225"/>
                    </a:cubicBezTo>
                    <a:lnTo>
                      <a:pt x="474348" y="663840"/>
                    </a:lnTo>
                    <a:lnTo>
                      <a:pt x="474348" y="663840"/>
                    </a:lnTo>
                    <a:lnTo>
                      <a:pt x="248129" y="663840"/>
                    </a:lnTo>
                    <a:lnTo>
                      <a:pt x="0" y="663840"/>
                    </a:lnTo>
                    <a:lnTo>
                      <a:pt x="0" y="663840"/>
                    </a:lnTo>
                    <a:lnTo>
                      <a:pt x="0" y="211225"/>
                    </a:lnTo>
                    <a:cubicBezTo>
                      <a:pt x="0" y="104798"/>
                      <a:pt x="80700" y="56026"/>
                      <a:pt x="144178" y="22667"/>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54" name="Round Same Side Corner Rectangle 11"/>
              <p:cNvSpPr/>
              <p:nvPr/>
            </p:nvSpPr>
            <p:spPr>
              <a:xfrm rot="7140000">
                <a:off x="4278989" y="1266737"/>
                <a:ext cx="251846" cy="2632764"/>
              </a:xfrm>
              <a:custGeom>
                <a:avLst/>
                <a:gdLst>
                  <a:gd name="connsiteX0" fmla="*/ 192704 w 474348"/>
                  <a:gd name="connsiteY0" fmla="*/ 0 h 645319"/>
                  <a:gd name="connsiteX1" fmla="*/ 281644 w 474348"/>
                  <a:gd name="connsiteY1" fmla="*/ 0 h 645319"/>
                  <a:gd name="connsiteX2" fmla="*/ 474348 w 474348"/>
                  <a:gd name="connsiteY2" fmla="*/ 192704 h 645319"/>
                  <a:gd name="connsiteX3" fmla="*/ 474348 w 474348"/>
                  <a:gd name="connsiteY3" fmla="*/ 645319 h 645319"/>
                  <a:gd name="connsiteX4" fmla="*/ 474348 w 474348"/>
                  <a:gd name="connsiteY4" fmla="*/ 645319 h 645319"/>
                  <a:gd name="connsiteX5" fmla="*/ 0 w 474348"/>
                  <a:gd name="connsiteY5" fmla="*/ 645319 h 645319"/>
                  <a:gd name="connsiteX6" fmla="*/ 0 w 474348"/>
                  <a:gd name="connsiteY6" fmla="*/ 645319 h 645319"/>
                  <a:gd name="connsiteX7" fmla="*/ 0 w 474348"/>
                  <a:gd name="connsiteY7" fmla="*/ 192704 h 645319"/>
                  <a:gd name="connsiteX8" fmla="*/ 192704 w 474348"/>
                  <a:gd name="connsiteY8" fmla="*/ 0 h 645319"/>
                  <a:gd name="connsiteX0" fmla="*/ 192704 w 474348"/>
                  <a:gd name="connsiteY0" fmla="*/ 0 h 645319"/>
                  <a:gd name="connsiteX1" fmla="*/ 281644 w 474348"/>
                  <a:gd name="connsiteY1" fmla="*/ 0 h 645319"/>
                  <a:gd name="connsiteX2" fmla="*/ 474348 w 474348"/>
                  <a:gd name="connsiteY2" fmla="*/ 192704 h 645319"/>
                  <a:gd name="connsiteX3" fmla="*/ 474348 w 474348"/>
                  <a:gd name="connsiteY3" fmla="*/ 645319 h 645319"/>
                  <a:gd name="connsiteX4" fmla="*/ 474348 w 474348"/>
                  <a:gd name="connsiteY4" fmla="*/ 645319 h 645319"/>
                  <a:gd name="connsiteX5" fmla="*/ 248129 w 474348"/>
                  <a:gd name="connsiteY5" fmla="*/ 645319 h 645319"/>
                  <a:gd name="connsiteX6" fmla="*/ 0 w 474348"/>
                  <a:gd name="connsiteY6" fmla="*/ 645319 h 645319"/>
                  <a:gd name="connsiteX7" fmla="*/ 0 w 474348"/>
                  <a:gd name="connsiteY7" fmla="*/ 645319 h 645319"/>
                  <a:gd name="connsiteX8" fmla="*/ 0 w 474348"/>
                  <a:gd name="connsiteY8" fmla="*/ 192704 h 645319"/>
                  <a:gd name="connsiteX9" fmla="*/ 192704 w 474348"/>
                  <a:gd name="connsiteY9" fmla="*/ 0 h 645319"/>
                  <a:gd name="connsiteX0" fmla="*/ 192704 w 474348"/>
                  <a:gd name="connsiteY0" fmla="*/ 2381 h 647700"/>
                  <a:gd name="connsiteX1" fmla="*/ 240986 w 474348"/>
                  <a:gd name="connsiteY1" fmla="*/ 0 h 647700"/>
                  <a:gd name="connsiteX2" fmla="*/ 281644 w 474348"/>
                  <a:gd name="connsiteY2" fmla="*/ 2381 h 647700"/>
                  <a:gd name="connsiteX3" fmla="*/ 474348 w 474348"/>
                  <a:gd name="connsiteY3" fmla="*/ 195085 h 647700"/>
                  <a:gd name="connsiteX4" fmla="*/ 474348 w 474348"/>
                  <a:gd name="connsiteY4" fmla="*/ 647700 h 647700"/>
                  <a:gd name="connsiteX5" fmla="*/ 474348 w 474348"/>
                  <a:gd name="connsiteY5" fmla="*/ 647700 h 647700"/>
                  <a:gd name="connsiteX6" fmla="*/ 248129 w 474348"/>
                  <a:gd name="connsiteY6" fmla="*/ 647700 h 647700"/>
                  <a:gd name="connsiteX7" fmla="*/ 0 w 474348"/>
                  <a:gd name="connsiteY7" fmla="*/ 647700 h 647700"/>
                  <a:gd name="connsiteX8" fmla="*/ 0 w 474348"/>
                  <a:gd name="connsiteY8" fmla="*/ 647700 h 647700"/>
                  <a:gd name="connsiteX9" fmla="*/ 0 w 474348"/>
                  <a:gd name="connsiteY9" fmla="*/ 195085 h 647700"/>
                  <a:gd name="connsiteX10" fmla="*/ 192704 w 474348"/>
                  <a:gd name="connsiteY10" fmla="*/ 2381 h 647700"/>
                  <a:gd name="connsiteX0" fmla="*/ 192704 w 474348"/>
                  <a:gd name="connsiteY0" fmla="*/ 42862 h 688181"/>
                  <a:gd name="connsiteX1" fmla="*/ 240986 w 474348"/>
                  <a:gd name="connsiteY1" fmla="*/ 0 h 688181"/>
                  <a:gd name="connsiteX2" fmla="*/ 281644 w 474348"/>
                  <a:gd name="connsiteY2" fmla="*/ 42862 h 688181"/>
                  <a:gd name="connsiteX3" fmla="*/ 474348 w 474348"/>
                  <a:gd name="connsiteY3" fmla="*/ 235566 h 688181"/>
                  <a:gd name="connsiteX4" fmla="*/ 474348 w 474348"/>
                  <a:gd name="connsiteY4" fmla="*/ 688181 h 688181"/>
                  <a:gd name="connsiteX5" fmla="*/ 474348 w 474348"/>
                  <a:gd name="connsiteY5" fmla="*/ 688181 h 688181"/>
                  <a:gd name="connsiteX6" fmla="*/ 248129 w 474348"/>
                  <a:gd name="connsiteY6" fmla="*/ 688181 h 688181"/>
                  <a:gd name="connsiteX7" fmla="*/ 0 w 474348"/>
                  <a:gd name="connsiteY7" fmla="*/ 688181 h 688181"/>
                  <a:gd name="connsiteX8" fmla="*/ 0 w 474348"/>
                  <a:gd name="connsiteY8" fmla="*/ 688181 h 688181"/>
                  <a:gd name="connsiteX9" fmla="*/ 0 w 474348"/>
                  <a:gd name="connsiteY9" fmla="*/ 235566 h 688181"/>
                  <a:gd name="connsiteX10" fmla="*/ 192704 w 474348"/>
                  <a:gd name="connsiteY10" fmla="*/ 42862 h 688181"/>
                  <a:gd name="connsiteX0" fmla="*/ 192704 w 474348"/>
                  <a:gd name="connsiteY0" fmla="*/ 23812 h 669131"/>
                  <a:gd name="connsiteX1" fmla="*/ 265690 w 474348"/>
                  <a:gd name="connsiteY1" fmla="*/ 0 h 669131"/>
                  <a:gd name="connsiteX2" fmla="*/ 281644 w 474348"/>
                  <a:gd name="connsiteY2" fmla="*/ 23812 h 669131"/>
                  <a:gd name="connsiteX3" fmla="*/ 474348 w 474348"/>
                  <a:gd name="connsiteY3" fmla="*/ 216516 h 669131"/>
                  <a:gd name="connsiteX4" fmla="*/ 474348 w 474348"/>
                  <a:gd name="connsiteY4" fmla="*/ 669131 h 669131"/>
                  <a:gd name="connsiteX5" fmla="*/ 474348 w 474348"/>
                  <a:gd name="connsiteY5" fmla="*/ 669131 h 669131"/>
                  <a:gd name="connsiteX6" fmla="*/ 248129 w 474348"/>
                  <a:gd name="connsiteY6" fmla="*/ 669131 h 669131"/>
                  <a:gd name="connsiteX7" fmla="*/ 0 w 474348"/>
                  <a:gd name="connsiteY7" fmla="*/ 669131 h 669131"/>
                  <a:gd name="connsiteX8" fmla="*/ 0 w 474348"/>
                  <a:gd name="connsiteY8" fmla="*/ 669131 h 669131"/>
                  <a:gd name="connsiteX9" fmla="*/ 0 w 474348"/>
                  <a:gd name="connsiteY9" fmla="*/ 216516 h 669131"/>
                  <a:gd name="connsiteX10" fmla="*/ 192704 w 474348"/>
                  <a:gd name="connsiteY10" fmla="*/ 23812 h 669131"/>
                  <a:gd name="connsiteX0" fmla="*/ 192704 w 474348"/>
                  <a:gd name="connsiteY0" fmla="*/ 23812 h 669131"/>
                  <a:gd name="connsiteX1" fmla="*/ 265690 w 474348"/>
                  <a:gd name="connsiteY1" fmla="*/ 0 h 669131"/>
                  <a:gd name="connsiteX2" fmla="*/ 309530 w 474348"/>
                  <a:gd name="connsiteY2" fmla="*/ 23110 h 669131"/>
                  <a:gd name="connsiteX3" fmla="*/ 474348 w 474348"/>
                  <a:gd name="connsiteY3" fmla="*/ 216516 h 669131"/>
                  <a:gd name="connsiteX4" fmla="*/ 474348 w 474348"/>
                  <a:gd name="connsiteY4" fmla="*/ 669131 h 669131"/>
                  <a:gd name="connsiteX5" fmla="*/ 474348 w 474348"/>
                  <a:gd name="connsiteY5" fmla="*/ 669131 h 669131"/>
                  <a:gd name="connsiteX6" fmla="*/ 248129 w 474348"/>
                  <a:gd name="connsiteY6" fmla="*/ 669131 h 669131"/>
                  <a:gd name="connsiteX7" fmla="*/ 0 w 474348"/>
                  <a:gd name="connsiteY7" fmla="*/ 669131 h 669131"/>
                  <a:gd name="connsiteX8" fmla="*/ 0 w 474348"/>
                  <a:gd name="connsiteY8" fmla="*/ 669131 h 669131"/>
                  <a:gd name="connsiteX9" fmla="*/ 0 w 474348"/>
                  <a:gd name="connsiteY9" fmla="*/ 216516 h 669131"/>
                  <a:gd name="connsiteX10" fmla="*/ 192704 w 474348"/>
                  <a:gd name="connsiteY10" fmla="*/ 23812 h 669131"/>
                  <a:gd name="connsiteX0" fmla="*/ 192704 w 474348"/>
                  <a:gd name="connsiteY0" fmla="*/ 23812 h 669131"/>
                  <a:gd name="connsiteX1" fmla="*/ 265690 w 474348"/>
                  <a:gd name="connsiteY1" fmla="*/ 0 h 669131"/>
                  <a:gd name="connsiteX2" fmla="*/ 309530 w 474348"/>
                  <a:gd name="connsiteY2" fmla="*/ 23110 h 669131"/>
                  <a:gd name="connsiteX3" fmla="*/ 474348 w 474348"/>
                  <a:gd name="connsiteY3" fmla="*/ 216516 h 669131"/>
                  <a:gd name="connsiteX4" fmla="*/ 474348 w 474348"/>
                  <a:gd name="connsiteY4" fmla="*/ 669131 h 669131"/>
                  <a:gd name="connsiteX5" fmla="*/ 474348 w 474348"/>
                  <a:gd name="connsiteY5" fmla="*/ 669131 h 669131"/>
                  <a:gd name="connsiteX6" fmla="*/ 248129 w 474348"/>
                  <a:gd name="connsiteY6" fmla="*/ 669131 h 669131"/>
                  <a:gd name="connsiteX7" fmla="*/ 0 w 474348"/>
                  <a:gd name="connsiteY7" fmla="*/ 669131 h 669131"/>
                  <a:gd name="connsiteX8" fmla="*/ 0 w 474348"/>
                  <a:gd name="connsiteY8" fmla="*/ 669131 h 669131"/>
                  <a:gd name="connsiteX9" fmla="*/ 0 w 474348"/>
                  <a:gd name="connsiteY9" fmla="*/ 216516 h 669131"/>
                  <a:gd name="connsiteX10" fmla="*/ 192704 w 474348"/>
                  <a:gd name="connsiteY10" fmla="*/ 23812 h 669131"/>
                  <a:gd name="connsiteX0" fmla="*/ 192704 w 474348"/>
                  <a:gd name="connsiteY0" fmla="*/ 23812 h 669131"/>
                  <a:gd name="connsiteX1" fmla="*/ 265690 w 474348"/>
                  <a:gd name="connsiteY1" fmla="*/ 0 h 669131"/>
                  <a:gd name="connsiteX2" fmla="*/ 309530 w 474348"/>
                  <a:gd name="connsiteY2" fmla="*/ 23110 h 669131"/>
                  <a:gd name="connsiteX3" fmla="*/ 474348 w 474348"/>
                  <a:gd name="connsiteY3" fmla="*/ 216516 h 669131"/>
                  <a:gd name="connsiteX4" fmla="*/ 474348 w 474348"/>
                  <a:gd name="connsiteY4" fmla="*/ 669131 h 669131"/>
                  <a:gd name="connsiteX5" fmla="*/ 474348 w 474348"/>
                  <a:gd name="connsiteY5" fmla="*/ 669131 h 669131"/>
                  <a:gd name="connsiteX6" fmla="*/ 248129 w 474348"/>
                  <a:gd name="connsiteY6" fmla="*/ 669131 h 669131"/>
                  <a:gd name="connsiteX7" fmla="*/ 0 w 474348"/>
                  <a:gd name="connsiteY7" fmla="*/ 669131 h 669131"/>
                  <a:gd name="connsiteX8" fmla="*/ 0 w 474348"/>
                  <a:gd name="connsiteY8" fmla="*/ 669131 h 669131"/>
                  <a:gd name="connsiteX9" fmla="*/ 0 w 474348"/>
                  <a:gd name="connsiteY9" fmla="*/ 216516 h 669131"/>
                  <a:gd name="connsiteX10" fmla="*/ 192704 w 474348"/>
                  <a:gd name="connsiteY10" fmla="*/ 23812 h 669131"/>
                  <a:gd name="connsiteX0" fmla="*/ 192704 w 474348"/>
                  <a:gd name="connsiteY0" fmla="*/ 23812 h 669131"/>
                  <a:gd name="connsiteX1" fmla="*/ 265690 w 474348"/>
                  <a:gd name="connsiteY1" fmla="*/ 0 h 669131"/>
                  <a:gd name="connsiteX2" fmla="*/ 309530 w 474348"/>
                  <a:gd name="connsiteY2" fmla="*/ 23110 h 669131"/>
                  <a:gd name="connsiteX3" fmla="*/ 474348 w 474348"/>
                  <a:gd name="connsiteY3" fmla="*/ 216516 h 669131"/>
                  <a:gd name="connsiteX4" fmla="*/ 474348 w 474348"/>
                  <a:gd name="connsiteY4" fmla="*/ 669131 h 669131"/>
                  <a:gd name="connsiteX5" fmla="*/ 474348 w 474348"/>
                  <a:gd name="connsiteY5" fmla="*/ 669131 h 669131"/>
                  <a:gd name="connsiteX6" fmla="*/ 248129 w 474348"/>
                  <a:gd name="connsiteY6" fmla="*/ 669131 h 669131"/>
                  <a:gd name="connsiteX7" fmla="*/ 0 w 474348"/>
                  <a:gd name="connsiteY7" fmla="*/ 669131 h 669131"/>
                  <a:gd name="connsiteX8" fmla="*/ 0 w 474348"/>
                  <a:gd name="connsiteY8" fmla="*/ 669131 h 669131"/>
                  <a:gd name="connsiteX9" fmla="*/ 0 w 474348"/>
                  <a:gd name="connsiteY9" fmla="*/ 216516 h 669131"/>
                  <a:gd name="connsiteX10" fmla="*/ 192704 w 474348"/>
                  <a:gd name="connsiteY10" fmla="*/ 23812 h 6691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74348" h="669131">
                    <a:moveTo>
                      <a:pt x="192704" y="23812"/>
                    </a:moveTo>
                    <a:lnTo>
                      <a:pt x="265690" y="0"/>
                    </a:lnTo>
                    <a:cubicBezTo>
                      <a:pt x="271008" y="7937"/>
                      <a:pt x="275989" y="2061"/>
                      <a:pt x="309530" y="23110"/>
                    </a:cubicBezTo>
                    <a:cubicBezTo>
                      <a:pt x="387382" y="59846"/>
                      <a:pt x="474348" y="110089"/>
                      <a:pt x="474348" y="216516"/>
                    </a:cubicBezTo>
                    <a:lnTo>
                      <a:pt x="474348" y="669131"/>
                    </a:lnTo>
                    <a:lnTo>
                      <a:pt x="474348" y="669131"/>
                    </a:lnTo>
                    <a:lnTo>
                      <a:pt x="248129" y="669131"/>
                    </a:lnTo>
                    <a:lnTo>
                      <a:pt x="0" y="669131"/>
                    </a:lnTo>
                    <a:lnTo>
                      <a:pt x="0" y="669131"/>
                    </a:lnTo>
                    <a:lnTo>
                      <a:pt x="0" y="216516"/>
                    </a:lnTo>
                    <a:cubicBezTo>
                      <a:pt x="0" y="110089"/>
                      <a:pt x="135350" y="45744"/>
                      <a:pt x="192704" y="23812"/>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55" name="Oval 54"/>
              <p:cNvSpPr/>
              <p:nvPr/>
            </p:nvSpPr>
            <p:spPr>
              <a:xfrm>
                <a:off x="2740926" y="1513161"/>
                <a:ext cx="629631" cy="629631"/>
              </a:xfrm>
              <a:prstGeom prst="ellipse">
                <a:avLst/>
              </a:prstGeom>
              <a:solidFill>
                <a:schemeClr val="bg1"/>
              </a:solidFill>
              <a:ln w="508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spTree>
    <p:extLst>
      <p:ext uri="{BB962C8B-B14F-4D97-AF65-F5344CB8AC3E}">
        <p14:creationId xmlns:p14="http://schemas.microsoft.com/office/powerpoint/2010/main" val="3676798715"/>
      </p:ext>
    </p:extLst>
  </p:cSld>
  <p:clrMapOvr>
    <a:masterClrMapping/>
  </p:clrMapOvr>
  <mc:AlternateContent xmlns:mc="http://schemas.openxmlformats.org/markup-compatibility/2006" xmlns:p14="http://schemas.microsoft.com/office/powerpoint/2010/main">
    <mc:Choice Requires="p14">
      <p:transition spd="slow" p14:dur="2000">
        <p:push/>
      </p:transition>
    </mc:Choice>
    <mc:Fallback xmlns="">
      <p:transition spd="slow">
        <p:push/>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2"/>
                                        </p:tgtEl>
                                        <p:attrNameLst>
                                          <p:attrName>style.visibility</p:attrName>
                                        </p:attrNameLst>
                                      </p:cBhvr>
                                      <p:to>
                                        <p:strVal val="visible"/>
                                      </p:to>
                                    </p:set>
                                    <p:animEffect transition="in" filter="fade">
                                      <p:cBhvr>
                                        <p:cTn id="7" dur="500"/>
                                        <p:tgtEl>
                                          <p:spTgt spid="22"/>
                                        </p:tgtEl>
                                      </p:cBhvr>
                                    </p:animEffect>
                                  </p:childTnLst>
                                </p:cTn>
                              </p:par>
                              <p:par>
                                <p:cTn id="8" presetID="10" presetClass="entr" presetSubtype="0" fill="hold" nodeType="withEffect">
                                  <p:stCondLst>
                                    <p:cond delay="0"/>
                                  </p:stCondLst>
                                  <p:childTnLst>
                                    <p:set>
                                      <p:cBhvr>
                                        <p:cTn id="9" dur="1" fill="hold">
                                          <p:stCondLst>
                                            <p:cond delay="0"/>
                                          </p:stCondLst>
                                        </p:cTn>
                                        <p:tgtEl>
                                          <p:spTgt spid="49"/>
                                        </p:tgtEl>
                                        <p:attrNameLst>
                                          <p:attrName>style.visibility</p:attrName>
                                        </p:attrNameLst>
                                      </p:cBhvr>
                                      <p:to>
                                        <p:strVal val="visible"/>
                                      </p:to>
                                    </p:set>
                                    <p:animEffect transition="in" filter="fade">
                                      <p:cBhvr>
                                        <p:cTn id="10" dur="500"/>
                                        <p:tgtEl>
                                          <p:spTgt spid="49"/>
                                        </p:tgtEl>
                                      </p:cBhvr>
                                    </p:animEffect>
                                  </p:childTnLst>
                                </p:cTn>
                              </p:par>
                            </p:childTnLst>
                          </p:cTn>
                        </p:par>
                      </p:childTnLst>
                    </p:cTn>
                  </p:par>
                  <p:par>
                    <p:cTn id="11" fill="hold">
                      <p:stCondLst>
                        <p:cond delay="indefinite"/>
                      </p:stCondLst>
                      <p:childTnLst>
                        <p:par>
                          <p:cTn id="12" fill="hold">
                            <p:stCondLst>
                              <p:cond delay="0"/>
                            </p:stCondLst>
                            <p:childTnLst>
                              <p:par>
                                <p:cTn id="13" presetID="53" presetClass="entr" presetSubtype="16" fill="hold" grpId="0" nodeType="clickEffect">
                                  <p:stCondLst>
                                    <p:cond delay="0"/>
                                  </p:stCondLst>
                                  <p:childTnLst>
                                    <p:set>
                                      <p:cBhvr>
                                        <p:cTn id="14" dur="1" fill="hold">
                                          <p:stCondLst>
                                            <p:cond delay="0"/>
                                          </p:stCondLst>
                                        </p:cTn>
                                        <p:tgtEl>
                                          <p:spTgt spid="48"/>
                                        </p:tgtEl>
                                        <p:attrNameLst>
                                          <p:attrName>style.visibility</p:attrName>
                                        </p:attrNameLst>
                                      </p:cBhvr>
                                      <p:to>
                                        <p:strVal val="visible"/>
                                      </p:to>
                                    </p:set>
                                    <p:anim calcmode="lin" valueType="num">
                                      <p:cBhvr>
                                        <p:cTn id="15" dur="500" fill="hold"/>
                                        <p:tgtEl>
                                          <p:spTgt spid="48"/>
                                        </p:tgtEl>
                                        <p:attrNameLst>
                                          <p:attrName>ppt_w</p:attrName>
                                        </p:attrNameLst>
                                      </p:cBhvr>
                                      <p:tavLst>
                                        <p:tav tm="0">
                                          <p:val>
                                            <p:fltVal val="0"/>
                                          </p:val>
                                        </p:tav>
                                        <p:tav tm="100000">
                                          <p:val>
                                            <p:strVal val="#ppt_w"/>
                                          </p:val>
                                        </p:tav>
                                      </p:tavLst>
                                    </p:anim>
                                    <p:anim calcmode="lin" valueType="num">
                                      <p:cBhvr>
                                        <p:cTn id="16" dur="500" fill="hold"/>
                                        <p:tgtEl>
                                          <p:spTgt spid="48"/>
                                        </p:tgtEl>
                                        <p:attrNameLst>
                                          <p:attrName>ppt_h</p:attrName>
                                        </p:attrNameLst>
                                      </p:cBhvr>
                                      <p:tavLst>
                                        <p:tav tm="0">
                                          <p:val>
                                            <p:fltVal val="0"/>
                                          </p:val>
                                        </p:tav>
                                        <p:tav tm="100000">
                                          <p:val>
                                            <p:strVal val="#ppt_h"/>
                                          </p:val>
                                        </p:tav>
                                      </p:tavLst>
                                    </p:anim>
                                    <p:animEffect transition="in" filter="fade">
                                      <p:cBhvr>
                                        <p:cTn id="17" dur="500"/>
                                        <p:tgtEl>
                                          <p:spTgt spid="48"/>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39"/>
                                        </p:tgtEl>
                                        <p:attrNameLst>
                                          <p:attrName>style.visibility</p:attrName>
                                        </p:attrNameLst>
                                      </p:cBhvr>
                                      <p:to>
                                        <p:strVal val="visible"/>
                                      </p:to>
                                    </p:set>
                                    <p:animEffect transition="in" filter="fade">
                                      <p:cBhvr>
                                        <p:cTn id="22" dur="500"/>
                                        <p:tgtEl>
                                          <p:spTgt spid="3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8" grpId="0" animBg="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249230546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438"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6" name="Picture 5"/>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flipH="1">
            <a:off x="3717260" y="3181350"/>
            <a:ext cx="5426739" cy="964026"/>
          </a:xfrm>
          <a:prstGeom prst="rect">
            <a:avLst/>
          </a:prstGeom>
        </p:spPr>
      </p:pic>
      <p:grpSp>
        <p:nvGrpSpPr>
          <p:cNvPr id="126" name="Group 125"/>
          <p:cNvGrpSpPr/>
          <p:nvPr/>
        </p:nvGrpSpPr>
        <p:grpSpPr>
          <a:xfrm>
            <a:off x="304800" y="2164310"/>
            <a:ext cx="2773647" cy="1931440"/>
            <a:chOff x="0" y="2240510"/>
            <a:chExt cx="2773647" cy="1931440"/>
          </a:xfrm>
        </p:grpSpPr>
        <p:grpSp>
          <p:nvGrpSpPr>
            <p:cNvPr id="127" name="Group 126"/>
            <p:cNvGrpSpPr/>
            <p:nvPr/>
          </p:nvGrpSpPr>
          <p:grpSpPr>
            <a:xfrm flipH="1">
              <a:off x="0" y="2895176"/>
              <a:ext cx="474837" cy="736896"/>
              <a:chOff x="274646" y="-1004072"/>
              <a:chExt cx="5446648" cy="8452622"/>
            </a:xfrm>
            <a:effectLst/>
          </p:grpSpPr>
          <p:sp>
            <p:nvSpPr>
              <p:cNvPr id="149" name="Isosceles Triangle 148"/>
              <p:cNvSpPr/>
              <p:nvPr/>
            </p:nvSpPr>
            <p:spPr>
              <a:xfrm>
                <a:off x="2789660" y="1551279"/>
                <a:ext cx="575648" cy="5897271"/>
              </a:xfrm>
              <a:prstGeom prst="triangle">
                <a:avLst>
                  <a:gd name="adj" fmla="val 5330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50" name="Group 149"/>
              <p:cNvGrpSpPr/>
              <p:nvPr/>
            </p:nvGrpSpPr>
            <p:grpSpPr>
              <a:xfrm>
                <a:off x="274646" y="-1004072"/>
                <a:ext cx="5446648" cy="3713114"/>
                <a:chOff x="274646" y="-1004072"/>
                <a:chExt cx="5446648" cy="3713114"/>
              </a:xfrm>
            </p:grpSpPr>
            <p:sp>
              <p:nvSpPr>
                <p:cNvPr id="151" name="Round Same Side Corner Rectangle 11"/>
                <p:cNvSpPr/>
                <p:nvPr/>
              </p:nvSpPr>
              <p:spPr>
                <a:xfrm rot="240000">
                  <a:off x="3037776" y="-1004072"/>
                  <a:ext cx="251846" cy="2632765"/>
                </a:xfrm>
                <a:custGeom>
                  <a:avLst/>
                  <a:gdLst>
                    <a:gd name="connsiteX0" fmla="*/ 192704 w 474348"/>
                    <a:gd name="connsiteY0" fmla="*/ 0 h 645319"/>
                    <a:gd name="connsiteX1" fmla="*/ 281644 w 474348"/>
                    <a:gd name="connsiteY1" fmla="*/ 0 h 645319"/>
                    <a:gd name="connsiteX2" fmla="*/ 474348 w 474348"/>
                    <a:gd name="connsiteY2" fmla="*/ 192704 h 645319"/>
                    <a:gd name="connsiteX3" fmla="*/ 474348 w 474348"/>
                    <a:gd name="connsiteY3" fmla="*/ 645319 h 645319"/>
                    <a:gd name="connsiteX4" fmla="*/ 474348 w 474348"/>
                    <a:gd name="connsiteY4" fmla="*/ 645319 h 645319"/>
                    <a:gd name="connsiteX5" fmla="*/ 0 w 474348"/>
                    <a:gd name="connsiteY5" fmla="*/ 645319 h 645319"/>
                    <a:gd name="connsiteX6" fmla="*/ 0 w 474348"/>
                    <a:gd name="connsiteY6" fmla="*/ 645319 h 645319"/>
                    <a:gd name="connsiteX7" fmla="*/ 0 w 474348"/>
                    <a:gd name="connsiteY7" fmla="*/ 192704 h 645319"/>
                    <a:gd name="connsiteX8" fmla="*/ 192704 w 474348"/>
                    <a:gd name="connsiteY8" fmla="*/ 0 h 645319"/>
                    <a:gd name="connsiteX0" fmla="*/ 192704 w 474348"/>
                    <a:gd name="connsiteY0" fmla="*/ 0 h 645319"/>
                    <a:gd name="connsiteX1" fmla="*/ 281644 w 474348"/>
                    <a:gd name="connsiteY1" fmla="*/ 0 h 645319"/>
                    <a:gd name="connsiteX2" fmla="*/ 474348 w 474348"/>
                    <a:gd name="connsiteY2" fmla="*/ 192704 h 645319"/>
                    <a:gd name="connsiteX3" fmla="*/ 474348 w 474348"/>
                    <a:gd name="connsiteY3" fmla="*/ 645319 h 645319"/>
                    <a:gd name="connsiteX4" fmla="*/ 474348 w 474348"/>
                    <a:gd name="connsiteY4" fmla="*/ 645319 h 645319"/>
                    <a:gd name="connsiteX5" fmla="*/ 248129 w 474348"/>
                    <a:gd name="connsiteY5" fmla="*/ 645319 h 645319"/>
                    <a:gd name="connsiteX6" fmla="*/ 0 w 474348"/>
                    <a:gd name="connsiteY6" fmla="*/ 645319 h 645319"/>
                    <a:gd name="connsiteX7" fmla="*/ 0 w 474348"/>
                    <a:gd name="connsiteY7" fmla="*/ 645319 h 645319"/>
                    <a:gd name="connsiteX8" fmla="*/ 0 w 474348"/>
                    <a:gd name="connsiteY8" fmla="*/ 192704 h 645319"/>
                    <a:gd name="connsiteX9" fmla="*/ 192704 w 474348"/>
                    <a:gd name="connsiteY9" fmla="*/ 0 h 645319"/>
                    <a:gd name="connsiteX0" fmla="*/ 192704 w 474348"/>
                    <a:gd name="connsiteY0" fmla="*/ 2381 h 647700"/>
                    <a:gd name="connsiteX1" fmla="*/ 240986 w 474348"/>
                    <a:gd name="connsiteY1" fmla="*/ 0 h 647700"/>
                    <a:gd name="connsiteX2" fmla="*/ 281644 w 474348"/>
                    <a:gd name="connsiteY2" fmla="*/ 2381 h 647700"/>
                    <a:gd name="connsiteX3" fmla="*/ 474348 w 474348"/>
                    <a:gd name="connsiteY3" fmla="*/ 195085 h 647700"/>
                    <a:gd name="connsiteX4" fmla="*/ 474348 w 474348"/>
                    <a:gd name="connsiteY4" fmla="*/ 647700 h 647700"/>
                    <a:gd name="connsiteX5" fmla="*/ 474348 w 474348"/>
                    <a:gd name="connsiteY5" fmla="*/ 647700 h 647700"/>
                    <a:gd name="connsiteX6" fmla="*/ 248129 w 474348"/>
                    <a:gd name="connsiteY6" fmla="*/ 647700 h 647700"/>
                    <a:gd name="connsiteX7" fmla="*/ 0 w 474348"/>
                    <a:gd name="connsiteY7" fmla="*/ 647700 h 647700"/>
                    <a:gd name="connsiteX8" fmla="*/ 0 w 474348"/>
                    <a:gd name="connsiteY8" fmla="*/ 647700 h 647700"/>
                    <a:gd name="connsiteX9" fmla="*/ 0 w 474348"/>
                    <a:gd name="connsiteY9" fmla="*/ 195085 h 647700"/>
                    <a:gd name="connsiteX10" fmla="*/ 192704 w 474348"/>
                    <a:gd name="connsiteY10" fmla="*/ 2381 h 647700"/>
                    <a:gd name="connsiteX0" fmla="*/ 192704 w 474348"/>
                    <a:gd name="connsiteY0" fmla="*/ 42862 h 688181"/>
                    <a:gd name="connsiteX1" fmla="*/ 240986 w 474348"/>
                    <a:gd name="connsiteY1" fmla="*/ 0 h 688181"/>
                    <a:gd name="connsiteX2" fmla="*/ 281644 w 474348"/>
                    <a:gd name="connsiteY2" fmla="*/ 42862 h 688181"/>
                    <a:gd name="connsiteX3" fmla="*/ 474348 w 474348"/>
                    <a:gd name="connsiteY3" fmla="*/ 235566 h 688181"/>
                    <a:gd name="connsiteX4" fmla="*/ 474348 w 474348"/>
                    <a:gd name="connsiteY4" fmla="*/ 688181 h 688181"/>
                    <a:gd name="connsiteX5" fmla="*/ 474348 w 474348"/>
                    <a:gd name="connsiteY5" fmla="*/ 688181 h 688181"/>
                    <a:gd name="connsiteX6" fmla="*/ 248129 w 474348"/>
                    <a:gd name="connsiteY6" fmla="*/ 688181 h 688181"/>
                    <a:gd name="connsiteX7" fmla="*/ 0 w 474348"/>
                    <a:gd name="connsiteY7" fmla="*/ 688181 h 688181"/>
                    <a:gd name="connsiteX8" fmla="*/ 0 w 474348"/>
                    <a:gd name="connsiteY8" fmla="*/ 688181 h 688181"/>
                    <a:gd name="connsiteX9" fmla="*/ 0 w 474348"/>
                    <a:gd name="connsiteY9" fmla="*/ 235566 h 688181"/>
                    <a:gd name="connsiteX10" fmla="*/ 192704 w 474348"/>
                    <a:gd name="connsiteY10" fmla="*/ 42862 h 688181"/>
                    <a:gd name="connsiteX0" fmla="*/ 192704 w 474348"/>
                    <a:gd name="connsiteY0" fmla="*/ 23812 h 669131"/>
                    <a:gd name="connsiteX1" fmla="*/ 265690 w 474348"/>
                    <a:gd name="connsiteY1" fmla="*/ 0 h 669131"/>
                    <a:gd name="connsiteX2" fmla="*/ 281644 w 474348"/>
                    <a:gd name="connsiteY2" fmla="*/ 23812 h 669131"/>
                    <a:gd name="connsiteX3" fmla="*/ 474348 w 474348"/>
                    <a:gd name="connsiteY3" fmla="*/ 216516 h 669131"/>
                    <a:gd name="connsiteX4" fmla="*/ 474348 w 474348"/>
                    <a:gd name="connsiteY4" fmla="*/ 669131 h 669131"/>
                    <a:gd name="connsiteX5" fmla="*/ 474348 w 474348"/>
                    <a:gd name="connsiteY5" fmla="*/ 669131 h 669131"/>
                    <a:gd name="connsiteX6" fmla="*/ 248129 w 474348"/>
                    <a:gd name="connsiteY6" fmla="*/ 669131 h 669131"/>
                    <a:gd name="connsiteX7" fmla="*/ 0 w 474348"/>
                    <a:gd name="connsiteY7" fmla="*/ 669131 h 669131"/>
                    <a:gd name="connsiteX8" fmla="*/ 0 w 474348"/>
                    <a:gd name="connsiteY8" fmla="*/ 669131 h 669131"/>
                    <a:gd name="connsiteX9" fmla="*/ 0 w 474348"/>
                    <a:gd name="connsiteY9" fmla="*/ 216516 h 669131"/>
                    <a:gd name="connsiteX10" fmla="*/ 192704 w 474348"/>
                    <a:gd name="connsiteY10" fmla="*/ 23812 h 669131"/>
                    <a:gd name="connsiteX0" fmla="*/ 192704 w 474348"/>
                    <a:gd name="connsiteY0" fmla="*/ 23812 h 669131"/>
                    <a:gd name="connsiteX1" fmla="*/ 265690 w 474348"/>
                    <a:gd name="connsiteY1" fmla="*/ 0 h 669131"/>
                    <a:gd name="connsiteX2" fmla="*/ 281644 w 474348"/>
                    <a:gd name="connsiteY2" fmla="*/ 23812 h 669131"/>
                    <a:gd name="connsiteX3" fmla="*/ 474348 w 474348"/>
                    <a:gd name="connsiteY3" fmla="*/ 216516 h 669131"/>
                    <a:gd name="connsiteX4" fmla="*/ 474348 w 474348"/>
                    <a:gd name="connsiteY4" fmla="*/ 669131 h 669131"/>
                    <a:gd name="connsiteX5" fmla="*/ 474348 w 474348"/>
                    <a:gd name="connsiteY5" fmla="*/ 669131 h 669131"/>
                    <a:gd name="connsiteX6" fmla="*/ 248129 w 474348"/>
                    <a:gd name="connsiteY6" fmla="*/ 669131 h 669131"/>
                    <a:gd name="connsiteX7" fmla="*/ 0 w 474348"/>
                    <a:gd name="connsiteY7" fmla="*/ 669131 h 669131"/>
                    <a:gd name="connsiteX8" fmla="*/ 0 w 474348"/>
                    <a:gd name="connsiteY8" fmla="*/ 669131 h 669131"/>
                    <a:gd name="connsiteX9" fmla="*/ 0 w 474348"/>
                    <a:gd name="connsiteY9" fmla="*/ 216516 h 669131"/>
                    <a:gd name="connsiteX10" fmla="*/ 192704 w 474348"/>
                    <a:gd name="connsiteY10" fmla="*/ 23812 h 669131"/>
                    <a:gd name="connsiteX0" fmla="*/ 192704 w 474348"/>
                    <a:gd name="connsiteY0" fmla="*/ 23812 h 669131"/>
                    <a:gd name="connsiteX1" fmla="*/ 265690 w 474348"/>
                    <a:gd name="connsiteY1" fmla="*/ 0 h 669131"/>
                    <a:gd name="connsiteX2" fmla="*/ 281644 w 474348"/>
                    <a:gd name="connsiteY2" fmla="*/ 23812 h 669131"/>
                    <a:gd name="connsiteX3" fmla="*/ 474348 w 474348"/>
                    <a:gd name="connsiteY3" fmla="*/ 216516 h 669131"/>
                    <a:gd name="connsiteX4" fmla="*/ 474348 w 474348"/>
                    <a:gd name="connsiteY4" fmla="*/ 669131 h 669131"/>
                    <a:gd name="connsiteX5" fmla="*/ 474348 w 474348"/>
                    <a:gd name="connsiteY5" fmla="*/ 669131 h 669131"/>
                    <a:gd name="connsiteX6" fmla="*/ 248129 w 474348"/>
                    <a:gd name="connsiteY6" fmla="*/ 669131 h 669131"/>
                    <a:gd name="connsiteX7" fmla="*/ 0 w 474348"/>
                    <a:gd name="connsiteY7" fmla="*/ 669131 h 669131"/>
                    <a:gd name="connsiteX8" fmla="*/ 0 w 474348"/>
                    <a:gd name="connsiteY8" fmla="*/ 669131 h 669131"/>
                    <a:gd name="connsiteX9" fmla="*/ 0 w 474348"/>
                    <a:gd name="connsiteY9" fmla="*/ 216516 h 669131"/>
                    <a:gd name="connsiteX10" fmla="*/ 192704 w 474348"/>
                    <a:gd name="connsiteY10" fmla="*/ 23812 h 669131"/>
                    <a:gd name="connsiteX0" fmla="*/ 192704 w 474348"/>
                    <a:gd name="connsiteY0" fmla="*/ 23812 h 669131"/>
                    <a:gd name="connsiteX1" fmla="*/ 265690 w 474348"/>
                    <a:gd name="connsiteY1" fmla="*/ 0 h 669131"/>
                    <a:gd name="connsiteX2" fmla="*/ 281644 w 474348"/>
                    <a:gd name="connsiteY2" fmla="*/ 23812 h 669131"/>
                    <a:gd name="connsiteX3" fmla="*/ 474348 w 474348"/>
                    <a:gd name="connsiteY3" fmla="*/ 216516 h 669131"/>
                    <a:gd name="connsiteX4" fmla="*/ 474348 w 474348"/>
                    <a:gd name="connsiteY4" fmla="*/ 669131 h 669131"/>
                    <a:gd name="connsiteX5" fmla="*/ 474348 w 474348"/>
                    <a:gd name="connsiteY5" fmla="*/ 669131 h 669131"/>
                    <a:gd name="connsiteX6" fmla="*/ 248129 w 474348"/>
                    <a:gd name="connsiteY6" fmla="*/ 669131 h 669131"/>
                    <a:gd name="connsiteX7" fmla="*/ 0 w 474348"/>
                    <a:gd name="connsiteY7" fmla="*/ 669131 h 669131"/>
                    <a:gd name="connsiteX8" fmla="*/ 0 w 474348"/>
                    <a:gd name="connsiteY8" fmla="*/ 669131 h 669131"/>
                    <a:gd name="connsiteX9" fmla="*/ 0 w 474348"/>
                    <a:gd name="connsiteY9" fmla="*/ 216516 h 669131"/>
                    <a:gd name="connsiteX10" fmla="*/ 192704 w 474348"/>
                    <a:gd name="connsiteY10" fmla="*/ 23812 h 669131"/>
                    <a:gd name="connsiteX0" fmla="*/ 192704 w 474348"/>
                    <a:gd name="connsiteY0" fmla="*/ 23812 h 669131"/>
                    <a:gd name="connsiteX1" fmla="*/ 265690 w 474348"/>
                    <a:gd name="connsiteY1" fmla="*/ 0 h 669131"/>
                    <a:gd name="connsiteX2" fmla="*/ 281644 w 474348"/>
                    <a:gd name="connsiteY2" fmla="*/ 23812 h 669131"/>
                    <a:gd name="connsiteX3" fmla="*/ 474348 w 474348"/>
                    <a:gd name="connsiteY3" fmla="*/ 216516 h 669131"/>
                    <a:gd name="connsiteX4" fmla="*/ 474348 w 474348"/>
                    <a:gd name="connsiteY4" fmla="*/ 669131 h 669131"/>
                    <a:gd name="connsiteX5" fmla="*/ 474348 w 474348"/>
                    <a:gd name="connsiteY5" fmla="*/ 669131 h 669131"/>
                    <a:gd name="connsiteX6" fmla="*/ 248129 w 474348"/>
                    <a:gd name="connsiteY6" fmla="*/ 669131 h 669131"/>
                    <a:gd name="connsiteX7" fmla="*/ 0 w 474348"/>
                    <a:gd name="connsiteY7" fmla="*/ 669131 h 669131"/>
                    <a:gd name="connsiteX8" fmla="*/ 0 w 474348"/>
                    <a:gd name="connsiteY8" fmla="*/ 669131 h 669131"/>
                    <a:gd name="connsiteX9" fmla="*/ 0 w 474348"/>
                    <a:gd name="connsiteY9" fmla="*/ 216516 h 669131"/>
                    <a:gd name="connsiteX10" fmla="*/ 192704 w 474348"/>
                    <a:gd name="connsiteY10" fmla="*/ 23812 h 669131"/>
                    <a:gd name="connsiteX0" fmla="*/ 192704 w 474348"/>
                    <a:gd name="connsiteY0" fmla="*/ 23812 h 669131"/>
                    <a:gd name="connsiteX1" fmla="*/ 265690 w 474348"/>
                    <a:gd name="connsiteY1" fmla="*/ 0 h 669131"/>
                    <a:gd name="connsiteX2" fmla="*/ 299854 w 474348"/>
                    <a:gd name="connsiteY2" fmla="*/ 24247 h 669131"/>
                    <a:gd name="connsiteX3" fmla="*/ 474348 w 474348"/>
                    <a:gd name="connsiteY3" fmla="*/ 216516 h 669131"/>
                    <a:gd name="connsiteX4" fmla="*/ 474348 w 474348"/>
                    <a:gd name="connsiteY4" fmla="*/ 669131 h 669131"/>
                    <a:gd name="connsiteX5" fmla="*/ 474348 w 474348"/>
                    <a:gd name="connsiteY5" fmla="*/ 669131 h 669131"/>
                    <a:gd name="connsiteX6" fmla="*/ 248129 w 474348"/>
                    <a:gd name="connsiteY6" fmla="*/ 669131 h 669131"/>
                    <a:gd name="connsiteX7" fmla="*/ 0 w 474348"/>
                    <a:gd name="connsiteY7" fmla="*/ 669131 h 669131"/>
                    <a:gd name="connsiteX8" fmla="*/ 0 w 474348"/>
                    <a:gd name="connsiteY8" fmla="*/ 669131 h 669131"/>
                    <a:gd name="connsiteX9" fmla="*/ 0 w 474348"/>
                    <a:gd name="connsiteY9" fmla="*/ 216516 h 669131"/>
                    <a:gd name="connsiteX10" fmla="*/ 192704 w 474348"/>
                    <a:gd name="connsiteY10" fmla="*/ 23812 h 669131"/>
                    <a:gd name="connsiteX0" fmla="*/ 192704 w 474348"/>
                    <a:gd name="connsiteY0" fmla="*/ 23812 h 669131"/>
                    <a:gd name="connsiteX1" fmla="*/ 265690 w 474348"/>
                    <a:gd name="connsiteY1" fmla="*/ 0 h 669131"/>
                    <a:gd name="connsiteX2" fmla="*/ 299854 w 474348"/>
                    <a:gd name="connsiteY2" fmla="*/ 24247 h 669131"/>
                    <a:gd name="connsiteX3" fmla="*/ 474348 w 474348"/>
                    <a:gd name="connsiteY3" fmla="*/ 216516 h 669131"/>
                    <a:gd name="connsiteX4" fmla="*/ 474348 w 474348"/>
                    <a:gd name="connsiteY4" fmla="*/ 669131 h 669131"/>
                    <a:gd name="connsiteX5" fmla="*/ 474348 w 474348"/>
                    <a:gd name="connsiteY5" fmla="*/ 669131 h 669131"/>
                    <a:gd name="connsiteX6" fmla="*/ 248129 w 474348"/>
                    <a:gd name="connsiteY6" fmla="*/ 669131 h 669131"/>
                    <a:gd name="connsiteX7" fmla="*/ 0 w 474348"/>
                    <a:gd name="connsiteY7" fmla="*/ 669131 h 669131"/>
                    <a:gd name="connsiteX8" fmla="*/ 0 w 474348"/>
                    <a:gd name="connsiteY8" fmla="*/ 669131 h 669131"/>
                    <a:gd name="connsiteX9" fmla="*/ 0 w 474348"/>
                    <a:gd name="connsiteY9" fmla="*/ 216516 h 669131"/>
                    <a:gd name="connsiteX10" fmla="*/ 192704 w 474348"/>
                    <a:gd name="connsiteY10" fmla="*/ 23812 h 669131"/>
                    <a:gd name="connsiteX0" fmla="*/ 192704 w 474348"/>
                    <a:gd name="connsiteY0" fmla="*/ 23812 h 669131"/>
                    <a:gd name="connsiteX1" fmla="*/ 265690 w 474348"/>
                    <a:gd name="connsiteY1" fmla="*/ 0 h 669131"/>
                    <a:gd name="connsiteX2" fmla="*/ 299854 w 474348"/>
                    <a:gd name="connsiteY2" fmla="*/ 24247 h 669131"/>
                    <a:gd name="connsiteX3" fmla="*/ 474348 w 474348"/>
                    <a:gd name="connsiteY3" fmla="*/ 216516 h 669131"/>
                    <a:gd name="connsiteX4" fmla="*/ 474348 w 474348"/>
                    <a:gd name="connsiteY4" fmla="*/ 669131 h 669131"/>
                    <a:gd name="connsiteX5" fmla="*/ 474348 w 474348"/>
                    <a:gd name="connsiteY5" fmla="*/ 669131 h 669131"/>
                    <a:gd name="connsiteX6" fmla="*/ 248129 w 474348"/>
                    <a:gd name="connsiteY6" fmla="*/ 669131 h 669131"/>
                    <a:gd name="connsiteX7" fmla="*/ 0 w 474348"/>
                    <a:gd name="connsiteY7" fmla="*/ 669131 h 669131"/>
                    <a:gd name="connsiteX8" fmla="*/ 0 w 474348"/>
                    <a:gd name="connsiteY8" fmla="*/ 669131 h 669131"/>
                    <a:gd name="connsiteX9" fmla="*/ 0 w 474348"/>
                    <a:gd name="connsiteY9" fmla="*/ 216516 h 669131"/>
                    <a:gd name="connsiteX10" fmla="*/ 192704 w 474348"/>
                    <a:gd name="connsiteY10" fmla="*/ 23812 h 669131"/>
                    <a:gd name="connsiteX0" fmla="*/ 192704 w 474348"/>
                    <a:gd name="connsiteY0" fmla="*/ 23812 h 669131"/>
                    <a:gd name="connsiteX1" fmla="*/ 265690 w 474348"/>
                    <a:gd name="connsiteY1" fmla="*/ 0 h 669131"/>
                    <a:gd name="connsiteX2" fmla="*/ 299854 w 474348"/>
                    <a:gd name="connsiteY2" fmla="*/ 24247 h 669131"/>
                    <a:gd name="connsiteX3" fmla="*/ 474348 w 474348"/>
                    <a:gd name="connsiteY3" fmla="*/ 216516 h 669131"/>
                    <a:gd name="connsiteX4" fmla="*/ 474348 w 474348"/>
                    <a:gd name="connsiteY4" fmla="*/ 669131 h 669131"/>
                    <a:gd name="connsiteX5" fmla="*/ 474348 w 474348"/>
                    <a:gd name="connsiteY5" fmla="*/ 669131 h 669131"/>
                    <a:gd name="connsiteX6" fmla="*/ 248129 w 474348"/>
                    <a:gd name="connsiteY6" fmla="*/ 669131 h 669131"/>
                    <a:gd name="connsiteX7" fmla="*/ 0 w 474348"/>
                    <a:gd name="connsiteY7" fmla="*/ 669131 h 669131"/>
                    <a:gd name="connsiteX8" fmla="*/ 0 w 474348"/>
                    <a:gd name="connsiteY8" fmla="*/ 669131 h 669131"/>
                    <a:gd name="connsiteX9" fmla="*/ 0 w 474348"/>
                    <a:gd name="connsiteY9" fmla="*/ 216516 h 669131"/>
                    <a:gd name="connsiteX10" fmla="*/ 192704 w 474348"/>
                    <a:gd name="connsiteY10" fmla="*/ 23812 h 669131"/>
                    <a:gd name="connsiteX0" fmla="*/ 192704 w 474348"/>
                    <a:gd name="connsiteY0" fmla="*/ 23812 h 669131"/>
                    <a:gd name="connsiteX1" fmla="*/ 265690 w 474348"/>
                    <a:gd name="connsiteY1" fmla="*/ 0 h 669131"/>
                    <a:gd name="connsiteX2" fmla="*/ 317751 w 474348"/>
                    <a:gd name="connsiteY2" fmla="*/ 24078 h 669131"/>
                    <a:gd name="connsiteX3" fmla="*/ 474348 w 474348"/>
                    <a:gd name="connsiteY3" fmla="*/ 216516 h 669131"/>
                    <a:gd name="connsiteX4" fmla="*/ 474348 w 474348"/>
                    <a:gd name="connsiteY4" fmla="*/ 669131 h 669131"/>
                    <a:gd name="connsiteX5" fmla="*/ 474348 w 474348"/>
                    <a:gd name="connsiteY5" fmla="*/ 669131 h 669131"/>
                    <a:gd name="connsiteX6" fmla="*/ 248129 w 474348"/>
                    <a:gd name="connsiteY6" fmla="*/ 669131 h 669131"/>
                    <a:gd name="connsiteX7" fmla="*/ 0 w 474348"/>
                    <a:gd name="connsiteY7" fmla="*/ 669131 h 669131"/>
                    <a:gd name="connsiteX8" fmla="*/ 0 w 474348"/>
                    <a:gd name="connsiteY8" fmla="*/ 669131 h 669131"/>
                    <a:gd name="connsiteX9" fmla="*/ 0 w 474348"/>
                    <a:gd name="connsiteY9" fmla="*/ 216516 h 669131"/>
                    <a:gd name="connsiteX10" fmla="*/ 192704 w 474348"/>
                    <a:gd name="connsiteY10" fmla="*/ 23812 h 669131"/>
                    <a:gd name="connsiteX0" fmla="*/ 192704 w 474348"/>
                    <a:gd name="connsiteY0" fmla="*/ 23812 h 669131"/>
                    <a:gd name="connsiteX1" fmla="*/ 265690 w 474348"/>
                    <a:gd name="connsiteY1" fmla="*/ 0 h 669131"/>
                    <a:gd name="connsiteX2" fmla="*/ 317751 w 474348"/>
                    <a:gd name="connsiteY2" fmla="*/ 24078 h 669131"/>
                    <a:gd name="connsiteX3" fmla="*/ 474348 w 474348"/>
                    <a:gd name="connsiteY3" fmla="*/ 216516 h 669131"/>
                    <a:gd name="connsiteX4" fmla="*/ 474348 w 474348"/>
                    <a:gd name="connsiteY4" fmla="*/ 669131 h 669131"/>
                    <a:gd name="connsiteX5" fmla="*/ 474348 w 474348"/>
                    <a:gd name="connsiteY5" fmla="*/ 669131 h 669131"/>
                    <a:gd name="connsiteX6" fmla="*/ 248129 w 474348"/>
                    <a:gd name="connsiteY6" fmla="*/ 669131 h 669131"/>
                    <a:gd name="connsiteX7" fmla="*/ 0 w 474348"/>
                    <a:gd name="connsiteY7" fmla="*/ 669131 h 669131"/>
                    <a:gd name="connsiteX8" fmla="*/ 0 w 474348"/>
                    <a:gd name="connsiteY8" fmla="*/ 669131 h 669131"/>
                    <a:gd name="connsiteX9" fmla="*/ 0 w 474348"/>
                    <a:gd name="connsiteY9" fmla="*/ 216516 h 669131"/>
                    <a:gd name="connsiteX10" fmla="*/ 192704 w 474348"/>
                    <a:gd name="connsiteY10" fmla="*/ 23812 h 6691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74348" h="669131">
                      <a:moveTo>
                        <a:pt x="192704" y="23812"/>
                      </a:moveTo>
                      <a:cubicBezTo>
                        <a:pt x="263527" y="1482"/>
                        <a:pt x="241361" y="7937"/>
                        <a:pt x="265690" y="0"/>
                      </a:cubicBezTo>
                      <a:cubicBezTo>
                        <a:pt x="271008" y="7937"/>
                        <a:pt x="263093" y="-988"/>
                        <a:pt x="317751" y="24078"/>
                      </a:cubicBezTo>
                      <a:cubicBezTo>
                        <a:pt x="369579" y="48860"/>
                        <a:pt x="474348" y="110089"/>
                        <a:pt x="474348" y="216516"/>
                      </a:cubicBezTo>
                      <a:lnTo>
                        <a:pt x="474348" y="669131"/>
                      </a:lnTo>
                      <a:lnTo>
                        <a:pt x="474348" y="669131"/>
                      </a:lnTo>
                      <a:lnTo>
                        <a:pt x="248129" y="669131"/>
                      </a:lnTo>
                      <a:lnTo>
                        <a:pt x="0" y="669131"/>
                      </a:lnTo>
                      <a:lnTo>
                        <a:pt x="0" y="669131"/>
                      </a:lnTo>
                      <a:lnTo>
                        <a:pt x="0" y="216516"/>
                      </a:lnTo>
                      <a:cubicBezTo>
                        <a:pt x="0" y="110089"/>
                        <a:pt x="141340" y="43314"/>
                        <a:pt x="192704" y="23812"/>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52" name="Round Same Side Corner Rectangle 11"/>
                <p:cNvSpPr/>
                <p:nvPr/>
              </p:nvSpPr>
              <p:spPr>
                <a:xfrm rot="15060000">
                  <a:off x="1454696" y="1026331"/>
                  <a:ext cx="251846" cy="2611946"/>
                </a:xfrm>
                <a:custGeom>
                  <a:avLst/>
                  <a:gdLst>
                    <a:gd name="connsiteX0" fmla="*/ 192704 w 474348"/>
                    <a:gd name="connsiteY0" fmla="*/ 0 h 645319"/>
                    <a:gd name="connsiteX1" fmla="*/ 281644 w 474348"/>
                    <a:gd name="connsiteY1" fmla="*/ 0 h 645319"/>
                    <a:gd name="connsiteX2" fmla="*/ 474348 w 474348"/>
                    <a:gd name="connsiteY2" fmla="*/ 192704 h 645319"/>
                    <a:gd name="connsiteX3" fmla="*/ 474348 w 474348"/>
                    <a:gd name="connsiteY3" fmla="*/ 645319 h 645319"/>
                    <a:gd name="connsiteX4" fmla="*/ 474348 w 474348"/>
                    <a:gd name="connsiteY4" fmla="*/ 645319 h 645319"/>
                    <a:gd name="connsiteX5" fmla="*/ 0 w 474348"/>
                    <a:gd name="connsiteY5" fmla="*/ 645319 h 645319"/>
                    <a:gd name="connsiteX6" fmla="*/ 0 w 474348"/>
                    <a:gd name="connsiteY6" fmla="*/ 645319 h 645319"/>
                    <a:gd name="connsiteX7" fmla="*/ 0 w 474348"/>
                    <a:gd name="connsiteY7" fmla="*/ 192704 h 645319"/>
                    <a:gd name="connsiteX8" fmla="*/ 192704 w 474348"/>
                    <a:gd name="connsiteY8" fmla="*/ 0 h 645319"/>
                    <a:gd name="connsiteX0" fmla="*/ 192704 w 474348"/>
                    <a:gd name="connsiteY0" fmla="*/ 0 h 645319"/>
                    <a:gd name="connsiteX1" fmla="*/ 281644 w 474348"/>
                    <a:gd name="connsiteY1" fmla="*/ 0 h 645319"/>
                    <a:gd name="connsiteX2" fmla="*/ 474348 w 474348"/>
                    <a:gd name="connsiteY2" fmla="*/ 192704 h 645319"/>
                    <a:gd name="connsiteX3" fmla="*/ 474348 w 474348"/>
                    <a:gd name="connsiteY3" fmla="*/ 645319 h 645319"/>
                    <a:gd name="connsiteX4" fmla="*/ 474348 w 474348"/>
                    <a:gd name="connsiteY4" fmla="*/ 645319 h 645319"/>
                    <a:gd name="connsiteX5" fmla="*/ 248129 w 474348"/>
                    <a:gd name="connsiteY5" fmla="*/ 645319 h 645319"/>
                    <a:gd name="connsiteX6" fmla="*/ 0 w 474348"/>
                    <a:gd name="connsiteY6" fmla="*/ 645319 h 645319"/>
                    <a:gd name="connsiteX7" fmla="*/ 0 w 474348"/>
                    <a:gd name="connsiteY7" fmla="*/ 645319 h 645319"/>
                    <a:gd name="connsiteX8" fmla="*/ 0 w 474348"/>
                    <a:gd name="connsiteY8" fmla="*/ 192704 h 645319"/>
                    <a:gd name="connsiteX9" fmla="*/ 192704 w 474348"/>
                    <a:gd name="connsiteY9" fmla="*/ 0 h 645319"/>
                    <a:gd name="connsiteX0" fmla="*/ 192704 w 474348"/>
                    <a:gd name="connsiteY0" fmla="*/ 2381 h 647700"/>
                    <a:gd name="connsiteX1" fmla="*/ 240986 w 474348"/>
                    <a:gd name="connsiteY1" fmla="*/ 0 h 647700"/>
                    <a:gd name="connsiteX2" fmla="*/ 281644 w 474348"/>
                    <a:gd name="connsiteY2" fmla="*/ 2381 h 647700"/>
                    <a:gd name="connsiteX3" fmla="*/ 474348 w 474348"/>
                    <a:gd name="connsiteY3" fmla="*/ 195085 h 647700"/>
                    <a:gd name="connsiteX4" fmla="*/ 474348 w 474348"/>
                    <a:gd name="connsiteY4" fmla="*/ 647700 h 647700"/>
                    <a:gd name="connsiteX5" fmla="*/ 474348 w 474348"/>
                    <a:gd name="connsiteY5" fmla="*/ 647700 h 647700"/>
                    <a:gd name="connsiteX6" fmla="*/ 248129 w 474348"/>
                    <a:gd name="connsiteY6" fmla="*/ 647700 h 647700"/>
                    <a:gd name="connsiteX7" fmla="*/ 0 w 474348"/>
                    <a:gd name="connsiteY7" fmla="*/ 647700 h 647700"/>
                    <a:gd name="connsiteX8" fmla="*/ 0 w 474348"/>
                    <a:gd name="connsiteY8" fmla="*/ 647700 h 647700"/>
                    <a:gd name="connsiteX9" fmla="*/ 0 w 474348"/>
                    <a:gd name="connsiteY9" fmla="*/ 195085 h 647700"/>
                    <a:gd name="connsiteX10" fmla="*/ 192704 w 474348"/>
                    <a:gd name="connsiteY10" fmla="*/ 2381 h 647700"/>
                    <a:gd name="connsiteX0" fmla="*/ 192704 w 474348"/>
                    <a:gd name="connsiteY0" fmla="*/ 42862 h 688181"/>
                    <a:gd name="connsiteX1" fmla="*/ 240986 w 474348"/>
                    <a:gd name="connsiteY1" fmla="*/ 0 h 688181"/>
                    <a:gd name="connsiteX2" fmla="*/ 281644 w 474348"/>
                    <a:gd name="connsiteY2" fmla="*/ 42862 h 688181"/>
                    <a:gd name="connsiteX3" fmla="*/ 474348 w 474348"/>
                    <a:gd name="connsiteY3" fmla="*/ 235566 h 688181"/>
                    <a:gd name="connsiteX4" fmla="*/ 474348 w 474348"/>
                    <a:gd name="connsiteY4" fmla="*/ 688181 h 688181"/>
                    <a:gd name="connsiteX5" fmla="*/ 474348 w 474348"/>
                    <a:gd name="connsiteY5" fmla="*/ 688181 h 688181"/>
                    <a:gd name="connsiteX6" fmla="*/ 248129 w 474348"/>
                    <a:gd name="connsiteY6" fmla="*/ 688181 h 688181"/>
                    <a:gd name="connsiteX7" fmla="*/ 0 w 474348"/>
                    <a:gd name="connsiteY7" fmla="*/ 688181 h 688181"/>
                    <a:gd name="connsiteX8" fmla="*/ 0 w 474348"/>
                    <a:gd name="connsiteY8" fmla="*/ 688181 h 688181"/>
                    <a:gd name="connsiteX9" fmla="*/ 0 w 474348"/>
                    <a:gd name="connsiteY9" fmla="*/ 235566 h 688181"/>
                    <a:gd name="connsiteX10" fmla="*/ 192704 w 474348"/>
                    <a:gd name="connsiteY10" fmla="*/ 42862 h 688181"/>
                    <a:gd name="connsiteX0" fmla="*/ 192704 w 474348"/>
                    <a:gd name="connsiteY0" fmla="*/ 23812 h 669131"/>
                    <a:gd name="connsiteX1" fmla="*/ 265690 w 474348"/>
                    <a:gd name="connsiteY1" fmla="*/ 0 h 669131"/>
                    <a:gd name="connsiteX2" fmla="*/ 281644 w 474348"/>
                    <a:gd name="connsiteY2" fmla="*/ 23812 h 669131"/>
                    <a:gd name="connsiteX3" fmla="*/ 474348 w 474348"/>
                    <a:gd name="connsiteY3" fmla="*/ 216516 h 669131"/>
                    <a:gd name="connsiteX4" fmla="*/ 474348 w 474348"/>
                    <a:gd name="connsiteY4" fmla="*/ 669131 h 669131"/>
                    <a:gd name="connsiteX5" fmla="*/ 474348 w 474348"/>
                    <a:gd name="connsiteY5" fmla="*/ 669131 h 669131"/>
                    <a:gd name="connsiteX6" fmla="*/ 248129 w 474348"/>
                    <a:gd name="connsiteY6" fmla="*/ 669131 h 669131"/>
                    <a:gd name="connsiteX7" fmla="*/ 0 w 474348"/>
                    <a:gd name="connsiteY7" fmla="*/ 669131 h 669131"/>
                    <a:gd name="connsiteX8" fmla="*/ 0 w 474348"/>
                    <a:gd name="connsiteY8" fmla="*/ 669131 h 669131"/>
                    <a:gd name="connsiteX9" fmla="*/ 0 w 474348"/>
                    <a:gd name="connsiteY9" fmla="*/ 216516 h 669131"/>
                    <a:gd name="connsiteX10" fmla="*/ 192704 w 474348"/>
                    <a:gd name="connsiteY10" fmla="*/ 23812 h 669131"/>
                    <a:gd name="connsiteX0" fmla="*/ 192704 w 474348"/>
                    <a:gd name="connsiteY0" fmla="*/ 23812 h 669131"/>
                    <a:gd name="connsiteX1" fmla="*/ 265690 w 474348"/>
                    <a:gd name="connsiteY1" fmla="*/ 0 h 669131"/>
                    <a:gd name="connsiteX2" fmla="*/ 281644 w 474348"/>
                    <a:gd name="connsiteY2" fmla="*/ 23812 h 669131"/>
                    <a:gd name="connsiteX3" fmla="*/ 474348 w 474348"/>
                    <a:gd name="connsiteY3" fmla="*/ 216516 h 669131"/>
                    <a:gd name="connsiteX4" fmla="*/ 474348 w 474348"/>
                    <a:gd name="connsiteY4" fmla="*/ 669131 h 669131"/>
                    <a:gd name="connsiteX5" fmla="*/ 474348 w 474348"/>
                    <a:gd name="connsiteY5" fmla="*/ 669131 h 669131"/>
                    <a:gd name="connsiteX6" fmla="*/ 248129 w 474348"/>
                    <a:gd name="connsiteY6" fmla="*/ 669131 h 669131"/>
                    <a:gd name="connsiteX7" fmla="*/ 0 w 474348"/>
                    <a:gd name="connsiteY7" fmla="*/ 669131 h 669131"/>
                    <a:gd name="connsiteX8" fmla="*/ 0 w 474348"/>
                    <a:gd name="connsiteY8" fmla="*/ 669131 h 669131"/>
                    <a:gd name="connsiteX9" fmla="*/ 0 w 474348"/>
                    <a:gd name="connsiteY9" fmla="*/ 216516 h 669131"/>
                    <a:gd name="connsiteX10" fmla="*/ 192704 w 474348"/>
                    <a:gd name="connsiteY10" fmla="*/ 23812 h 669131"/>
                    <a:gd name="connsiteX0" fmla="*/ 192704 w 474348"/>
                    <a:gd name="connsiteY0" fmla="*/ 23812 h 669131"/>
                    <a:gd name="connsiteX1" fmla="*/ 265690 w 474348"/>
                    <a:gd name="connsiteY1" fmla="*/ 0 h 669131"/>
                    <a:gd name="connsiteX2" fmla="*/ 281644 w 474348"/>
                    <a:gd name="connsiteY2" fmla="*/ 23812 h 669131"/>
                    <a:gd name="connsiteX3" fmla="*/ 474348 w 474348"/>
                    <a:gd name="connsiteY3" fmla="*/ 216516 h 669131"/>
                    <a:gd name="connsiteX4" fmla="*/ 474348 w 474348"/>
                    <a:gd name="connsiteY4" fmla="*/ 669131 h 669131"/>
                    <a:gd name="connsiteX5" fmla="*/ 474348 w 474348"/>
                    <a:gd name="connsiteY5" fmla="*/ 669131 h 669131"/>
                    <a:gd name="connsiteX6" fmla="*/ 248129 w 474348"/>
                    <a:gd name="connsiteY6" fmla="*/ 669131 h 669131"/>
                    <a:gd name="connsiteX7" fmla="*/ 0 w 474348"/>
                    <a:gd name="connsiteY7" fmla="*/ 669131 h 669131"/>
                    <a:gd name="connsiteX8" fmla="*/ 0 w 474348"/>
                    <a:gd name="connsiteY8" fmla="*/ 669131 h 669131"/>
                    <a:gd name="connsiteX9" fmla="*/ 0 w 474348"/>
                    <a:gd name="connsiteY9" fmla="*/ 216516 h 669131"/>
                    <a:gd name="connsiteX10" fmla="*/ 192704 w 474348"/>
                    <a:gd name="connsiteY10" fmla="*/ 23812 h 669131"/>
                    <a:gd name="connsiteX0" fmla="*/ 192704 w 474348"/>
                    <a:gd name="connsiteY0" fmla="*/ 23812 h 669131"/>
                    <a:gd name="connsiteX1" fmla="*/ 265690 w 474348"/>
                    <a:gd name="connsiteY1" fmla="*/ 0 h 669131"/>
                    <a:gd name="connsiteX2" fmla="*/ 314250 w 474348"/>
                    <a:gd name="connsiteY2" fmla="*/ 24047 h 669131"/>
                    <a:gd name="connsiteX3" fmla="*/ 474348 w 474348"/>
                    <a:gd name="connsiteY3" fmla="*/ 216516 h 669131"/>
                    <a:gd name="connsiteX4" fmla="*/ 474348 w 474348"/>
                    <a:gd name="connsiteY4" fmla="*/ 669131 h 669131"/>
                    <a:gd name="connsiteX5" fmla="*/ 474348 w 474348"/>
                    <a:gd name="connsiteY5" fmla="*/ 669131 h 669131"/>
                    <a:gd name="connsiteX6" fmla="*/ 248129 w 474348"/>
                    <a:gd name="connsiteY6" fmla="*/ 669131 h 669131"/>
                    <a:gd name="connsiteX7" fmla="*/ 0 w 474348"/>
                    <a:gd name="connsiteY7" fmla="*/ 669131 h 669131"/>
                    <a:gd name="connsiteX8" fmla="*/ 0 w 474348"/>
                    <a:gd name="connsiteY8" fmla="*/ 669131 h 669131"/>
                    <a:gd name="connsiteX9" fmla="*/ 0 w 474348"/>
                    <a:gd name="connsiteY9" fmla="*/ 216516 h 669131"/>
                    <a:gd name="connsiteX10" fmla="*/ 192704 w 474348"/>
                    <a:gd name="connsiteY10" fmla="*/ 23812 h 669131"/>
                    <a:gd name="connsiteX0" fmla="*/ 192704 w 474348"/>
                    <a:gd name="connsiteY0" fmla="*/ 23812 h 669131"/>
                    <a:gd name="connsiteX1" fmla="*/ 265690 w 474348"/>
                    <a:gd name="connsiteY1" fmla="*/ 0 h 669131"/>
                    <a:gd name="connsiteX2" fmla="*/ 314250 w 474348"/>
                    <a:gd name="connsiteY2" fmla="*/ 24047 h 669131"/>
                    <a:gd name="connsiteX3" fmla="*/ 474348 w 474348"/>
                    <a:gd name="connsiteY3" fmla="*/ 216516 h 669131"/>
                    <a:gd name="connsiteX4" fmla="*/ 474348 w 474348"/>
                    <a:gd name="connsiteY4" fmla="*/ 669131 h 669131"/>
                    <a:gd name="connsiteX5" fmla="*/ 474348 w 474348"/>
                    <a:gd name="connsiteY5" fmla="*/ 669131 h 669131"/>
                    <a:gd name="connsiteX6" fmla="*/ 248129 w 474348"/>
                    <a:gd name="connsiteY6" fmla="*/ 669131 h 669131"/>
                    <a:gd name="connsiteX7" fmla="*/ 0 w 474348"/>
                    <a:gd name="connsiteY7" fmla="*/ 669131 h 669131"/>
                    <a:gd name="connsiteX8" fmla="*/ 0 w 474348"/>
                    <a:gd name="connsiteY8" fmla="*/ 669131 h 669131"/>
                    <a:gd name="connsiteX9" fmla="*/ 0 w 474348"/>
                    <a:gd name="connsiteY9" fmla="*/ 216516 h 669131"/>
                    <a:gd name="connsiteX10" fmla="*/ 192704 w 474348"/>
                    <a:gd name="connsiteY10" fmla="*/ 23812 h 669131"/>
                    <a:gd name="connsiteX0" fmla="*/ 192704 w 474348"/>
                    <a:gd name="connsiteY0" fmla="*/ 23812 h 669131"/>
                    <a:gd name="connsiteX1" fmla="*/ 265690 w 474348"/>
                    <a:gd name="connsiteY1" fmla="*/ 0 h 669131"/>
                    <a:gd name="connsiteX2" fmla="*/ 314250 w 474348"/>
                    <a:gd name="connsiteY2" fmla="*/ 24047 h 669131"/>
                    <a:gd name="connsiteX3" fmla="*/ 474348 w 474348"/>
                    <a:gd name="connsiteY3" fmla="*/ 216516 h 669131"/>
                    <a:gd name="connsiteX4" fmla="*/ 474348 w 474348"/>
                    <a:gd name="connsiteY4" fmla="*/ 669131 h 669131"/>
                    <a:gd name="connsiteX5" fmla="*/ 474348 w 474348"/>
                    <a:gd name="connsiteY5" fmla="*/ 669131 h 669131"/>
                    <a:gd name="connsiteX6" fmla="*/ 248129 w 474348"/>
                    <a:gd name="connsiteY6" fmla="*/ 669131 h 669131"/>
                    <a:gd name="connsiteX7" fmla="*/ 0 w 474348"/>
                    <a:gd name="connsiteY7" fmla="*/ 669131 h 669131"/>
                    <a:gd name="connsiteX8" fmla="*/ 0 w 474348"/>
                    <a:gd name="connsiteY8" fmla="*/ 669131 h 669131"/>
                    <a:gd name="connsiteX9" fmla="*/ 0 w 474348"/>
                    <a:gd name="connsiteY9" fmla="*/ 216516 h 669131"/>
                    <a:gd name="connsiteX10" fmla="*/ 192704 w 474348"/>
                    <a:gd name="connsiteY10" fmla="*/ 23812 h 669131"/>
                    <a:gd name="connsiteX0" fmla="*/ 174282 w 474348"/>
                    <a:gd name="connsiteY0" fmla="*/ 23596 h 669131"/>
                    <a:gd name="connsiteX1" fmla="*/ 265690 w 474348"/>
                    <a:gd name="connsiteY1" fmla="*/ 0 h 669131"/>
                    <a:gd name="connsiteX2" fmla="*/ 314250 w 474348"/>
                    <a:gd name="connsiteY2" fmla="*/ 24047 h 669131"/>
                    <a:gd name="connsiteX3" fmla="*/ 474348 w 474348"/>
                    <a:gd name="connsiteY3" fmla="*/ 216516 h 669131"/>
                    <a:gd name="connsiteX4" fmla="*/ 474348 w 474348"/>
                    <a:gd name="connsiteY4" fmla="*/ 669131 h 669131"/>
                    <a:gd name="connsiteX5" fmla="*/ 474348 w 474348"/>
                    <a:gd name="connsiteY5" fmla="*/ 669131 h 669131"/>
                    <a:gd name="connsiteX6" fmla="*/ 248129 w 474348"/>
                    <a:gd name="connsiteY6" fmla="*/ 669131 h 669131"/>
                    <a:gd name="connsiteX7" fmla="*/ 0 w 474348"/>
                    <a:gd name="connsiteY7" fmla="*/ 669131 h 669131"/>
                    <a:gd name="connsiteX8" fmla="*/ 0 w 474348"/>
                    <a:gd name="connsiteY8" fmla="*/ 669131 h 669131"/>
                    <a:gd name="connsiteX9" fmla="*/ 0 w 474348"/>
                    <a:gd name="connsiteY9" fmla="*/ 216516 h 669131"/>
                    <a:gd name="connsiteX10" fmla="*/ 174282 w 474348"/>
                    <a:gd name="connsiteY10" fmla="*/ 23596 h 669131"/>
                    <a:gd name="connsiteX0" fmla="*/ 174282 w 474348"/>
                    <a:gd name="connsiteY0" fmla="*/ 24619 h 670154"/>
                    <a:gd name="connsiteX1" fmla="*/ 216121 w 474348"/>
                    <a:gd name="connsiteY1" fmla="*/ 0 h 670154"/>
                    <a:gd name="connsiteX2" fmla="*/ 314250 w 474348"/>
                    <a:gd name="connsiteY2" fmla="*/ 25070 h 670154"/>
                    <a:gd name="connsiteX3" fmla="*/ 474348 w 474348"/>
                    <a:gd name="connsiteY3" fmla="*/ 217539 h 670154"/>
                    <a:gd name="connsiteX4" fmla="*/ 474348 w 474348"/>
                    <a:gd name="connsiteY4" fmla="*/ 670154 h 670154"/>
                    <a:gd name="connsiteX5" fmla="*/ 474348 w 474348"/>
                    <a:gd name="connsiteY5" fmla="*/ 670154 h 670154"/>
                    <a:gd name="connsiteX6" fmla="*/ 248129 w 474348"/>
                    <a:gd name="connsiteY6" fmla="*/ 670154 h 670154"/>
                    <a:gd name="connsiteX7" fmla="*/ 0 w 474348"/>
                    <a:gd name="connsiteY7" fmla="*/ 670154 h 670154"/>
                    <a:gd name="connsiteX8" fmla="*/ 0 w 474348"/>
                    <a:gd name="connsiteY8" fmla="*/ 670154 h 670154"/>
                    <a:gd name="connsiteX9" fmla="*/ 0 w 474348"/>
                    <a:gd name="connsiteY9" fmla="*/ 217539 h 670154"/>
                    <a:gd name="connsiteX10" fmla="*/ 174282 w 474348"/>
                    <a:gd name="connsiteY10" fmla="*/ 24619 h 670154"/>
                    <a:gd name="connsiteX0" fmla="*/ 174282 w 474348"/>
                    <a:gd name="connsiteY0" fmla="*/ 24619 h 670154"/>
                    <a:gd name="connsiteX1" fmla="*/ 216121 w 474348"/>
                    <a:gd name="connsiteY1" fmla="*/ 0 h 670154"/>
                    <a:gd name="connsiteX2" fmla="*/ 314250 w 474348"/>
                    <a:gd name="connsiteY2" fmla="*/ 25070 h 670154"/>
                    <a:gd name="connsiteX3" fmla="*/ 474348 w 474348"/>
                    <a:gd name="connsiteY3" fmla="*/ 217539 h 670154"/>
                    <a:gd name="connsiteX4" fmla="*/ 474348 w 474348"/>
                    <a:gd name="connsiteY4" fmla="*/ 670154 h 670154"/>
                    <a:gd name="connsiteX5" fmla="*/ 474348 w 474348"/>
                    <a:gd name="connsiteY5" fmla="*/ 670154 h 670154"/>
                    <a:gd name="connsiteX6" fmla="*/ 248129 w 474348"/>
                    <a:gd name="connsiteY6" fmla="*/ 670154 h 670154"/>
                    <a:gd name="connsiteX7" fmla="*/ 0 w 474348"/>
                    <a:gd name="connsiteY7" fmla="*/ 670154 h 670154"/>
                    <a:gd name="connsiteX8" fmla="*/ 0 w 474348"/>
                    <a:gd name="connsiteY8" fmla="*/ 670154 h 670154"/>
                    <a:gd name="connsiteX9" fmla="*/ 0 w 474348"/>
                    <a:gd name="connsiteY9" fmla="*/ 217539 h 670154"/>
                    <a:gd name="connsiteX10" fmla="*/ 174282 w 474348"/>
                    <a:gd name="connsiteY10" fmla="*/ 24619 h 670154"/>
                    <a:gd name="connsiteX0" fmla="*/ 174282 w 474348"/>
                    <a:gd name="connsiteY0" fmla="*/ 24619 h 670154"/>
                    <a:gd name="connsiteX1" fmla="*/ 216121 w 474348"/>
                    <a:gd name="connsiteY1" fmla="*/ 0 h 670154"/>
                    <a:gd name="connsiteX2" fmla="*/ 314250 w 474348"/>
                    <a:gd name="connsiteY2" fmla="*/ 25070 h 670154"/>
                    <a:gd name="connsiteX3" fmla="*/ 474348 w 474348"/>
                    <a:gd name="connsiteY3" fmla="*/ 217539 h 670154"/>
                    <a:gd name="connsiteX4" fmla="*/ 474348 w 474348"/>
                    <a:gd name="connsiteY4" fmla="*/ 670154 h 670154"/>
                    <a:gd name="connsiteX5" fmla="*/ 474348 w 474348"/>
                    <a:gd name="connsiteY5" fmla="*/ 670154 h 670154"/>
                    <a:gd name="connsiteX6" fmla="*/ 248129 w 474348"/>
                    <a:gd name="connsiteY6" fmla="*/ 670154 h 670154"/>
                    <a:gd name="connsiteX7" fmla="*/ 0 w 474348"/>
                    <a:gd name="connsiteY7" fmla="*/ 670154 h 670154"/>
                    <a:gd name="connsiteX8" fmla="*/ 0 w 474348"/>
                    <a:gd name="connsiteY8" fmla="*/ 670154 h 670154"/>
                    <a:gd name="connsiteX9" fmla="*/ 0 w 474348"/>
                    <a:gd name="connsiteY9" fmla="*/ 217539 h 670154"/>
                    <a:gd name="connsiteX10" fmla="*/ 174282 w 474348"/>
                    <a:gd name="connsiteY10" fmla="*/ 24619 h 670154"/>
                    <a:gd name="connsiteX0" fmla="*/ 174282 w 474348"/>
                    <a:gd name="connsiteY0" fmla="*/ 24619 h 670154"/>
                    <a:gd name="connsiteX1" fmla="*/ 216121 w 474348"/>
                    <a:gd name="connsiteY1" fmla="*/ 0 h 670154"/>
                    <a:gd name="connsiteX2" fmla="*/ 314250 w 474348"/>
                    <a:gd name="connsiteY2" fmla="*/ 25070 h 670154"/>
                    <a:gd name="connsiteX3" fmla="*/ 474348 w 474348"/>
                    <a:gd name="connsiteY3" fmla="*/ 217539 h 670154"/>
                    <a:gd name="connsiteX4" fmla="*/ 474348 w 474348"/>
                    <a:gd name="connsiteY4" fmla="*/ 670154 h 670154"/>
                    <a:gd name="connsiteX5" fmla="*/ 474348 w 474348"/>
                    <a:gd name="connsiteY5" fmla="*/ 670154 h 670154"/>
                    <a:gd name="connsiteX6" fmla="*/ 248129 w 474348"/>
                    <a:gd name="connsiteY6" fmla="*/ 670154 h 670154"/>
                    <a:gd name="connsiteX7" fmla="*/ 0 w 474348"/>
                    <a:gd name="connsiteY7" fmla="*/ 670154 h 670154"/>
                    <a:gd name="connsiteX8" fmla="*/ 0 w 474348"/>
                    <a:gd name="connsiteY8" fmla="*/ 670154 h 670154"/>
                    <a:gd name="connsiteX9" fmla="*/ 0 w 474348"/>
                    <a:gd name="connsiteY9" fmla="*/ 217539 h 670154"/>
                    <a:gd name="connsiteX10" fmla="*/ 174282 w 474348"/>
                    <a:gd name="connsiteY10" fmla="*/ 24619 h 670154"/>
                    <a:gd name="connsiteX0" fmla="*/ 148557 w 474348"/>
                    <a:gd name="connsiteY0" fmla="*/ 27264 h 670154"/>
                    <a:gd name="connsiteX1" fmla="*/ 216121 w 474348"/>
                    <a:gd name="connsiteY1" fmla="*/ 0 h 670154"/>
                    <a:gd name="connsiteX2" fmla="*/ 314250 w 474348"/>
                    <a:gd name="connsiteY2" fmla="*/ 25070 h 670154"/>
                    <a:gd name="connsiteX3" fmla="*/ 474348 w 474348"/>
                    <a:gd name="connsiteY3" fmla="*/ 217539 h 670154"/>
                    <a:gd name="connsiteX4" fmla="*/ 474348 w 474348"/>
                    <a:gd name="connsiteY4" fmla="*/ 670154 h 670154"/>
                    <a:gd name="connsiteX5" fmla="*/ 474348 w 474348"/>
                    <a:gd name="connsiteY5" fmla="*/ 670154 h 670154"/>
                    <a:gd name="connsiteX6" fmla="*/ 248129 w 474348"/>
                    <a:gd name="connsiteY6" fmla="*/ 670154 h 670154"/>
                    <a:gd name="connsiteX7" fmla="*/ 0 w 474348"/>
                    <a:gd name="connsiteY7" fmla="*/ 670154 h 670154"/>
                    <a:gd name="connsiteX8" fmla="*/ 0 w 474348"/>
                    <a:gd name="connsiteY8" fmla="*/ 670154 h 670154"/>
                    <a:gd name="connsiteX9" fmla="*/ 0 w 474348"/>
                    <a:gd name="connsiteY9" fmla="*/ 217539 h 670154"/>
                    <a:gd name="connsiteX10" fmla="*/ 148557 w 474348"/>
                    <a:gd name="connsiteY10" fmla="*/ 27264 h 670154"/>
                    <a:gd name="connsiteX0" fmla="*/ 148557 w 474348"/>
                    <a:gd name="connsiteY0" fmla="*/ 20950 h 663840"/>
                    <a:gd name="connsiteX1" fmla="*/ 214238 w 474348"/>
                    <a:gd name="connsiteY1" fmla="*/ 0 h 663840"/>
                    <a:gd name="connsiteX2" fmla="*/ 314250 w 474348"/>
                    <a:gd name="connsiteY2" fmla="*/ 18756 h 663840"/>
                    <a:gd name="connsiteX3" fmla="*/ 474348 w 474348"/>
                    <a:gd name="connsiteY3" fmla="*/ 211225 h 663840"/>
                    <a:gd name="connsiteX4" fmla="*/ 474348 w 474348"/>
                    <a:gd name="connsiteY4" fmla="*/ 663840 h 663840"/>
                    <a:gd name="connsiteX5" fmla="*/ 474348 w 474348"/>
                    <a:gd name="connsiteY5" fmla="*/ 663840 h 663840"/>
                    <a:gd name="connsiteX6" fmla="*/ 248129 w 474348"/>
                    <a:gd name="connsiteY6" fmla="*/ 663840 h 663840"/>
                    <a:gd name="connsiteX7" fmla="*/ 0 w 474348"/>
                    <a:gd name="connsiteY7" fmla="*/ 663840 h 663840"/>
                    <a:gd name="connsiteX8" fmla="*/ 0 w 474348"/>
                    <a:gd name="connsiteY8" fmla="*/ 663840 h 663840"/>
                    <a:gd name="connsiteX9" fmla="*/ 0 w 474348"/>
                    <a:gd name="connsiteY9" fmla="*/ 211225 h 663840"/>
                    <a:gd name="connsiteX10" fmla="*/ 148557 w 474348"/>
                    <a:gd name="connsiteY10" fmla="*/ 20950 h 663840"/>
                    <a:gd name="connsiteX0" fmla="*/ 148557 w 474348"/>
                    <a:gd name="connsiteY0" fmla="*/ 20950 h 663840"/>
                    <a:gd name="connsiteX1" fmla="*/ 214238 w 474348"/>
                    <a:gd name="connsiteY1" fmla="*/ 0 h 663840"/>
                    <a:gd name="connsiteX2" fmla="*/ 314250 w 474348"/>
                    <a:gd name="connsiteY2" fmla="*/ 18756 h 663840"/>
                    <a:gd name="connsiteX3" fmla="*/ 474348 w 474348"/>
                    <a:gd name="connsiteY3" fmla="*/ 211225 h 663840"/>
                    <a:gd name="connsiteX4" fmla="*/ 474348 w 474348"/>
                    <a:gd name="connsiteY4" fmla="*/ 663840 h 663840"/>
                    <a:gd name="connsiteX5" fmla="*/ 474348 w 474348"/>
                    <a:gd name="connsiteY5" fmla="*/ 663840 h 663840"/>
                    <a:gd name="connsiteX6" fmla="*/ 248129 w 474348"/>
                    <a:gd name="connsiteY6" fmla="*/ 663840 h 663840"/>
                    <a:gd name="connsiteX7" fmla="*/ 0 w 474348"/>
                    <a:gd name="connsiteY7" fmla="*/ 663840 h 663840"/>
                    <a:gd name="connsiteX8" fmla="*/ 0 w 474348"/>
                    <a:gd name="connsiteY8" fmla="*/ 663840 h 663840"/>
                    <a:gd name="connsiteX9" fmla="*/ 0 w 474348"/>
                    <a:gd name="connsiteY9" fmla="*/ 211225 h 663840"/>
                    <a:gd name="connsiteX10" fmla="*/ 148557 w 474348"/>
                    <a:gd name="connsiteY10" fmla="*/ 20950 h 663840"/>
                    <a:gd name="connsiteX0" fmla="*/ 148557 w 474348"/>
                    <a:gd name="connsiteY0" fmla="*/ 20950 h 663840"/>
                    <a:gd name="connsiteX1" fmla="*/ 214238 w 474348"/>
                    <a:gd name="connsiteY1" fmla="*/ 0 h 663840"/>
                    <a:gd name="connsiteX2" fmla="*/ 314250 w 474348"/>
                    <a:gd name="connsiteY2" fmla="*/ 18756 h 663840"/>
                    <a:gd name="connsiteX3" fmla="*/ 474348 w 474348"/>
                    <a:gd name="connsiteY3" fmla="*/ 211225 h 663840"/>
                    <a:gd name="connsiteX4" fmla="*/ 474348 w 474348"/>
                    <a:gd name="connsiteY4" fmla="*/ 663840 h 663840"/>
                    <a:gd name="connsiteX5" fmla="*/ 474348 w 474348"/>
                    <a:gd name="connsiteY5" fmla="*/ 663840 h 663840"/>
                    <a:gd name="connsiteX6" fmla="*/ 248129 w 474348"/>
                    <a:gd name="connsiteY6" fmla="*/ 663840 h 663840"/>
                    <a:gd name="connsiteX7" fmla="*/ 0 w 474348"/>
                    <a:gd name="connsiteY7" fmla="*/ 663840 h 663840"/>
                    <a:gd name="connsiteX8" fmla="*/ 0 w 474348"/>
                    <a:gd name="connsiteY8" fmla="*/ 663840 h 663840"/>
                    <a:gd name="connsiteX9" fmla="*/ 0 w 474348"/>
                    <a:gd name="connsiteY9" fmla="*/ 211225 h 663840"/>
                    <a:gd name="connsiteX10" fmla="*/ 148557 w 474348"/>
                    <a:gd name="connsiteY10" fmla="*/ 20950 h 663840"/>
                    <a:gd name="connsiteX0" fmla="*/ 144178 w 474348"/>
                    <a:gd name="connsiteY0" fmla="*/ 22667 h 663840"/>
                    <a:gd name="connsiteX1" fmla="*/ 214238 w 474348"/>
                    <a:gd name="connsiteY1" fmla="*/ 0 h 663840"/>
                    <a:gd name="connsiteX2" fmla="*/ 314250 w 474348"/>
                    <a:gd name="connsiteY2" fmla="*/ 18756 h 663840"/>
                    <a:gd name="connsiteX3" fmla="*/ 474348 w 474348"/>
                    <a:gd name="connsiteY3" fmla="*/ 211225 h 663840"/>
                    <a:gd name="connsiteX4" fmla="*/ 474348 w 474348"/>
                    <a:gd name="connsiteY4" fmla="*/ 663840 h 663840"/>
                    <a:gd name="connsiteX5" fmla="*/ 474348 w 474348"/>
                    <a:gd name="connsiteY5" fmla="*/ 663840 h 663840"/>
                    <a:gd name="connsiteX6" fmla="*/ 248129 w 474348"/>
                    <a:gd name="connsiteY6" fmla="*/ 663840 h 663840"/>
                    <a:gd name="connsiteX7" fmla="*/ 0 w 474348"/>
                    <a:gd name="connsiteY7" fmla="*/ 663840 h 663840"/>
                    <a:gd name="connsiteX8" fmla="*/ 0 w 474348"/>
                    <a:gd name="connsiteY8" fmla="*/ 663840 h 663840"/>
                    <a:gd name="connsiteX9" fmla="*/ 0 w 474348"/>
                    <a:gd name="connsiteY9" fmla="*/ 211225 h 663840"/>
                    <a:gd name="connsiteX10" fmla="*/ 144178 w 474348"/>
                    <a:gd name="connsiteY10" fmla="*/ 22667 h 663840"/>
                    <a:gd name="connsiteX0" fmla="*/ 144178 w 474348"/>
                    <a:gd name="connsiteY0" fmla="*/ 22667 h 663840"/>
                    <a:gd name="connsiteX1" fmla="*/ 214238 w 474348"/>
                    <a:gd name="connsiteY1" fmla="*/ 0 h 663840"/>
                    <a:gd name="connsiteX2" fmla="*/ 314250 w 474348"/>
                    <a:gd name="connsiteY2" fmla="*/ 18756 h 663840"/>
                    <a:gd name="connsiteX3" fmla="*/ 474348 w 474348"/>
                    <a:gd name="connsiteY3" fmla="*/ 211225 h 663840"/>
                    <a:gd name="connsiteX4" fmla="*/ 474348 w 474348"/>
                    <a:gd name="connsiteY4" fmla="*/ 663840 h 663840"/>
                    <a:gd name="connsiteX5" fmla="*/ 474348 w 474348"/>
                    <a:gd name="connsiteY5" fmla="*/ 663840 h 663840"/>
                    <a:gd name="connsiteX6" fmla="*/ 248129 w 474348"/>
                    <a:gd name="connsiteY6" fmla="*/ 663840 h 663840"/>
                    <a:gd name="connsiteX7" fmla="*/ 0 w 474348"/>
                    <a:gd name="connsiteY7" fmla="*/ 663840 h 663840"/>
                    <a:gd name="connsiteX8" fmla="*/ 0 w 474348"/>
                    <a:gd name="connsiteY8" fmla="*/ 663840 h 663840"/>
                    <a:gd name="connsiteX9" fmla="*/ 0 w 474348"/>
                    <a:gd name="connsiteY9" fmla="*/ 211225 h 663840"/>
                    <a:gd name="connsiteX10" fmla="*/ 144178 w 474348"/>
                    <a:gd name="connsiteY10" fmla="*/ 22667 h 663840"/>
                    <a:gd name="connsiteX0" fmla="*/ 144178 w 474348"/>
                    <a:gd name="connsiteY0" fmla="*/ 22667 h 663840"/>
                    <a:gd name="connsiteX1" fmla="*/ 214238 w 474348"/>
                    <a:gd name="connsiteY1" fmla="*/ 0 h 663840"/>
                    <a:gd name="connsiteX2" fmla="*/ 314250 w 474348"/>
                    <a:gd name="connsiteY2" fmla="*/ 18756 h 663840"/>
                    <a:gd name="connsiteX3" fmla="*/ 474348 w 474348"/>
                    <a:gd name="connsiteY3" fmla="*/ 211225 h 663840"/>
                    <a:gd name="connsiteX4" fmla="*/ 474348 w 474348"/>
                    <a:gd name="connsiteY4" fmla="*/ 663840 h 663840"/>
                    <a:gd name="connsiteX5" fmla="*/ 474348 w 474348"/>
                    <a:gd name="connsiteY5" fmla="*/ 663840 h 663840"/>
                    <a:gd name="connsiteX6" fmla="*/ 248129 w 474348"/>
                    <a:gd name="connsiteY6" fmla="*/ 663840 h 663840"/>
                    <a:gd name="connsiteX7" fmla="*/ 0 w 474348"/>
                    <a:gd name="connsiteY7" fmla="*/ 663840 h 663840"/>
                    <a:gd name="connsiteX8" fmla="*/ 0 w 474348"/>
                    <a:gd name="connsiteY8" fmla="*/ 663840 h 663840"/>
                    <a:gd name="connsiteX9" fmla="*/ 0 w 474348"/>
                    <a:gd name="connsiteY9" fmla="*/ 211225 h 663840"/>
                    <a:gd name="connsiteX10" fmla="*/ 144178 w 474348"/>
                    <a:gd name="connsiteY10" fmla="*/ 22667 h 663840"/>
                    <a:gd name="connsiteX0" fmla="*/ 144178 w 474348"/>
                    <a:gd name="connsiteY0" fmla="*/ 22667 h 663840"/>
                    <a:gd name="connsiteX1" fmla="*/ 214238 w 474348"/>
                    <a:gd name="connsiteY1" fmla="*/ 0 h 663840"/>
                    <a:gd name="connsiteX2" fmla="*/ 314250 w 474348"/>
                    <a:gd name="connsiteY2" fmla="*/ 18756 h 663840"/>
                    <a:gd name="connsiteX3" fmla="*/ 474348 w 474348"/>
                    <a:gd name="connsiteY3" fmla="*/ 211225 h 663840"/>
                    <a:gd name="connsiteX4" fmla="*/ 474348 w 474348"/>
                    <a:gd name="connsiteY4" fmla="*/ 663840 h 663840"/>
                    <a:gd name="connsiteX5" fmla="*/ 474348 w 474348"/>
                    <a:gd name="connsiteY5" fmla="*/ 663840 h 663840"/>
                    <a:gd name="connsiteX6" fmla="*/ 248129 w 474348"/>
                    <a:gd name="connsiteY6" fmla="*/ 663840 h 663840"/>
                    <a:gd name="connsiteX7" fmla="*/ 0 w 474348"/>
                    <a:gd name="connsiteY7" fmla="*/ 663840 h 663840"/>
                    <a:gd name="connsiteX8" fmla="*/ 0 w 474348"/>
                    <a:gd name="connsiteY8" fmla="*/ 663840 h 663840"/>
                    <a:gd name="connsiteX9" fmla="*/ 0 w 474348"/>
                    <a:gd name="connsiteY9" fmla="*/ 211225 h 663840"/>
                    <a:gd name="connsiteX10" fmla="*/ 144178 w 474348"/>
                    <a:gd name="connsiteY10" fmla="*/ 22667 h 6638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74348" h="663840">
                      <a:moveTo>
                        <a:pt x="144178" y="22667"/>
                      </a:moveTo>
                      <a:cubicBezTo>
                        <a:pt x="211732" y="-970"/>
                        <a:pt x="181869" y="7990"/>
                        <a:pt x="214238" y="0"/>
                      </a:cubicBezTo>
                      <a:cubicBezTo>
                        <a:pt x="259321" y="7224"/>
                        <a:pt x="221757" y="369"/>
                        <a:pt x="314250" y="18756"/>
                      </a:cubicBezTo>
                      <a:cubicBezTo>
                        <a:pt x="399877" y="51074"/>
                        <a:pt x="474348" y="104798"/>
                        <a:pt x="474348" y="211225"/>
                      </a:cubicBezTo>
                      <a:lnTo>
                        <a:pt x="474348" y="663840"/>
                      </a:lnTo>
                      <a:lnTo>
                        <a:pt x="474348" y="663840"/>
                      </a:lnTo>
                      <a:lnTo>
                        <a:pt x="248129" y="663840"/>
                      </a:lnTo>
                      <a:lnTo>
                        <a:pt x="0" y="663840"/>
                      </a:lnTo>
                      <a:lnTo>
                        <a:pt x="0" y="663840"/>
                      </a:lnTo>
                      <a:lnTo>
                        <a:pt x="0" y="211225"/>
                      </a:lnTo>
                      <a:cubicBezTo>
                        <a:pt x="0" y="104798"/>
                        <a:pt x="80700" y="56026"/>
                        <a:pt x="144178" y="22667"/>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53" name="Round Same Side Corner Rectangle 11"/>
                <p:cNvSpPr/>
                <p:nvPr/>
              </p:nvSpPr>
              <p:spPr>
                <a:xfrm rot="7140000">
                  <a:off x="4278989" y="1266737"/>
                  <a:ext cx="251846" cy="2632764"/>
                </a:xfrm>
                <a:custGeom>
                  <a:avLst/>
                  <a:gdLst>
                    <a:gd name="connsiteX0" fmla="*/ 192704 w 474348"/>
                    <a:gd name="connsiteY0" fmla="*/ 0 h 645319"/>
                    <a:gd name="connsiteX1" fmla="*/ 281644 w 474348"/>
                    <a:gd name="connsiteY1" fmla="*/ 0 h 645319"/>
                    <a:gd name="connsiteX2" fmla="*/ 474348 w 474348"/>
                    <a:gd name="connsiteY2" fmla="*/ 192704 h 645319"/>
                    <a:gd name="connsiteX3" fmla="*/ 474348 w 474348"/>
                    <a:gd name="connsiteY3" fmla="*/ 645319 h 645319"/>
                    <a:gd name="connsiteX4" fmla="*/ 474348 w 474348"/>
                    <a:gd name="connsiteY4" fmla="*/ 645319 h 645319"/>
                    <a:gd name="connsiteX5" fmla="*/ 0 w 474348"/>
                    <a:gd name="connsiteY5" fmla="*/ 645319 h 645319"/>
                    <a:gd name="connsiteX6" fmla="*/ 0 w 474348"/>
                    <a:gd name="connsiteY6" fmla="*/ 645319 h 645319"/>
                    <a:gd name="connsiteX7" fmla="*/ 0 w 474348"/>
                    <a:gd name="connsiteY7" fmla="*/ 192704 h 645319"/>
                    <a:gd name="connsiteX8" fmla="*/ 192704 w 474348"/>
                    <a:gd name="connsiteY8" fmla="*/ 0 h 645319"/>
                    <a:gd name="connsiteX0" fmla="*/ 192704 w 474348"/>
                    <a:gd name="connsiteY0" fmla="*/ 0 h 645319"/>
                    <a:gd name="connsiteX1" fmla="*/ 281644 w 474348"/>
                    <a:gd name="connsiteY1" fmla="*/ 0 h 645319"/>
                    <a:gd name="connsiteX2" fmla="*/ 474348 w 474348"/>
                    <a:gd name="connsiteY2" fmla="*/ 192704 h 645319"/>
                    <a:gd name="connsiteX3" fmla="*/ 474348 w 474348"/>
                    <a:gd name="connsiteY3" fmla="*/ 645319 h 645319"/>
                    <a:gd name="connsiteX4" fmla="*/ 474348 w 474348"/>
                    <a:gd name="connsiteY4" fmla="*/ 645319 h 645319"/>
                    <a:gd name="connsiteX5" fmla="*/ 248129 w 474348"/>
                    <a:gd name="connsiteY5" fmla="*/ 645319 h 645319"/>
                    <a:gd name="connsiteX6" fmla="*/ 0 w 474348"/>
                    <a:gd name="connsiteY6" fmla="*/ 645319 h 645319"/>
                    <a:gd name="connsiteX7" fmla="*/ 0 w 474348"/>
                    <a:gd name="connsiteY7" fmla="*/ 645319 h 645319"/>
                    <a:gd name="connsiteX8" fmla="*/ 0 w 474348"/>
                    <a:gd name="connsiteY8" fmla="*/ 192704 h 645319"/>
                    <a:gd name="connsiteX9" fmla="*/ 192704 w 474348"/>
                    <a:gd name="connsiteY9" fmla="*/ 0 h 645319"/>
                    <a:gd name="connsiteX0" fmla="*/ 192704 w 474348"/>
                    <a:gd name="connsiteY0" fmla="*/ 2381 h 647700"/>
                    <a:gd name="connsiteX1" fmla="*/ 240986 w 474348"/>
                    <a:gd name="connsiteY1" fmla="*/ 0 h 647700"/>
                    <a:gd name="connsiteX2" fmla="*/ 281644 w 474348"/>
                    <a:gd name="connsiteY2" fmla="*/ 2381 h 647700"/>
                    <a:gd name="connsiteX3" fmla="*/ 474348 w 474348"/>
                    <a:gd name="connsiteY3" fmla="*/ 195085 h 647700"/>
                    <a:gd name="connsiteX4" fmla="*/ 474348 w 474348"/>
                    <a:gd name="connsiteY4" fmla="*/ 647700 h 647700"/>
                    <a:gd name="connsiteX5" fmla="*/ 474348 w 474348"/>
                    <a:gd name="connsiteY5" fmla="*/ 647700 h 647700"/>
                    <a:gd name="connsiteX6" fmla="*/ 248129 w 474348"/>
                    <a:gd name="connsiteY6" fmla="*/ 647700 h 647700"/>
                    <a:gd name="connsiteX7" fmla="*/ 0 w 474348"/>
                    <a:gd name="connsiteY7" fmla="*/ 647700 h 647700"/>
                    <a:gd name="connsiteX8" fmla="*/ 0 w 474348"/>
                    <a:gd name="connsiteY8" fmla="*/ 647700 h 647700"/>
                    <a:gd name="connsiteX9" fmla="*/ 0 w 474348"/>
                    <a:gd name="connsiteY9" fmla="*/ 195085 h 647700"/>
                    <a:gd name="connsiteX10" fmla="*/ 192704 w 474348"/>
                    <a:gd name="connsiteY10" fmla="*/ 2381 h 647700"/>
                    <a:gd name="connsiteX0" fmla="*/ 192704 w 474348"/>
                    <a:gd name="connsiteY0" fmla="*/ 42862 h 688181"/>
                    <a:gd name="connsiteX1" fmla="*/ 240986 w 474348"/>
                    <a:gd name="connsiteY1" fmla="*/ 0 h 688181"/>
                    <a:gd name="connsiteX2" fmla="*/ 281644 w 474348"/>
                    <a:gd name="connsiteY2" fmla="*/ 42862 h 688181"/>
                    <a:gd name="connsiteX3" fmla="*/ 474348 w 474348"/>
                    <a:gd name="connsiteY3" fmla="*/ 235566 h 688181"/>
                    <a:gd name="connsiteX4" fmla="*/ 474348 w 474348"/>
                    <a:gd name="connsiteY4" fmla="*/ 688181 h 688181"/>
                    <a:gd name="connsiteX5" fmla="*/ 474348 w 474348"/>
                    <a:gd name="connsiteY5" fmla="*/ 688181 h 688181"/>
                    <a:gd name="connsiteX6" fmla="*/ 248129 w 474348"/>
                    <a:gd name="connsiteY6" fmla="*/ 688181 h 688181"/>
                    <a:gd name="connsiteX7" fmla="*/ 0 w 474348"/>
                    <a:gd name="connsiteY7" fmla="*/ 688181 h 688181"/>
                    <a:gd name="connsiteX8" fmla="*/ 0 w 474348"/>
                    <a:gd name="connsiteY8" fmla="*/ 688181 h 688181"/>
                    <a:gd name="connsiteX9" fmla="*/ 0 w 474348"/>
                    <a:gd name="connsiteY9" fmla="*/ 235566 h 688181"/>
                    <a:gd name="connsiteX10" fmla="*/ 192704 w 474348"/>
                    <a:gd name="connsiteY10" fmla="*/ 42862 h 688181"/>
                    <a:gd name="connsiteX0" fmla="*/ 192704 w 474348"/>
                    <a:gd name="connsiteY0" fmla="*/ 23812 h 669131"/>
                    <a:gd name="connsiteX1" fmla="*/ 265690 w 474348"/>
                    <a:gd name="connsiteY1" fmla="*/ 0 h 669131"/>
                    <a:gd name="connsiteX2" fmla="*/ 281644 w 474348"/>
                    <a:gd name="connsiteY2" fmla="*/ 23812 h 669131"/>
                    <a:gd name="connsiteX3" fmla="*/ 474348 w 474348"/>
                    <a:gd name="connsiteY3" fmla="*/ 216516 h 669131"/>
                    <a:gd name="connsiteX4" fmla="*/ 474348 w 474348"/>
                    <a:gd name="connsiteY4" fmla="*/ 669131 h 669131"/>
                    <a:gd name="connsiteX5" fmla="*/ 474348 w 474348"/>
                    <a:gd name="connsiteY5" fmla="*/ 669131 h 669131"/>
                    <a:gd name="connsiteX6" fmla="*/ 248129 w 474348"/>
                    <a:gd name="connsiteY6" fmla="*/ 669131 h 669131"/>
                    <a:gd name="connsiteX7" fmla="*/ 0 w 474348"/>
                    <a:gd name="connsiteY7" fmla="*/ 669131 h 669131"/>
                    <a:gd name="connsiteX8" fmla="*/ 0 w 474348"/>
                    <a:gd name="connsiteY8" fmla="*/ 669131 h 669131"/>
                    <a:gd name="connsiteX9" fmla="*/ 0 w 474348"/>
                    <a:gd name="connsiteY9" fmla="*/ 216516 h 669131"/>
                    <a:gd name="connsiteX10" fmla="*/ 192704 w 474348"/>
                    <a:gd name="connsiteY10" fmla="*/ 23812 h 669131"/>
                    <a:gd name="connsiteX0" fmla="*/ 192704 w 474348"/>
                    <a:gd name="connsiteY0" fmla="*/ 23812 h 669131"/>
                    <a:gd name="connsiteX1" fmla="*/ 265690 w 474348"/>
                    <a:gd name="connsiteY1" fmla="*/ 0 h 669131"/>
                    <a:gd name="connsiteX2" fmla="*/ 309530 w 474348"/>
                    <a:gd name="connsiteY2" fmla="*/ 23110 h 669131"/>
                    <a:gd name="connsiteX3" fmla="*/ 474348 w 474348"/>
                    <a:gd name="connsiteY3" fmla="*/ 216516 h 669131"/>
                    <a:gd name="connsiteX4" fmla="*/ 474348 w 474348"/>
                    <a:gd name="connsiteY4" fmla="*/ 669131 h 669131"/>
                    <a:gd name="connsiteX5" fmla="*/ 474348 w 474348"/>
                    <a:gd name="connsiteY5" fmla="*/ 669131 h 669131"/>
                    <a:gd name="connsiteX6" fmla="*/ 248129 w 474348"/>
                    <a:gd name="connsiteY6" fmla="*/ 669131 h 669131"/>
                    <a:gd name="connsiteX7" fmla="*/ 0 w 474348"/>
                    <a:gd name="connsiteY7" fmla="*/ 669131 h 669131"/>
                    <a:gd name="connsiteX8" fmla="*/ 0 w 474348"/>
                    <a:gd name="connsiteY8" fmla="*/ 669131 h 669131"/>
                    <a:gd name="connsiteX9" fmla="*/ 0 w 474348"/>
                    <a:gd name="connsiteY9" fmla="*/ 216516 h 669131"/>
                    <a:gd name="connsiteX10" fmla="*/ 192704 w 474348"/>
                    <a:gd name="connsiteY10" fmla="*/ 23812 h 669131"/>
                    <a:gd name="connsiteX0" fmla="*/ 192704 w 474348"/>
                    <a:gd name="connsiteY0" fmla="*/ 23812 h 669131"/>
                    <a:gd name="connsiteX1" fmla="*/ 265690 w 474348"/>
                    <a:gd name="connsiteY1" fmla="*/ 0 h 669131"/>
                    <a:gd name="connsiteX2" fmla="*/ 309530 w 474348"/>
                    <a:gd name="connsiteY2" fmla="*/ 23110 h 669131"/>
                    <a:gd name="connsiteX3" fmla="*/ 474348 w 474348"/>
                    <a:gd name="connsiteY3" fmla="*/ 216516 h 669131"/>
                    <a:gd name="connsiteX4" fmla="*/ 474348 w 474348"/>
                    <a:gd name="connsiteY4" fmla="*/ 669131 h 669131"/>
                    <a:gd name="connsiteX5" fmla="*/ 474348 w 474348"/>
                    <a:gd name="connsiteY5" fmla="*/ 669131 h 669131"/>
                    <a:gd name="connsiteX6" fmla="*/ 248129 w 474348"/>
                    <a:gd name="connsiteY6" fmla="*/ 669131 h 669131"/>
                    <a:gd name="connsiteX7" fmla="*/ 0 w 474348"/>
                    <a:gd name="connsiteY7" fmla="*/ 669131 h 669131"/>
                    <a:gd name="connsiteX8" fmla="*/ 0 w 474348"/>
                    <a:gd name="connsiteY8" fmla="*/ 669131 h 669131"/>
                    <a:gd name="connsiteX9" fmla="*/ 0 w 474348"/>
                    <a:gd name="connsiteY9" fmla="*/ 216516 h 669131"/>
                    <a:gd name="connsiteX10" fmla="*/ 192704 w 474348"/>
                    <a:gd name="connsiteY10" fmla="*/ 23812 h 669131"/>
                    <a:gd name="connsiteX0" fmla="*/ 192704 w 474348"/>
                    <a:gd name="connsiteY0" fmla="*/ 23812 h 669131"/>
                    <a:gd name="connsiteX1" fmla="*/ 265690 w 474348"/>
                    <a:gd name="connsiteY1" fmla="*/ 0 h 669131"/>
                    <a:gd name="connsiteX2" fmla="*/ 309530 w 474348"/>
                    <a:gd name="connsiteY2" fmla="*/ 23110 h 669131"/>
                    <a:gd name="connsiteX3" fmla="*/ 474348 w 474348"/>
                    <a:gd name="connsiteY3" fmla="*/ 216516 h 669131"/>
                    <a:gd name="connsiteX4" fmla="*/ 474348 w 474348"/>
                    <a:gd name="connsiteY4" fmla="*/ 669131 h 669131"/>
                    <a:gd name="connsiteX5" fmla="*/ 474348 w 474348"/>
                    <a:gd name="connsiteY5" fmla="*/ 669131 h 669131"/>
                    <a:gd name="connsiteX6" fmla="*/ 248129 w 474348"/>
                    <a:gd name="connsiteY6" fmla="*/ 669131 h 669131"/>
                    <a:gd name="connsiteX7" fmla="*/ 0 w 474348"/>
                    <a:gd name="connsiteY7" fmla="*/ 669131 h 669131"/>
                    <a:gd name="connsiteX8" fmla="*/ 0 w 474348"/>
                    <a:gd name="connsiteY8" fmla="*/ 669131 h 669131"/>
                    <a:gd name="connsiteX9" fmla="*/ 0 w 474348"/>
                    <a:gd name="connsiteY9" fmla="*/ 216516 h 669131"/>
                    <a:gd name="connsiteX10" fmla="*/ 192704 w 474348"/>
                    <a:gd name="connsiteY10" fmla="*/ 23812 h 669131"/>
                    <a:gd name="connsiteX0" fmla="*/ 192704 w 474348"/>
                    <a:gd name="connsiteY0" fmla="*/ 23812 h 669131"/>
                    <a:gd name="connsiteX1" fmla="*/ 265690 w 474348"/>
                    <a:gd name="connsiteY1" fmla="*/ 0 h 669131"/>
                    <a:gd name="connsiteX2" fmla="*/ 309530 w 474348"/>
                    <a:gd name="connsiteY2" fmla="*/ 23110 h 669131"/>
                    <a:gd name="connsiteX3" fmla="*/ 474348 w 474348"/>
                    <a:gd name="connsiteY3" fmla="*/ 216516 h 669131"/>
                    <a:gd name="connsiteX4" fmla="*/ 474348 w 474348"/>
                    <a:gd name="connsiteY4" fmla="*/ 669131 h 669131"/>
                    <a:gd name="connsiteX5" fmla="*/ 474348 w 474348"/>
                    <a:gd name="connsiteY5" fmla="*/ 669131 h 669131"/>
                    <a:gd name="connsiteX6" fmla="*/ 248129 w 474348"/>
                    <a:gd name="connsiteY6" fmla="*/ 669131 h 669131"/>
                    <a:gd name="connsiteX7" fmla="*/ 0 w 474348"/>
                    <a:gd name="connsiteY7" fmla="*/ 669131 h 669131"/>
                    <a:gd name="connsiteX8" fmla="*/ 0 w 474348"/>
                    <a:gd name="connsiteY8" fmla="*/ 669131 h 669131"/>
                    <a:gd name="connsiteX9" fmla="*/ 0 w 474348"/>
                    <a:gd name="connsiteY9" fmla="*/ 216516 h 669131"/>
                    <a:gd name="connsiteX10" fmla="*/ 192704 w 474348"/>
                    <a:gd name="connsiteY10" fmla="*/ 23812 h 6691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74348" h="669131">
                      <a:moveTo>
                        <a:pt x="192704" y="23812"/>
                      </a:moveTo>
                      <a:lnTo>
                        <a:pt x="265690" y="0"/>
                      </a:lnTo>
                      <a:cubicBezTo>
                        <a:pt x="271008" y="7937"/>
                        <a:pt x="275989" y="2061"/>
                        <a:pt x="309530" y="23110"/>
                      </a:cubicBezTo>
                      <a:cubicBezTo>
                        <a:pt x="387382" y="59846"/>
                        <a:pt x="474348" y="110089"/>
                        <a:pt x="474348" y="216516"/>
                      </a:cubicBezTo>
                      <a:lnTo>
                        <a:pt x="474348" y="669131"/>
                      </a:lnTo>
                      <a:lnTo>
                        <a:pt x="474348" y="669131"/>
                      </a:lnTo>
                      <a:lnTo>
                        <a:pt x="248129" y="669131"/>
                      </a:lnTo>
                      <a:lnTo>
                        <a:pt x="0" y="669131"/>
                      </a:lnTo>
                      <a:lnTo>
                        <a:pt x="0" y="669131"/>
                      </a:lnTo>
                      <a:lnTo>
                        <a:pt x="0" y="216516"/>
                      </a:lnTo>
                      <a:cubicBezTo>
                        <a:pt x="0" y="110089"/>
                        <a:pt x="135350" y="45744"/>
                        <a:pt x="192704" y="23812"/>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54" name="Oval 153"/>
                <p:cNvSpPr/>
                <p:nvPr/>
              </p:nvSpPr>
              <p:spPr>
                <a:xfrm>
                  <a:off x="2740926" y="1513161"/>
                  <a:ext cx="629631" cy="629631"/>
                </a:xfrm>
                <a:prstGeom prst="ellipse">
                  <a:avLst/>
                </a:prstGeom>
                <a:solidFill>
                  <a:schemeClr val="bg1"/>
                </a:solidFill>
                <a:ln w="508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grpSp>
          <p:nvGrpSpPr>
            <p:cNvPr id="128" name="Group 127"/>
            <p:cNvGrpSpPr/>
            <p:nvPr/>
          </p:nvGrpSpPr>
          <p:grpSpPr>
            <a:xfrm flipH="1">
              <a:off x="407162" y="2694960"/>
              <a:ext cx="603851" cy="937111"/>
              <a:chOff x="274646" y="-1004072"/>
              <a:chExt cx="5446648" cy="8452622"/>
            </a:xfrm>
            <a:effectLst/>
          </p:grpSpPr>
          <p:sp>
            <p:nvSpPr>
              <p:cNvPr id="143" name="Isosceles Triangle 142"/>
              <p:cNvSpPr/>
              <p:nvPr/>
            </p:nvSpPr>
            <p:spPr>
              <a:xfrm>
                <a:off x="2789660" y="1551279"/>
                <a:ext cx="575648" cy="5897271"/>
              </a:xfrm>
              <a:prstGeom prst="triangle">
                <a:avLst>
                  <a:gd name="adj" fmla="val 5330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44" name="Group 143"/>
              <p:cNvGrpSpPr/>
              <p:nvPr/>
            </p:nvGrpSpPr>
            <p:grpSpPr>
              <a:xfrm>
                <a:off x="274646" y="-1004072"/>
                <a:ext cx="5446648" cy="3713114"/>
                <a:chOff x="274646" y="-1004072"/>
                <a:chExt cx="5446648" cy="3713114"/>
              </a:xfrm>
            </p:grpSpPr>
            <p:sp>
              <p:nvSpPr>
                <p:cNvPr id="145" name="Round Same Side Corner Rectangle 11"/>
                <p:cNvSpPr/>
                <p:nvPr/>
              </p:nvSpPr>
              <p:spPr>
                <a:xfrm rot="240000">
                  <a:off x="3037776" y="-1004072"/>
                  <a:ext cx="251846" cy="2632765"/>
                </a:xfrm>
                <a:custGeom>
                  <a:avLst/>
                  <a:gdLst>
                    <a:gd name="connsiteX0" fmla="*/ 192704 w 474348"/>
                    <a:gd name="connsiteY0" fmla="*/ 0 h 645319"/>
                    <a:gd name="connsiteX1" fmla="*/ 281644 w 474348"/>
                    <a:gd name="connsiteY1" fmla="*/ 0 h 645319"/>
                    <a:gd name="connsiteX2" fmla="*/ 474348 w 474348"/>
                    <a:gd name="connsiteY2" fmla="*/ 192704 h 645319"/>
                    <a:gd name="connsiteX3" fmla="*/ 474348 w 474348"/>
                    <a:gd name="connsiteY3" fmla="*/ 645319 h 645319"/>
                    <a:gd name="connsiteX4" fmla="*/ 474348 w 474348"/>
                    <a:gd name="connsiteY4" fmla="*/ 645319 h 645319"/>
                    <a:gd name="connsiteX5" fmla="*/ 0 w 474348"/>
                    <a:gd name="connsiteY5" fmla="*/ 645319 h 645319"/>
                    <a:gd name="connsiteX6" fmla="*/ 0 w 474348"/>
                    <a:gd name="connsiteY6" fmla="*/ 645319 h 645319"/>
                    <a:gd name="connsiteX7" fmla="*/ 0 w 474348"/>
                    <a:gd name="connsiteY7" fmla="*/ 192704 h 645319"/>
                    <a:gd name="connsiteX8" fmla="*/ 192704 w 474348"/>
                    <a:gd name="connsiteY8" fmla="*/ 0 h 645319"/>
                    <a:gd name="connsiteX0" fmla="*/ 192704 w 474348"/>
                    <a:gd name="connsiteY0" fmla="*/ 0 h 645319"/>
                    <a:gd name="connsiteX1" fmla="*/ 281644 w 474348"/>
                    <a:gd name="connsiteY1" fmla="*/ 0 h 645319"/>
                    <a:gd name="connsiteX2" fmla="*/ 474348 w 474348"/>
                    <a:gd name="connsiteY2" fmla="*/ 192704 h 645319"/>
                    <a:gd name="connsiteX3" fmla="*/ 474348 w 474348"/>
                    <a:gd name="connsiteY3" fmla="*/ 645319 h 645319"/>
                    <a:gd name="connsiteX4" fmla="*/ 474348 w 474348"/>
                    <a:gd name="connsiteY4" fmla="*/ 645319 h 645319"/>
                    <a:gd name="connsiteX5" fmla="*/ 248129 w 474348"/>
                    <a:gd name="connsiteY5" fmla="*/ 645319 h 645319"/>
                    <a:gd name="connsiteX6" fmla="*/ 0 w 474348"/>
                    <a:gd name="connsiteY6" fmla="*/ 645319 h 645319"/>
                    <a:gd name="connsiteX7" fmla="*/ 0 w 474348"/>
                    <a:gd name="connsiteY7" fmla="*/ 645319 h 645319"/>
                    <a:gd name="connsiteX8" fmla="*/ 0 w 474348"/>
                    <a:gd name="connsiteY8" fmla="*/ 192704 h 645319"/>
                    <a:gd name="connsiteX9" fmla="*/ 192704 w 474348"/>
                    <a:gd name="connsiteY9" fmla="*/ 0 h 645319"/>
                    <a:gd name="connsiteX0" fmla="*/ 192704 w 474348"/>
                    <a:gd name="connsiteY0" fmla="*/ 2381 h 647700"/>
                    <a:gd name="connsiteX1" fmla="*/ 240986 w 474348"/>
                    <a:gd name="connsiteY1" fmla="*/ 0 h 647700"/>
                    <a:gd name="connsiteX2" fmla="*/ 281644 w 474348"/>
                    <a:gd name="connsiteY2" fmla="*/ 2381 h 647700"/>
                    <a:gd name="connsiteX3" fmla="*/ 474348 w 474348"/>
                    <a:gd name="connsiteY3" fmla="*/ 195085 h 647700"/>
                    <a:gd name="connsiteX4" fmla="*/ 474348 w 474348"/>
                    <a:gd name="connsiteY4" fmla="*/ 647700 h 647700"/>
                    <a:gd name="connsiteX5" fmla="*/ 474348 w 474348"/>
                    <a:gd name="connsiteY5" fmla="*/ 647700 h 647700"/>
                    <a:gd name="connsiteX6" fmla="*/ 248129 w 474348"/>
                    <a:gd name="connsiteY6" fmla="*/ 647700 h 647700"/>
                    <a:gd name="connsiteX7" fmla="*/ 0 w 474348"/>
                    <a:gd name="connsiteY7" fmla="*/ 647700 h 647700"/>
                    <a:gd name="connsiteX8" fmla="*/ 0 w 474348"/>
                    <a:gd name="connsiteY8" fmla="*/ 647700 h 647700"/>
                    <a:gd name="connsiteX9" fmla="*/ 0 w 474348"/>
                    <a:gd name="connsiteY9" fmla="*/ 195085 h 647700"/>
                    <a:gd name="connsiteX10" fmla="*/ 192704 w 474348"/>
                    <a:gd name="connsiteY10" fmla="*/ 2381 h 647700"/>
                    <a:gd name="connsiteX0" fmla="*/ 192704 w 474348"/>
                    <a:gd name="connsiteY0" fmla="*/ 42862 h 688181"/>
                    <a:gd name="connsiteX1" fmla="*/ 240986 w 474348"/>
                    <a:gd name="connsiteY1" fmla="*/ 0 h 688181"/>
                    <a:gd name="connsiteX2" fmla="*/ 281644 w 474348"/>
                    <a:gd name="connsiteY2" fmla="*/ 42862 h 688181"/>
                    <a:gd name="connsiteX3" fmla="*/ 474348 w 474348"/>
                    <a:gd name="connsiteY3" fmla="*/ 235566 h 688181"/>
                    <a:gd name="connsiteX4" fmla="*/ 474348 w 474348"/>
                    <a:gd name="connsiteY4" fmla="*/ 688181 h 688181"/>
                    <a:gd name="connsiteX5" fmla="*/ 474348 w 474348"/>
                    <a:gd name="connsiteY5" fmla="*/ 688181 h 688181"/>
                    <a:gd name="connsiteX6" fmla="*/ 248129 w 474348"/>
                    <a:gd name="connsiteY6" fmla="*/ 688181 h 688181"/>
                    <a:gd name="connsiteX7" fmla="*/ 0 w 474348"/>
                    <a:gd name="connsiteY7" fmla="*/ 688181 h 688181"/>
                    <a:gd name="connsiteX8" fmla="*/ 0 w 474348"/>
                    <a:gd name="connsiteY8" fmla="*/ 688181 h 688181"/>
                    <a:gd name="connsiteX9" fmla="*/ 0 w 474348"/>
                    <a:gd name="connsiteY9" fmla="*/ 235566 h 688181"/>
                    <a:gd name="connsiteX10" fmla="*/ 192704 w 474348"/>
                    <a:gd name="connsiteY10" fmla="*/ 42862 h 688181"/>
                    <a:gd name="connsiteX0" fmla="*/ 192704 w 474348"/>
                    <a:gd name="connsiteY0" fmla="*/ 23812 h 669131"/>
                    <a:gd name="connsiteX1" fmla="*/ 265690 w 474348"/>
                    <a:gd name="connsiteY1" fmla="*/ 0 h 669131"/>
                    <a:gd name="connsiteX2" fmla="*/ 281644 w 474348"/>
                    <a:gd name="connsiteY2" fmla="*/ 23812 h 669131"/>
                    <a:gd name="connsiteX3" fmla="*/ 474348 w 474348"/>
                    <a:gd name="connsiteY3" fmla="*/ 216516 h 669131"/>
                    <a:gd name="connsiteX4" fmla="*/ 474348 w 474348"/>
                    <a:gd name="connsiteY4" fmla="*/ 669131 h 669131"/>
                    <a:gd name="connsiteX5" fmla="*/ 474348 w 474348"/>
                    <a:gd name="connsiteY5" fmla="*/ 669131 h 669131"/>
                    <a:gd name="connsiteX6" fmla="*/ 248129 w 474348"/>
                    <a:gd name="connsiteY6" fmla="*/ 669131 h 669131"/>
                    <a:gd name="connsiteX7" fmla="*/ 0 w 474348"/>
                    <a:gd name="connsiteY7" fmla="*/ 669131 h 669131"/>
                    <a:gd name="connsiteX8" fmla="*/ 0 w 474348"/>
                    <a:gd name="connsiteY8" fmla="*/ 669131 h 669131"/>
                    <a:gd name="connsiteX9" fmla="*/ 0 w 474348"/>
                    <a:gd name="connsiteY9" fmla="*/ 216516 h 669131"/>
                    <a:gd name="connsiteX10" fmla="*/ 192704 w 474348"/>
                    <a:gd name="connsiteY10" fmla="*/ 23812 h 669131"/>
                    <a:gd name="connsiteX0" fmla="*/ 192704 w 474348"/>
                    <a:gd name="connsiteY0" fmla="*/ 23812 h 669131"/>
                    <a:gd name="connsiteX1" fmla="*/ 265690 w 474348"/>
                    <a:gd name="connsiteY1" fmla="*/ 0 h 669131"/>
                    <a:gd name="connsiteX2" fmla="*/ 281644 w 474348"/>
                    <a:gd name="connsiteY2" fmla="*/ 23812 h 669131"/>
                    <a:gd name="connsiteX3" fmla="*/ 474348 w 474348"/>
                    <a:gd name="connsiteY3" fmla="*/ 216516 h 669131"/>
                    <a:gd name="connsiteX4" fmla="*/ 474348 w 474348"/>
                    <a:gd name="connsiteY4" fmla="*/ 669131 h 669131"/>
                    <a:gd name="connsiteX5" fmla="*/ 474348 w 474348"/>
                    <a:gd name="connsiteY5" fmla="*/ 669131 h 669131"/>
                    <a:gd name="connsiteX6" fmla="*/ 248129 w 474348"/>
                    <a:gd name="connsiteY6" fmla="*/ 669131 h 669131"/>
                    <a:gd name="connsiteX7" fmla="*/ 0 w 474348"/>
                    <a:gd name="connsiteY7" fmla="*/ 669131 h 669131"/>
                    <a:gd name="connsiteX8" fmla="*/ 0 w 474348"/>
                    <a:gd name="connsiteY8" fmla="*/ 669131 h 669131"/>
                    <a:gd name="connsiteX9" fmla="*/ 0 w 474348"/>
                    <a:gd name="connsiteY9" fmla="*/ 216516 h 669131"/>
                    <a:gd name="connsiteX10" fmla="*/ 192704 w 474348"/>
                    <a:gd name="connsiteY10" fmla="*/ 23812 h 669131"/>
                    <a:gd name="connsiteX0" fmla="*/ 192704 w 474348"/>
                    <a:gd name="connsiteY0" fmla="*/ 23812 h 669131"/>
                    <a:gd name="connsiteX1" fmla="*/ 265690 w 474348"/>
                    <a:gd name="connsiteY1" fmla="*/ 0 h 669131"/>
                    <a:gd name="connsiteX2" fmla="*/ 281644 w 474348"/>
                    <a:gd name="connsiteY2" fmla="*/ 23812 h 669131"/>
                    <a:gd name="connsiteX3" fmla="*/ 474348 w 474348"/>
                    <a:gd name="connsiteY3" fmla="*/ 216516 h 669131"/>
                    <a:gd name="connsiteX4" fmla="*/ 474348 w 474348"/>
                    <a:gd name="connsiteY4" fmla="*/ 669131 h 669131"/>
                    <a:gd name="connsiteX5" fmla="*/ 474348 w 474348"/>
                    <a:gd name="connsiteY5" fmla="*/ 669131 h 669131"/>
                    <a:gd name="connsiteX6" fmla="*/ 248129 w 474348"/>
                    <a:gd name="connsiteY6" fmla="*/ 669131 h 669131"/>
                    <a:gd name="connsiteX7" fmla="*/ 0 w 474348"/>
                    <a:gd name="connsiteY7" fmla="*/ 669131 h 669131"/>
                    <a:gd name="connsiteX8" fmla="*/ 0 w 474348"/>
                    <a:gd name="connsiteY8" fmla="*/ 669131 h 669131"/>
                    <a:gd name="connsiteX9" fmla="*/ 0 w 474348"/>
                    <a:gd name="connsiteY9" fmla="*/ 216516 h 669131"/>
                    <a:gd name="connsiteX10" fmla="*/ 192704 w 474348"/>
                    <a:gd name="connsiteY10" fmla="*/ 23812 h 669131"/>
                    <a:gd name="connsiteX0" fmla="*/ 192704 w 474348"/>
                    <a:gd name="connsiteY0" fmla="*/ 23812 h 669131"/>
                    <a:gd name="connsiteX1" fmla="*/ 265690 w 474348"/>
                    <a:gd name="connsiteY1" fmla="*/ 0 h 669131"/>
                    <a:gd name="connsiteX2" fmla="*/ 281644 w 474348"/>
                    <a:gd name="connsiteY2" fmla="*/ 23812 h 669131"/>
                    <a:gd name="connsiteX3" fmla="*/ 474348 w 474348"/>
                    <a:gd name="connsiteY3" fmla="*/ 216516 h 669131"/>
                    <a:gd name="connsiteX4" fmla="*/ 474348 w 474348"/>
                    <a:gd name="connsiteY4" fmla="*/ 669131 h 669131"/>
                    <a:gd name="connsiteX5" fmla="*/ 474348 w 474348"/>
                    <a:gd name="connsiteY5" fmla="*/ 669131 h 669131"/>
                    <a:gd name="connsiteX6" fmla="*/ 248129 w 474348"/>
                    <a:gd name="connsiteY6" fmla="*/ 669131 h 669131"/>
                    <a:gd name="connsiteX7" fmla="*/ 0 w 474348"/>
                    <a:gd name="connsiteY7" fmla="*/ 669131 h 669131"/>
                    <a:gd name="connsiteX8" fmla="*/ 0 w 474348"/>
                    <a:gd name="connsiteY8" fmla="*/ 669131 h 669131"/>
                    <a:gd name="connsiteX9" fmla="*/ 0 w 474348"/>
                    <a:gd name="connsiteY9" fmla="*/ 216516 h 669131"/>
                    <a:gd name="connsiteX10" fmla="*/ 192704 w 474348"/>
                    <a:gd name="connsiteY10" fmla="*/ 23812 h 669131"/>
                    <a:gd name="connsiteX0" fmla="*/ 192704 w 474348"/>
                    <a:gd name="connsiteY0" fmla="*/ 23812 h 669131"/>
                    <a:gd name="connsiteX1" fmla="*/ 265690 w 474348"/>
                    <a:gd name="connsiteY1" fmla="*/ 0 h 669131"/>
                    <a:gd name="connsiteX2" fmla="*/ 281644 w 474348"/>
                    <a:gd name="connsiteY2" fmla="*/ 23812 h 669131"/>
                    <a:gd name="connsiteX3" fmla="*/ 474348 w 474348"/>
                    <a:gd name="connsiteY3" fmla="*/ 216516 h 669131"/>
                    <a:gd name="connsiteX4" fmla="*/ 474348 w 474348"/>
                    <a:gd name="connsiteY4" fmla="*/ 669131 h 669131"/>
                    <a:gd name="connsiteX5" fmla="*/ 474348 w 474348"/>
                    <a:gd name="connsiteY5" fmla="*/ 669131 h 669131"/>
                    <a:gd name="connsiteX6" fmla="*/ 248129 w 474348"/>
                    <a:gd name="connsiteY6" fmla="*/ 669131 h 669131"/>
                    <a:gd name="connsiteX7" fmla="*/ 0 w 474348"/>
                    <a:gd name="connsiteY7" fmla="*/ 669131 h 669131"/>
                    <a:gd name="connsiteX8" fmla="*/ 0 w 474348"/>
                    <a:gd name="connsiteY8" fmla="*/ 669131 h 669131"/>
                    <a:gd name="connsiteX9" fmla="*/ 0 w 474348"/>
                    <a:gd name="connsiteY9" fmla="*/ 216516 h 669131"/>
                    <a:gd name="connsiteX10" fmla="*/ 192704 w 474348"/>
                    <a:gd name="connsiteY10" fmla="*/ 23812 h 669131"/>
                    <a:gd name="connsiteX0" fmla="*/ 192704 w 474348"/>
                    <a:gd name="connsiteY0" fmla="*/ 23812 h 669131"/>
                    <a:gd name="connsiteX1" fmla="*/ 265690 w 474348"/>
                    <a:gd name="connsiteY1" fmla="*/ 0 h 669131"/>
                    <a:gd name="connsiteX2" fmla="*/ 299854 w 474348"/>
                    <a:gd name="connsiteY2" fmla="*/ 24247 h 669131"/>
                    <a:gd name="connsiteX3" fmla="*/ 474348 w 474348"/>
                    <a:gd name="connsiteY3" fmla="*/ 216516 h 669131"/>
                    <a:gd name="connsiteX4" fmla="*/ 474348 w 474348"/>
                    <a:gd name="connsiteY4" fmla="*/ 669131 h 669131"/>
                    <a:gd name="connsiteX5" fmla="*/ 474348 w 474348"/>
                    <a:gd name="connsiteY5" fmla="*/ 669131 h 669131"/>
                    <a:gd name="connsiteX6" fmla="*/ 248129 w 474348"/>
                    <a:gd name="connsiteY6" fmla="*/ 669131 h 669131"/>
                    <a:gd name="connsiteX7" fmla="*/ 0 w 474348"/>
                    <a:gd name="connsiteY7" fmla="*/ 669131 h 669131"/>
                    <a:gd name="connsiteX8" fmla="*/ 0 w 474348"/>
                    <a:gd name="connsiteY8" fmla="*/ 669131 h 669131"/>
                    <a:gd name="connsiteX9" fmla="*/ 0 w 474348"/>
                    <a:gd name="connsiteY9" fmla="*/ 216516 h 669131"/>
                    <a:gd name="connsiteX10" fmla="*/ 192704 w 474348"/>
                    <a:gd name="connsiteY10" fmla="*/ 23812 h 669131"/>
                    <a:gd name="connsiteX0" fmla="*/ 192704 w 474348"/>
                    <a:gd name="connsiteY0" fmla="*/ 23812 h 669131"/>
                    <a:gd name="connsiteX1" fmla="*/ 265690 w 474348"/>
                    <a:gd name="connsiteY1" fmla="*/ 0 h 669131"/>
                    <a:gd name="connsiteX2" fmla="*/ 299854 w 474348"/>
                    <a:gd name="connsiteY2" fmla="*/ 24247 h 669131"/>
                    <a:gd name="connsiteX3" fmla="*/ 474348 w 474348"/>
                    <a:gd name="connsiteY3" fmla="*/ 216516 h 669131"/>
                    <a:gd name="connsiteX4" fmla="*/ 474348 w 474348"/>
                    <a:gd name="connsiteY4" fmla="*/ 669131 h 669131"/>
                    <a:gd name="connsiteX5" fmla="*/ 474348 w 474348"/>
                    <a:gd name="connsiteY5" fmla="*/ 669131 h 669131"/>
                    <a:gd name="connsiteX6" fmla="*/ 248129 w 474348"/>
                    <a:gd name="connsiteY6" fmla="*/ 669131 h 669131"/>
                    <a:gd name="connsiteX7" fmla="*/ 0 w 474348"/>
                    <a:gd name="connsiteY7" fmla="*/ 669131 h 669131"/>
                    <a:gd name="connsiteX8" fmla="*/ 0 w 474348"/>
                    <a:gd name="connsiteY8" fmla="*/ 669131 h 669131"/>
                    <a:gd name="connsiteX9" fmla="*/ 0 w 474348"/>
                    <a:gd name="connsiteY9" fmla="*/ 216516 h 669131"/>
                    <a:gd name="connsiteX10" fmla="*/ 192704 w 474348"/>
                    <a:gd name="connsiteY10" fmla="*/ 23812 h 669131"/>
                    <a:gd name="connsiteX0" fmla="*/ 192704 w 474348"/>
                    <a:gd name="connsiteY0" fmla="*/ 23812 h 669131"/>
                    <a:gd name="connsiteX1" fmla="*/ 265690 w 474348"/>
                    <a:gd name="connsiteY1" fmla="*/ 0 h 669131"/>
                    <a:gd name="connsiteX2" fmla="*/ 299854 w 474348"/>
                    <a:gd name="connsiteY2" fmla="*/ 24247 h 669131"/>
                    <a:gd name="connsiteX3" fmla="*/ 474348 w 474348"/>
                    <a:gd name="connsiteY3" fmla="*/ 216516 h 669131"/>
                    <a:gd name="connsiteX4" fmla="*/ 474348 w 474348"/>
                    <a:gd name="connsiteY4" fmla="*/ 669131 h 669131"/>
                    <a:gd name="connsiteX5" fmla="*/ 474348 w 474348"/>
                    <a:gd name="connsiteY5" fmla="*/ 669131 h 669131"/>
                    <a:gd name="connsiteX6" fmla="*/ 248129 w 474348"/>
                    <a:gd name="connsiteY6" fmla="*/ 669131 h 669131"/>
                    <a:gd name="connsiteX7" fmla="*/ 0 w 474348"/>
                    <a:gd name="connsiteY7" fmla="*/ 669131 h 669131"/>
                    <a:gd name="connsiteX8" fmla="*/ 0 w 474348"/>
                    <a:gd name="connsiteY8" fmla="*/ 669131 h 669131"/>
                    <a:gd name="connsiteX9" fmla="*/ 0 w 474348"/>
                    <a:gd name="connsiteY9" fmla="*/ 216516 h 669131"/>
                    <a:gd name="connsiteX10" fmla="*/ 192704 w 474348"/>
                    <a:gd name="connsiteY10" fmla="*/ 23812 h 669131"/>
                    <a:gd name="connsiteX0" fmla="*/ 192704 w 474348"/>
                    <a:gd name="connsiteY0" fmla="*/ 23812 h 669131"/>
                    <a:gd name="connsiteX1" fmla="*/ 265690 w 474348"/>
                    <a:gd name="connsiteY1" fmla="*/ 0 h 669131"/>
                    <a:gd name="connsiteX2" fmla="*/ 299854 w 474348"/>
                    <a:gd name="connsiteY2" fmla="*/ 24247 h 669131"/>
                    <a:gd name="connsiteX3" fmla="*/ 474348 w 474348"/>
                    <a:gd name="connsiteY3" fmla="*/ 216516 h 669131"/>
                    <a:gd name="connsiteX4" fmla="*/ 474348 w 474348"/>
                    <a:gd name="connsiteY4" fmla="*/ 669131 h 669131"/>
                    <a:gd name="connsiteX5" fmla="*/ 474348 w 474348"/>
                    <a:gd name="connsiteY5" fmla="*/ 669131 h 669131"/>
                    <a:gd name="connsiteX6" fmla="*/ 248129 w 474348"/>
                    <a:gd name="connsiteY6" fmla="*/ 669131 h 669131"/>
                    <a:gd name="connsiteX7" fmla="*/ 0 w 474348"/>
                    <a:gd name="connsiteY7" fmla="*/ 669131 h 669131"/>
                    <a:gd name="connsiteX8" fmla="*/ 0 w 474348"/>
                    <a:gd name="connsiteY8" fmla="*/ 669131 h 669131"/>
                    <a:gd name="connsiteX9" fmla="*/ 0 w 474348"/>
                    <a:gd name="connsiteY9" fmla="*/ 216516 h 669131"/>
                    <a:gd name="connsiteX10" fmla="*/ 192704 w 474348"/>
                    <a:gd name="connsiteY10" fmla="*/ 23812 h 669131"/>
                    <a:gd name="connsiteX0" fmla="*/ 192704 w 474348"/>
                    <a:gd name="connsiteY0" fmla="*/ 23812 h 669131"/>
                    <a:gd name="connsiteX1" fmla="*/ 265690 w 474348"/>
                    <a:gd name="connsiteY1" fmla="*/ 0 h 669131"/>
                    <a:gd name="connsiteX2" fmla="*/ 317751 w 474348"/>
                    <a:gd name="connsiteY2" fmla="*/ 24078 h 669131"/>
                    <a:gd name="connsiteX3" fmla="*/ 474348 w 474348"/>
                    <a:gd name="connsiteY3" fmla="*/ 216516 h 669131"/>
                    <a:gd name="connsiteX4" fmla="*/ 474348 w 474348"/>
                    <a:gd name="connsiteY4" fmla="*/ 669131 h 669131"/>
                    <a:gd name="connsiteX5" fmla="*/ 474348 w 474348"/>
                    <a:gd name="connsiteY5" fmla="*/ 669131 h 669131"/>
                    <a:gd name="connsiteX6" fmla="*/ 248129 w 474348"/>
                    <a:gd name="connsiteY6" fmla="*/ 669131 h 669131"/>
                    <a:gd name="connsiteX7" fmla="*/ 0 w 474348"/>
                    <a:gd name="connsiteY7" fmla="*/ 669131 h 669131"/>
                    <a:gd name="connsiteX8" fmla="*/ 0 w 474348"/>
                    <a:gd name="connsiteY8" fmla="*/ 669131 h 669131"/>
                    <a:gd name="connsiteX9" fmla="*/ 0 w 474348"/>
                    <a:gd name="connsiteY9" fmla="*/ 216516 h 669131"/>
                    <a:gd name="connsiteX10" fmla="*/ 192704 w 474348"/>
                    <a:gd name="connsiteY10" fmla="*/ 23812 h 669131"/>
                    <a:gd name="connsiteX0" fmla="*/ 192704 w 474348"/>
                    <a:gd name="connsiteY0" fmla="*/ 23812 h 669131"/>
                    <a:gd name="connsiteX1" fmla="*/ 265690 w 474348"/>
                    <a:gd name="connsiteY1" fmla="*/ 0 h 669131"/>
                    <a:gd name="connsiteX2" fmla="*/ 317751 w 474348"/>
                    <a:gd name="connsiteY2" fmla="*/ 24078 h 669131"/>
                    <a:gd name="connsiteX3" fmla="*/ 474348 w 474348"/>
                    <a:gd name="connsiteY3" fmla="*/ 216516 h 669131"/>
                    <a:gd name="connsiteX4" fmla="*/ 474348 w 474348"/>
                    <a:gd name="connsiteY4" fmla="*/ 669131 h 669131"/>
                    <a:gd name="connsiteX5" fmla="*/ 474348 w 474348"/>
                    <a:gd name="connsiteY5" fmla="*/ 669131 h 669131"/>
                    <a:gd name="connsiteX6" fmla="*/ 248129 w 474348"/>
                    <a:gd name="connsiteY6" fmla="*/ 669131 h 669131"/>
                    <a:gd name="connsiteX7" fmla="*/ 0 w 474348"/>
                    <a:gd name="connsiteY7" fmla="*/ 669131 h 669131"/>
                    <a:gd name="connsiteX8" fmla="*/ 0 w 474348"/>
                    <a:gd name="connsiteY8" fmla="*/ 669131 h 669131"/>
                    <a:gd name="connsiteX9" fmla="*/ 0 w 474348"/>
                    <a:gd name="connsiteY9" fmla="*/ 216516 h 669131"/>
                    <a:gd name="connsiteX10" fmla="*/ 192704 w 474348"/>
                    <a:gd name="connsiteY10" fmla="*/ 23812 h 6691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74348" h="669131">
                      <a:moveTo>
                        <a:pt x="192704" y="23812"/>
                      </a:moveTo>
                      <a:cubicBezTo>
                        <a:pt x="263527" y="1482"/>
                        <a:pt x="241361" y="7937"/>
                        <a:pt x="265690" y="0"/>
                      </a:cubicBezTo>
                      <a:cubicBezTo>
                        <a:pt x="271008" y="7937"/>
                        <a:pt x="263093" y="-988"/>
                        <a:pt x="317751" y="24078"/>
                      </a:cubicBezTo>
                      <a:cubicBezTo>
                        <a:pt x="369579" y="48860"/>
                        <a:pt x="474348" y="110089"/>
                        <a:pt x="474348" y="216516"/>
                      </a:cubicBezTo>
                      <a:lnTo>
                        <a:pt x="474348" y="669131"/>
                      </a:lnTo>
                      <a:lnTo>
                        <a:pt x="474348" y="669131"/>
                      </a:lnTo>
                      <a:lnTo>
                        <a:pt x="248129" y="669131"/>
                      </a:lnTo>
                      <a:lnTo>
                        <a:pt x="0" y="669131"/>
                      </a:lnTo>
                      <a:lnTo>
                        <a:pt x="0" y="669131"/>
                      </a:lnTo>
                      <a:lnTo>
                        <a:pt x="0" y="216516"/>
                      </a:lnTo>
                      <a:cubicBezTo>
                        <a:pt x="0" y="110089"/>
                        <a:pt x="141340" y="43314"/>
                        <a:pt x="192704" y="23812"/>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46" name="Round Same Side Corner Rectangle 11"/>
                <p:cNvSpPr/>
                <p:nvPr/>
              </p:nvSpPr>
              <p:spPr>
                <a:xfrm rot="15060000">
                  <a:off x="1454696" y="1026331"/>
                  <a:ext cx="251846" cy="2611946"/>
                </a:xfrm>
                <a:custGeom>
                  <a:avLst/>
                  <a:gdLst>
                    <a:gd name="connsiteX0" fmla="*/ 192704 w 474348"/>
                    <a:gd name="connsiteY0" fmla="*/ 0 h 645319"/>
                    <a:gd name="connsiteX1" fmla="*/ 281644 w 474348"/>
                    <a:gd name="connsiteY1" fmla="*/ 0 h 645319"/>
                    <a:gd name="connsiteX2" fmla="*/ 474348 w 474348"/>
                    <a:gd name="connsiteY2" fmla="*/ 192704 h 645319"/>
                    <a:gd name="connsiteX3" fmla="*/ 474348 w 474348"/>
                    <a:gd name="connsiteY3" fmla="*/ 645319 h 645319"/>
                    <a:gd name="connsiteX4" fmla="*/ 474348 w 474348"/>
                    <a:gd name="connsiteY4" fmla="*/ 645319 h 645319"/>
                    <a:gd name="connsiteX5" fmla="*/ 0 w 474348"/>
                    <a:gd name="connsiteY5" fmla="*/ 645319 h 645319"/>
                    <a:gd name="connsiteX6" fmla="*/ 0 w 474348"/>
                    <a:gd name="connsiteY6" fmla="*/ 645319 h 645319"/>
                    <a:gd name="connsiteX7" fmla="*/ 0 w 474348"/>
                    <a:gd name="connsiteY7" fmla="*/ 192704 h 645319"/>
                    <a:gd name="connsiteX8" fmla="*/ 192704 w 474348"/>
                    <a:gd name="connsiteY8" fmla="*/ 0 h 645319"/>
                    <a:gd name="connsiteX0" fmla="*/ 192704 w 474348"/>
                    <a:gd name="connsiteY0" fmla="*/ 0 h 645319"/>
                    <a:gd name="connsiteX1" fmla="*/ 281644 w 474348"/>
                    <a:gd name="connsiteY1" fmla="*/ 0 h 645319"/>
                    <a:gd name="connsiteX2" fmla="*/ 474348 w 474348"/>
                    <a:gd name="connsiteY2" fmla="*/ 192704 h 645319"/>
                    <a:gd name="connsiteX3" fmla="*/ 474348 w 474348"/>
                    <a:gd name="connsiteY3" fmla="*/ 645319 h 645319"/>
                    <a:gd name="connsiteX4" fmla="*/ 474348 w 474348"/>
                    <a:gd name="connsiteY4" fmla="*/ 645319 h 645319"/>
                    <a:gd name="connsiteX5" fmla="*/ 248129 w 474348"/>
                    <a:gd name="connsiteY5" fmla="*/ 645319 h 645319"/>
                    <a:gd name="connsiteX6" fmla="*/ 0 w 474348"/>
                    <a:gd name="connsiteY6" fmla="*/ 645319 h 645319"/>
                    <a:gd name="connsiteX7" fmla="*/ 0 w 474348"/>
                    <a:gd name="connsiteY7" fmla="*/ 645319 h 645319"/>
                    <a:gd name="connsiteX8" fmla="*/ 0 w 474348"/>
                    <a:gd name="connsiteY8" fmla="*/ 192704 h 645319"/>
                    <a:gd name="connsiteX9" fmla="*/ 192704 w 474348"/>
                    <a:gd name="connsiteY9" fmla="*/ 0 h 645319"/>
                    <a:gd name="connsiteX0" fmla="*/ 192704 w 474348"/>
                    <a:gd name="connsiteY0" fmla="*/ 2381 h 647700"/>
                    <a:gd name="connsiteX1" fmla="*/ 240986 w 474348"/>
                    <a:gd name="connsiteY1" fmla="*/ 0 h 647700"/>
                    <a:gd name="connsiteX2" fmla="*/ 281644 w 474348"/>
                    <a:gd name="connsiteY2" fmla="*/ 2381 h 647700"/>
                    <a:gd name="connsiteX3" fmla="*/ 474348 w 474348"/>
                    <a:gd name="connsiteY3" fmla="*/ 195085 h 647700"/>
                    <a:gd name="connsiteX4" fmla="*/ 474348 w 474348"/>
                    <a:gd name="connsiteY4" fmla="*/ 647700 h 647700"/>
                    <a:gd name="connsiteX5" fmla="*/ 474348 w 474348"/>
                    <a:gd name="connsiteY5" fmla="*/ 647700 h 647700"/>
                    <a:gd name="connsiteX6" fmla="*/ 248129 w 474348"/>
                    <a:gd name="connsiteY6" fmla="*/ 647700 h 647700"/>
                    <a:gd name="connsiteX7" fmla="*/ 0 w 474348"/>
                    <a:gd name="connsiteY7" fmla="*/ 647700 h 647700"/>
                    <a:gd name="connsiteX8" fmla="*/ 0 w 474348"/>
                    <a:gd name="connsiteY8" fmla="*/ 647700 h 647700"/>
                    <a:gd name="connsiteX9" fmla="*/ 0 w 474348"/>
                    <a:gd name="connsiteY9" fmla="*/ 195085 h 647700"/>
                    <a:gd name="connsiteX10" fmla="*/ 192704 w 474348"/>
                    <a:gd name="connsiteY10" fmla="*/ 2381 h 647700"/>
                    <a:gd name="connsiteX0" fmla="*/ 192704 w 474348"/>
                    <a:gd name="connsiteY0" fmla="*/ 42862 h 688181"/>
                    <a:gd name="connsiteX1" fmla="*/ 240986 w 474348"/>
                    <a:gd name="connsiteY1" fmla="*/ 0 h 688181"/>
                    <a:gd name="connsiteX2" fmla="*/ 281644 w 474348"/>
                    <a:gd name="connsiteY2" fmla="*/ 42862 h 688181"/>
                    <a:gd name="connsiteX3" fmla="*/ 474348 w 474348"/>
                    <a:gd name="connsiteY3" fmla="*/ 235566 h 688181"/>
                    <a:gd name="connsiteX4" fmla="*/ 474348 w 474348"/>
                    <a:gd name="connsiteY4" fmla="*/ 688181 h 688181"/>
                    <a:gd name="connsiteX5" fmla="*/ 474348 w 474348"/>
                    <a:gd name="connsiteY5" fmla="*/ 688181 h 688181"/>
                    <a:gd name="connsiteX6" fmla="*/ 248129 w 474348"/>
                    <a:gd name="connsiteY6" fmla="*/ 688181 h 688181"/>
                    <a:gd name="connsiteX7" fmla="*/ 0 w 474348"/>
                    <a:gd name="connsiteY7" fmla="*/ 688181 h 688181"/>
                    <a:gd name="connsiteX8" fmla="*/ 0 w 474348"/>
                    <a:gd name="connsiteY8" fmla="*/ 688181 h 688181"/>
                    <a:gd name="connsiteX9" fmla="*/ 0 w 474348"/>
                    <a:gd name="connsiteY9" fmla="*/ 235566 h 688181"/>
                    <a:gd name="connsiteX10" fmla="*/ 192704 w 474348"/>
                    <a:gd name="connsiteY10" fmla="*/ 42862 h 688181"/>
                    <a:gd name="connsiteX0" fmla="*/ 192704 w 474348"/>
                    <a:gd name="connsiteY0" fmla="*/ 23812 h 669131"/>
                    <a:gd name="connsiteX1" fmla="*/ 265690 w 474348"/>
                    <a:gd name="connsiteY1" fmla="*/ 0 h 669131"/>
                    <a:gd name="connsiteX2" fmla="*/ 281644 w 474348"/>
                    <a:gd name="connsiteY2" fmla="*/ 23812 h 669131"/>
                    <a:gd name="connsiteX3" fmla="*/ 474348 w 474348"/>
                    <a:gd name="connsiteY3" fmla="*/ 216516 h 669131"/>
                    <a:gd name="connsiteX4" fmla="*/ 474348 w 474348"/>
                    <a:gd name="connsiteY4" fmla="*/ 669131 h 669131"/>
                    <a:gd name="connsiteX5" fmla="*/ 474348 w 474348"/>
                    <a:gd name="connsiteY5" fmla="*/ 669131 h 669131"/>
                    <a:gd name="connsiteX6" fmla="*/ 248129 w 474348"/>
                    <a:gd name="connsiteY6" fmla="*/ 669131 h 669131"/>
                    <a:gd name="connsiteX7" fmla="*/ 0 w 474348"/>
                    <a:gd name="connsiteY7" fmla="*/ 669131 h 669131"/>
                    <a:gd name="connsiteX8" fmla="*/ 0 w 474348"/>
                    <a:gd name="connsiteY8" fmla="*/ 669131 h 669131"/>
                    <a:gd name="connsiteX9" fmla="*/ 0 w 474348"/>
                    <a:gd name="connsiteY9" fmla="*/ 216516 h 669131"/>
                    <a:gd name="connsiteX10" fmla="*/ 192704 w 474348"/>
                    <a:gd name="connsiteY10" fmla="*/ 23812 h 669131"/>
                    <a:gd name="connsiteX0" fmla="*/ 192704 w 474348"/>
                    <a:gd name="connsiteY0" fmla="*/ 23812 h 669131"/>
                    <a:gd name="connsiteX1" fmla="*/ 265690 w 474348"/>
                    <a:gd name="connsiteY1" fmla="*/ 0 h 669131"/>
                    <a:gd name="connsiteX2" fmla="*/ 281644 w 474348"/>
                    <a:gd name="connsiteY2" fmla="*/ 23812 h 669131"/>
                    <a:gd name="connsiteX3" fmla="*/ 474348 w 474348"/>
                    <a:gd name="connsiteY3" fmla="*/ 216516 h 669131"/>
                    <a:gd name="connsiteX4" fmla="*/ 474348 w 474348"/>
                    <a:gd name="connsiteY4" fmla="*/ 669131 h 669131"/>
                    <a:gd name="connsiteX5" fmla="*/ 474348 w 474348"/>
                    <a:gd name="connsiteY5" fmla="*/ 669131 h 669131"/>
                    <a:gd name="connsiteX6" fmla="*/ 248129 w 474348"/>
                    <a:gd name="connsiteY6" fmla="*/ 669131 h 669131"/>
                    <a:gd name="connsiteX7" fmla="*/ 0 w 474348"/>
                    <a:gd name="connsiteY7" fmla="*/ 669131 h 669131"/>
                    <a:gd name="connsiteX8" fmla="*/ 0 w 474348"/>
                    <a:gd name="connsiteY8" fmla="*/ 669131 h 669131"/>
                    <a:gd name="connsiteX9" fmla="*/ 0 w 474348"/>
                    <a:gd name="connsiteY9" fmla="*/ 216516 h 669131"/>
                    <a:gd name="connsiteX10" fmla="*/ 192704 w 474348"/>
                    <a:gd name="connsiteY10" fmla="*/ 23812 h 669131"/>
                    <a:gd name="connsiteX0" fmla="*/ 192704 w 474348"/>
                    <a:gd name="connsiteY0" fmla="*/ 23812 h 669131"/>
                    <a:gd name="connsiteX1" fmla="*/ 265690 w 474348"/>
                    <a:gd name="connsiteY1" fmla="*/ 0 h 669131"/>
                    <a:gd name="connsiteX2" fmla="*/ 281644 w 474348"/>
                    <a:gd name="connsiteY2" fmla="*/ 23812 h 669131"/>
                    <a:gd name="connsiteX3" fmla="*/ 474348 w 474348"/>
                    <a:gd name="connsiteY3" fmla="*/ 216516 h 669131"/>
                    <a:gd name="connsiteX4" fmla="*/ 474348 w 474348"/>
                    <a:gd name="connsiteY4" fmla="*/ 669131 h 669131"/>
                    <a:gd name="connsiteX5" fmla="*/ 474348 w 474348"/>
                    <a:gd name="connsiteY5" fmla="*/ 669131 h 669131"/>
                    <a:gd name="connsiteX6" fmla="*/ 248129 w 474348"/>
                    <a:gd name="connsiteY6" fmla="*/ 669131 h 669131"/>
                    <a:gd name="connsiteX7" fmla="*/ 0 w 474348"/>
                    <a:gd name="connsiteY7" fmla="*/ 669131 h 669131"/>
                    <a:gd name="connsiteX8" fmla="*/ 0 w 474348"/>
                    <a:gd name="connsiteY8" fmla="*/ 669131 h 669131"/>
                    <a:gd name="connsiteX9" fmla="*/ 0 w 474348"/>
                    <a:gd name="connsiteY9" fmla="*/ 216516 h 669131"/>
                    <a:gd name="connsiteX10" fmla="*/ 192704 w 474348"/>
                    <a:gd name="connsiteY10" fmla="*/ 23812 h 669131"/>
                    <a:gd name="connsiteX0" fmla="*/ 192704 w 474348"/>
                    <a:gd name="connsiteY0" fmla="*/ 23812 h 669131"/>
                    <a:gd name="connsiteX1" fmla="*/ 265690 w 474348"/>
                    <a:gd name="connsiteY1" fmla="*/ 0 h 669131"/>
                    <a:gd name="connsiteX2" fmla="*/ 314250 w 474348"/>
                    <a:gd name="connsiteY2" fmla="*/ 24047 h 669131"/>
                    <a:gd name="connsiteX3" fmla="*/ 474348 w 474348"/>
                    <a:gd name="connsiteY3" fmla="*/ 216516 h 669131"/>
                    <a:gd name="connsiteX4" fmla="*/ 474348 w 474348"/>
                    <a:gd name="connsiteY4" fmla="*/ 669131 h 669131"/>
                    <a:gd name="connsiteX5" fmla="*/ 474348 w 474348"/>
                    <a:gd name="connsiteY5" fmla="*/ 669131 h 669131"/>
                    <a:gd name="connsiteX6" fmla="*/ 248129 w 474348"/>
                    <a:gd name="connsiteY6" fmla="*/ 669131 h 669131"/>
                    <a:gd name="connsiteX7" fmla="*/ 0 w 474348"/>
                    <a:gd name="connsiteY7" fmla="*/ 669131 h 669131"/>
                    <a:gd name="connsiteX8" fmla="*/ 0 w 474348"/>
                    <a:gd name="connsiteY8" fmla="*/ 669131 h 669131"/>
                    <a:gd name="connsiteX9" fmla="*/ 0 w 474348"/>
                    <a:gd name="connsiteY9" fmla="*/ 216516 h 669131"/>
                    <a:gd name="connsiteX10" fmla="*/ 192704 w 474348"/>
                    <a:gd name="connsiteY10" fmla="*/ 23812 h 669131"/>
                    <a:gd name="connsiteX0" fmla="*/ 192704 w 474348"/>
                    <a:gd name="connsiteY0" fmla="*/ 23812 h 669131"/>
                    <a:gd name="connsiteX1" fmla="*/ 265690 w 474348"/>
                    <a:gd name="connsiteY1" fmla="*/ 0 h 669131"/>
                    <a:gd name="connsiteX2" fmla="*/ 314250 w 474348"/>
                    <a:gd name="connsiteY2" fmla="*/ 24047 h 669131"/>
                    <a:gd name="connsiteX3" fmla="*/ 474348 w 474348"/>
                    <a:gd name="connsiteY3" fmla="*/ 216516 h 669131"/>
                    <a:gd name="connsiteX4" fmla="*/ 474348 w 474348"/>
                    <a:gd name="connsiteY4" fmla="*/ 669131 h 669131"/>
                    <a:gd name="connsiteX5" fmla="*/ 474348 w 474348"/>
                    <a:gd name="connsiteY5" fmla="*/ 669131 h 669131"/>
                    <a:gd name="connsiteX6" fmla="*/ 248129 w 474348"/>
                    <a:gd name="connsiteY6" fmla="*/ 669131 h 669131"/>
                    <a:gd name="connsiteX7" fmla="*/ 0 w 474348"/>
                    <a:gd name="connsiteY7" fmla="*/ 669131 h 669131"/>
                    <a:gd name="connsiteX8" fmla="*/ 0 w 474348"/>
                    <a:gd name="connsiteY8" fmla="*/ 669131 h 669131"/>
                    <a:gd name="connsiteX9" fmla="*/ 0 w 474348"/>
                    <a:gd name="connsiteY9" fmla="*/ 216516 h 669131"/>
                    <a:gd name="connsiteX10" fmla="*/ 192704 w 474348"/>
                    <a:gd name="connsiteY10" fmla="*/ 23812 h 669131"/>
                    <a:gd name="connsiteX0" fmla="*/ 192704 w 474348"/>
                    <a:gd name="connsiteY0" fmla="*/ 23812 h 669131"/>
                    <a:gd name="connsiteX1" fmla="*/ 265690 w 474348"/>
                    <a:gd name="connsiteY1" fmla="*/ 0 h 669131"/>
                    <a:gd name="connsiteX2" fmla="*/ 314250 w 474348"/>
                    <a:gd name="connsiteY2" fmla="*/ 24047 h 669131"/>
                    <a:gd name="connsiteX3" fmla="*/ 474348 w 474348"/>
                    <a:gd name="connsiteY3" fmla="*/ 216516 h 669131"/>
                    <a:gd name="connsiteX4" fmla="*/ 474348 w 474348"/>
                    <a:gd name="connsiteY4" fmla="*/ 669131 h 669131"/>
                    <a:gd name="connsiteX5" fmla="*/ 474348 w 474348"/>
                    <a:gd name="connsiteY5" fmla="*/ 669131 h 669131"/>
                    <a:gd name="connsiteX6" fmla="*/ 248129 w 474348"/>
                    <a:gd name="connsiteY6" fmla="*/ 669131 h 669131"/>
                    <a:gd name="connsiteX7" fmla="*/ 0 w 474348"/>
                    <a:gd name="connsiteY7" fmla="*/ 669131 h 669131"/>
                    <a:gd name="connsiteX8" fmla="*/ 0 w 474348"/>
                    <a:gd name="connsiteY8" fmla="*/ 669131 h 669131"/>
                    <a:gd name="connsiteX9" fmla="*/ 0 w 474348"/>
                    <a:gd name="connsiteY9" fmla="*/ 216516 h 669131"/>
                    <a:gd name="connsiteX10" fmla="*/ 192704 w 474348"/>
                    <a:gd name="connsiteY10" fmla="*/ 23812 h 669131"/>
                    <a:gd name="connsiteX0" fmla="*/ 174282 w 474348"/>
                    <a:gd name="connsiteY0" fmla="*/ 23596 h 669131"/>
                    <a:gd name="connsiteX1" fmla="*/ 265690 w 474348"/>
                    <a:gd name="connsiteY1" fmla="*/ 0 h 669131"/>
                    <a:gd name="connsiteX2" fmla="*/ 314250 w 474348"/>
                    <a:gd name="connsiteY2" fmla="*/ 24047 h 669131"/>
                    <a:gd name="connsiteX3" fmla="*/ 474348 w 474348"/>
                    <a:gd name="connsiteY3" fmla="*/ 216516 h 669131"/>
                    <a:gd name="connsiteX4" fmla="*/ 474348 w 474348"/>
                    <a:gd name="connsiteY4" fmla="*/ 669131 h 669131"/>
                    <a:gd name="connsiteX5" fmla="*/ 474348 w 474348"/>
                    <a:gd name="connsiteY5" fmla="*/ 669131 h 669131"/>
                    <a:gd name="connsiteX6" fmla="*/ 248129 w 474348"/>
                    <a:gd name="connsiteY6" fmla="*/ 669131 h 669131"/>
                    <a:gd name="connsiteX7" fmla="*/ 0 w 474348"/>
                    <a:gd name="connsiteY7" fmla="*/ 669131 h 669131"/>
                    <a:gd name="connsiteX8" fmla="*/ 0 w 474348"/>
                    <a:gd name="connsiteY8" fmla="*/ 669131 h 669131"/>
                    <a:gd name="connsiteX9" fmla="*/ 0 w 474348"/>
                    <a:gd name="connsiteY9" fmla="*/ 216516 h 669131"/>
                    <a:gd name="connsiteX10" fmla="*/ 174282 w 474348"/>
                    <a:gd name="connsiteY10" fmla="*/ 23596 h 669131"/>
                    <a:gd name="connsiteX0" fmla="*/ 174282 w 474348"/>
                    <a:gd name="connsiteY0" fmla="*/ 24619 h 670154"/>
                    <a:gd name="connsiteX1" fmla="*/ 216121 w 474348"/>
                    <a:gd name="connsiteY1" fmla="*/ 0 h 670154"/>
                    <a:gd name="connsiteX2" fmla="*/ 314250 w 474348"/>
                    <a:gd name="connsiteY2" fmla="*/ 25070 h 670154"/>
                    <a:gd name="connsiteX3" fmla="*/ 474348 w 474348"/>
                    <a:gd name="connsiteY3" fmla="*/ 217539 h 670154"/>
                    <a:gd name="connsiteX4" fmla="*/ 474348 w 474348"/>
                    <a:gd name="connsiteY4" fmla="*/ 670154 h 670154"/>
                    <a:gd name="connsiteX5" fmla="*/ 474348 w 474348"/>
                    <a:gd name="connsiteY5" fmla="*/ 670154 h 670154"/>
                    <a:gd name="connsiteX6" fmla="*/ 248129 w 474348"/>
                    <a:gd name="connsiteY6" fmla="*/ 670154 h 670154"/>
                    <a:gd name="connsiteX7" fmla="*/ 0 w 474348"/>
                    <a:gd name="connsiteY7" fmla="*/ 670154 h 670154"/>
                    <a:gd name="connsiteX8" fmla="*/ 0 w 474348"/>
                    <a:gd name="connsiteY8" fmla="*/ 670154 h 670154"/>
                    <a:gd name="connsiteX9" fmla="*/ 0 w 474348"/>
                    <a:gd name="connsiteY9" fmla="*/ 217539 h 670154"/>
                    <a:gd name="connsiteX10" fmla="*/ 174282 w 474348"/>
                    <a:gd name="connsiteY10" fmla="*/ 24619 h 670154"/>
                    <a:gd name="connsiteX0" fmla="*/ 174282 w 474348"/>
                    <a:gd name="connsiteY0" fmla="*/ 24619 h 670154"/>
                    <a:gd name="connsiteX1" fmla="*/ 216121 w 474348"/>
                    <a:gd name="connsiteY1" fmla="*/ 0 h 670154"/>
                    <a:gd name="connsiteX2" fmla="*/ 314250 w 474348"/>
                    <a:gd name="connsiteY2" fmla="*/ 25070 h 670154"/>
                    <a:gd name="connsiteX3" fmla="*/ 474348 w 474348"/>
                    <a:gd name="connsiteY3" fmla="*/ 217539 h 670154"/>
                    <a:gd name="connsiteX4" fmla="*/ 474348 w 474348"/>
                    <a:gd name="connsiteY4" fmla="*/ 670154 h 670154"/>
                    <a:gd name="connsiteX5" fmla="*/ 474348 w 474348"/>
                    <a:gd name="connsiteY5" fmla="*/ 670154 h 670154"/>
                    <a:gd name="connsiteX6" fmla="*/ 248129 w 474348"/>
                    <a:gd name="connsiteY6" fmla="*/ 670154 h 670154"/>
                    <a:gd name="connsiteX7" fmla="*/ 0 w 474348"/>
                    <a:gd name="connsiteY7" fmla="*/ 670154 h 670154"/>
                    <a:gd name="connsiteX8" fmla="*/ 0 w 474348"/>
                    <a:gd name="connsiteY8" fmla="*/ 670154 h 670154"/>
                    <a:gd name="connsiteX9" fmla="*/ 0 w 474348"/>
                    <a:gd name="connsiteY9" fmla="*/ 217539 h 670154"/>
                    <a:gd name="connsiteX10" fmla="*/ 174282 w 474348"/>
                    <a:gd name="connsiteY10" fmla="*/ 24619 h 670154"/>
                    <a:gd name="connsiteX0" fmla="*/ 174282 w 474348"/>
                    <a:gd name="connsiteY0" fmla="*/ 24619 h 670154"/>
                    <a:gd name="connsiteX1" fmla="*/ 216121 w 474348"/>
                    <a:gd name="connsiteY1" fmla="*/ 0 h 670154"/>
                    <a:gd name="connsiteX2" fmla="*/ 314250 w 474348"/>
                    <a:gd name="connsiteY2" fmla="*/ 25070 h 670154"/>
                    <a:gd name="connsiteX3" fmla="*/ 474348 w 474348"/>
                    <a:gd name="connsiteY3" fmla="*/ 217539 h 670154"/>
                    <a:gd name="connsiteX4" fmla="*/ 474348 w 474348"/>
                    <a:gd name="connsiteY4" fmla="*/ 670154 h 670154"/>
                    <a:gd name="connsiteX5" fmla="*/ 474348 w 474348"/>
                    <a:gd name="connsiteY5" fmla="*/ 670154 h 670154"/>
                    <a:gd name="connsiteX6" fmla="*/ 248129 w 474348"/>
                    <a:gd name="connsiteY6" fmla="*/ 670154 h 670154"/>
                    <a:gd name="connsiteX7" fmla="*/ 0 w 474348"/>
                    <a:gd name="connsiteY7" fmla="*/ 670154 h 670154"/>
                    <a:gd name="connsiteX8" fmla="*/ 0 w 474348"/>
                    <a:gd name="connsiteY8" fmla="*/ 670154 h 670154"/>
                    <a:gd name="connsiteX9" fmla="*/ 0 w 474348"/>
                    <a:gd name="connsiteY9" fmla="*/ 217539 h 670154"/>
                    <a:gd name="connsiteX10" fmla="*/ 174282 w 474348"/>
                    <a:gd name="connsiteY10" fmla="*/ 24619 h 670154"/>
                    <a:gd name="connsiteX0" fmla="*/ 174282 w 474348"/>
                    <a:gd name="connsiteY0" fmla="*/ 24619 h 670154"/>
                    <a:gd name="connsiteX1" fmla="*/ 216121 w 474348"/>
                    <a:gd name="connsiteY1" fmla="*/ 0 h 670154"/>
                    <a:gd name="connsiteX2" fmla="*/ 314250 w 474348"/>
                    <a:gd name="connsiteY2" fmla="*/ 25070 h 670154"/>
                    <a:gd name="connsiteX3" fmla="*/ 474348 w 474348"/>
                    <a:gd name="connsiteY3" fmla="*/ 217539 h 670154"/>
                    <a:gd name="connsiteX4" fmla="*/ 474348 w 474348"/>
                    <a:gd name="connsiteY4" fmla="*/ 670154 h 670154"/>
                    <a:gd name="connsiteX5" fmla="*/ 474348 w 474348"/>
                    <a:gd name="connsiteY5" fmla="*/ 670154 h 670154"/>
                    <a:gd name="connsiteX6" fmla="*/ 248129 w 474348"/>
                    <a:gd name="connsiteY6" fmla="*/ 670154 h 670154"/>
                    <a:gd name="connsiteX7" fmla="*/ 0 w 474348"/>
                    <a:gd name="connsiteY7" fmla="*/ 670154 h 670154"/>
                    <a:gd name="connsiteX8" fmla="*/ 0 w 474348"/>
                    <a:gd name="connsiteY8" fmla="*/ 670154 h 670154"/>
                    <a:gd name="connsiteX9" fmla="*/ 0 w 474348"/>
                    <a:gd name="connsiteY9" fmla="*/ 217539 h 670154"/>
                    <a:gd name="connsiteX10" fmla="*/ 174282 w 474348"/>
                    <a:gd name="connsiteY10" fmla="*/ 24619 h 670154"/>
                    <a:gd name="connsiteX0" fmla="*/ 148557 w 474348"/>
                    <a:gd name="connsiteY0" fmla="*/ 27264 h 670154"/>
                    <a:gd name="connsiteX1" fmla="*/ 216121 w 474348"/>
                    <a:gd name="connsiteY1" fmla="*/ 0 h 670154"/>
                    <a:gd name="connsiteX2" fmla="*/ 314250 w 474348"/>
                    <a:gd name="connsiteY2" fmla="*/ 25070 h 670154"/>
                    <a:gd name="connsiteX3" fmla="*/ 474348 w 474348"/>
                    <a:gd name="connsiteY3" fmla="*/ 217539 h 670154"/>
                    <a:gd name="connsiteX4" fmla="*/ 474348 w 474348"/>
                    <a:gd name="connsiteY4" fmla="*/ 670154 h 670154"/>
                    <a:gd name="connsiteX5" fmla="*/ 474348 w 474348"/>
                    <a:gd name="connsiteY5" fmla="*/ 670154 h 670154"/>
                    <a:gd name="connsiteX6" fmla="*/ 248129 w 474348"/>
                    <a:gd name="connsiteY6" fmla="*/ 670154 h 670154"/>
                    <a:gd name="connsiteX7" fmla="*/ 0 w 474348"/>
                    <a:gd name="connsiteY7" fmla="*/ 670154 h 670154"/>
                    <a:gd name="connsiteX8" fmla="*/ 0 w 474348"/>
                    <a:gd name="connsiteY8" fmla="*/ 670154 h 670154"/>
                    <a:gd name="connsiteX9" fmla="*/ 0 w 474348"/>
                    <a:gd name="connsiteY9" fmla="*/ 217539 h 670154"/>
                    <a:gd name="connsiteX10" fmla="*/ 148557 w 474348"/>
                    <a:gd name="connsiteY10" fmla="*/ 27264 h 670154"/>
                    <a:gd name="connsiteX0" fmla="*/ 148557 w 474348"/>
                    <a:gd name="connsiteY0" fmla="*/ 20950 h 663840"/>
                    <a:gd name="connsiteX1" fmla="*/ 214238 w 474348"/>
                    <a:gd name="connsiteY1" fmla="*/ 0 h 663840"/>
                    <a:gd name="connsiteX2" fmla="*/ 314250 w 474348"/>
                    <a:gd name="connsiteY2" fmla="*/ 18756 h 663840"/>
                    <a:gd name="connsiteX3" fmla="*/ 474348 w 474348"/>
                    <a:gd name="connsiteY3" fmla="*/ 211225 h 663840"/>
                    <a:gd name="connsiteX4" fmla="*/ 474348 w 474348"/>
                    <a:gd name="connsiteY4" fmla="*/ 663840 h 663840"/>
                    <a:gd name="connsiteX5" fmla="*/ 474348 w 474348"/>
                    <a:gd name="connsiteY5" fmla="*/ 663840 h 663840"/>
                    <a:gd name="connsiteX6" fmla="*/ 248129 w 474348"/>
                    <a:gd name="connsiteY6" fmla="*/ 663840 h 663840"/>
                    <a:gd name="connsiteX7" fmla="*/ 0 w 474348"/>
                    <a:gd name="connsiteY7" fmla="*/ 663840 h 663840"/>
                    <a:gd name="connsiteX8" fmla="*/ 0 w 474348"/>
                    <a:gd name="connsiteY8" fmla="*/ 663840 h 663840"/>
                    <a:gd name="connsiteX9" fmla="*/ 0 w 474348"/>
                    <a:gd name="connsiteY9" fmla="*/ 211225 h 663840"/>
                    <a:gd name="connsiteX10" fmla="*/ 148557 w 474348"/>
                    <a:gd name="connsiteY10" fmla="*/ 20950 h 663840"/>
                    <a:gd name="connsiteX0" fmla="*/ 148557 w 474348"/>
                    <a:gd name="connsiteY0" fmla="*/ 20950 h 663840"/>
                    <a:gd name="connsiteX1" fmla="*/ 214238 w 474348"/>
                    <a:gd name="connsiteY1" fmla="*/ 0 h 663840"/>
                    <a:gd name="connsiteX2" fmla="*/ 314250 w 474348"/>
                    <a:gd name="connsiteY2" fmla="*/ 18756 h 663840"/>
                    <a:gd name="connsiteX3" fmla="*/ 474348 w 474348"/>
                    <a:gd name="connsiteY3" fmla="*/ 211225 h 663840"/>
                    <a:gd name="connsiteX4" fmla="*/ 474348 w 474348"/>
                    <a:gd name="connsiteY4" fmla="*/ 663840 h 663840"/>
                    <a:gd name="connsiteX5" fmla="*/ 474348 w 474348"/>
                    <a:gd name="connsiteY5" fmla="*/ 663840 h 663840"/>
                    <a:gd name="connsiteX6" fmla="*/ 248129 w 474348"/>
                    <a:gd name="connsiteY6" fmla="*/ 663840 h 663840"/>
                    <a:gd name="connsiteX7" fmla="*/ 0 w 474348"/>
                    <a:gd name="connsiteY7" fmla="*/ 663840 h 663840"/>
                    <a:gd name="connsiteX8" fmla="*/ 0 w 474348"/>
                    <a:gd name="connsiteY8" fmla="*/ 663840 h 663840"/>
                    <a:gd name="connsiteX9" fmla="*/ 0 w 474348"/>
                    <a:gd name="connsiteY9" fmla="*/ 211225 h 663840"/>
                    <a:gd name="connsiteX10" fmla="*/ 148557 w 474348"/>
                    <a:gd name="connsiteY10" fmla="*/ 20950 h 663840"/>
                    <a:gd name="connsiteX0" fmla="*/ 148557 w 474348"/>
                    <a:gd name="connsiteY0" fmla="*/ 20950 h 663840"/>
                    <a:gd name="connsiteX1" fmla="*/ 214238 w 474348"/>
                    <a:gd name="connsiteY1" fmla="*/ 0 h 663840"/>
                    <a:gd name="connsiteX2" fmla="*/ 314250 w 474348"/>
                    <a:gd name="connsiteY2" fmla="*/ 18756 h 663840"/>
                    <a:gd name="connsiteX3" fmla="*/ 474348 w 474348"/>
                    <a:gd name="connsiteY3" fmla="*/ 211225 h 663840"/>
                    <a:gd name="connsiteX4" fmla="*/ 474348 w 474348"/>
                    <a:gd name="connsiteY4" fmla="*/ 663840 h 663840"/>
                    <a:gd name="connsiteX5" fmla="*/ 474348 w 474348"/>
                    <a:gd name="connsiteY5" fmla="*/ 663840 h 663840"/>
                    <a:gd name="connsiteX6" fmla="*/ 248129 w 474348"/>
                    <a:gd name="connsiteY6" fmla="*/ 663840 h 663840"/>
                    <a:gd name="connsiteX7" fmla="*/ 0 w 474348"/>
                    <a:gd name="connsiteY7" fmla="*/ 663840 h 663840"/>
                    <a:gd name="connsiteX8" fmla="*/ 0 w 474348"/>
                    <a:gd name="connsiteY8" fmla="*/ 663840 h 663840"/>
                    <a:gd name="connsiteX9" fmla="*/ 0 w 474348"/>
                    <a:gd name="connsiteY9" fmla="*/ 211225 h 663840"/>
                    <a:gd name="connsiteX10" fmla="*/ 148557 w 474348"/>
                    <a:gd name="connsiteY10" fmla="*/ 20950 h 663840"/>
                    <a:gd name="connsiteX0" fmla="*/ 144178 w 474348"/>
                    <a:gd name="connsiteY0" fmla="*/ 22667 h 663840"/>
                    <a:gd name="connsiteX1" fmla="*/ 214238 w 474348"/>
                    <a:gd name="connsiteY1" fmla="*/ 0 h 663840"/>
                    <a:gd name="connsiteX2" fmla="*/ 314250 w 474348"/>
                    <a:gd name="connsiteY2" fmla="*/ 18756 h 663840"/>
                    <a:gd name="connsiteX3" fmla="*/ 474348 w 474348"/>
                    <a:gd name="connsiteY3" fmla="*/ 211225 h 663840"/>
                    <a:gd name="connsiteX4" fmla="*/ 474348 w 474348"/>
                    <a:gd name="connsiteY4" fmla="*/ 663840 h 663840"/>
                    <a:gd name="connsiteX5" fmla="*/ 474348 w 474348"/>
                    <a:gd name="connsiteY5" fmla="*/ 663840 h 663840"/>
                    <a:gd name="connsiteX6" fmla="*/ 248129 w 474348"/>
                    <a:gd name="connsiteY6" fmla="*/ 663840 h 663840"/>
                    <a:gd name="connsiteX7" fmla="*/ 0 w 474348"/>
                    <a:gd name="connsiteY7" fmla="*/ 663840 h 663840"/>
                    <a:gd name="connsiteX8" fmla="*/ 0 w 474348"/>
                    <a:gd name="connsiteY8" fmla="*/ 663840 h 663840"/>
                    <a:gd name="connsiteX9" fmla="*/ 0 w 474348"/>
                    <a:gd name="connsiteY9" fmla="*/ 211225 h 663840"/>
                    <a:gd name="connsiteX10" fmla="*/ 144178 w 474348"/>
                    <a:gd name="connsiteY10" fmla="*/ 22667 h 663840"/>
                    <a:gd name="connsiteX0" fmla="*/ 144178 w 474348"/>
                    <a:gd name="connsiteY0" fmla="*/ 22667 h 663840"/>
                    <a:gd name="connsiteX1" fmla="*/ 214238 w 474348"/>
                    <a:gd name="connsiteY1" fmla="*/ 0 h 663840"/>
                    <a:gd name="connsiteX2" fmla="*/ 314250 w 474348"/>
                    <a:gd name="connsiteY2" fmla="*/ 18756 h 663840"/>
                    <a:gd name="connsiteX3" fmla="*/ 474348 w 474348"/>
                    <a:gd name="connsiteY3" fmla="*/ 211225 h 663840"/>
                    <a:gd name="connsiteX4" fmla="*/ 474348 w 474348"/>
                    <a:gd name="connsiteY4" fmla="*/ 663840 h 663840"/>
                    <a:gd name="connsiteX5" fmla="*/ 474348 w 474348"/>
                    <a:gd name="connsiteY5" fmla="*/ 663840 h 663840"/>
                    <a:gd name="connsiteX6" fmla="*/ 248129 w 474348"/>
                    <a:gd name="connsiteY6" fmla="*/ 663840 h 663840"/>
                    <a:gd name="connsiteX7" fmla="*/ 0 w 474348"/>
                    <a:gd name="connsiteY7" fmla="*/ 663840 h 663840"/>
                    <a:gd name="connsiteX8" fmla="*/ 0 w 474348"/>
                    <a:gd name="connsiteY8" fmla="*/ 663840 h 663840"/>
                    <a:gd name="connsiteX9" fmla="*/ 0 w 474348"/>
                    <a:gd name="connsiteY9" fmla="*/ 211225 h 663840"/>
                    <a:gd name="connsiteX10" fmla="*/ 144178 w 474348"/>
                    <a:gd name="connsiteY10" fmla="*/ 22667 h 663840"/>
                    <a:gd name="connsiteX0" fmla="*/ 144178 w 474348"/>
                    <a:gd name="connsiteY0" fmla="*/ 22667 h 663840"/>
                    <a:gd name="connsiteX1" fmla="*/ 214238 w 474348"/>
                    <a:gd name="connsiteY1" fmla="*/ 0 h 663840"/>
                    <a:gd name="connsiteX2" fmla="*/ 314250 w 474348"/>
                    <a:gd name="connsiteY2" fmla="*/ 18756 h 663840"/>
                    <a:gd name="connsiteX3" fmla="*/ 474348 w 474348"/>
                    <a:gd name="connsiteY3" fmla="*/ 211225 h 663840"/>
                    <a:gd name="connsiteX4" fmla="*/ 474348 w 474348"/>
                    <a:gd name="connsiteY4" fmla="*/ 663840 h 663840"/>
                    <a:gd name="connsiteX5" fmla="*/ 474348 w 474348"/>
                    <a:gd name="connsiteY5" fmla="*/ 663840 h 663840"/>
                    <a:gd name="connsiteX6" fmla="*/ 248129 w 474348"/>
                    <a:gd name="connsiteY6" fmla="*/ 663840 h 663840"/>
                    <a:gd name="connsiteX7" fmla="*/ 0 w 474348"/>
                    <a:gd name="connsiteY7" fmla="*/ 663840 h 663840"/>
                    <a:gd name="connsiteX8" fmla="*/ 0 w 474348"/>
                    <a:gd name="connsiteY8" fmla="*/ 663840 h 663840"/>
                    <a:gd name="connsiteX9" fmla="*/ 0 w 474348"/>
                    <a:gd name="connsiteY9" fmla="*/ 211225 h 663840"/>
                    <a:gd name="connsiteX10" fmla="*/ 144178 w 474348"/>
                    <a:gd name="connsiteY10" fmla="*/ 22667 h 663840"/>
                    <a:gd name="connsiteX0" fmla="*/ 144178 w 474348"/>
                    <a:gd name="connsiteY0" fmla="*/ 22667 h 663840"/>
                    <a:gd name="connsiteX1" fmla="*/ 214238 w 474348"/>
                    <a:gd name="connsiteY1" fmla="*/ 0 h 663840"/>
                    <a:gd name="connsiteX2" fmla="*/ 314250 w 474348"/>
                    <a:gd name="connsiteY2" fmla="*/ 18756 h 663840"/>
                    <a:gd name="connsiteX3" fmla="*/ 474348 w 474348"/>
                    <a:gd name="connsiteY3" fmla="*/ 211225 h 663840"/>
                    <a:gd name="connsiteX4" fmla="*/ 474348 w 474348"/>
                    <a:gd name="connsiteY4" fmla="*/ 663840 h 663840"/>
                    <a:gd name="connsiteX5" fmla="*/ 474348 w 474348"/>
                    <a:gd name="connsiteY5" fmla="*/ 663840 h 663840"/>
                    <a:gd name="connsiteX6" fmla="*/ 248129 w 474348"/>
                    <a:gd name="connsiteY6" fmla="*/ 663840 h 663840"/>
                    <a:gd name="connsiteX7" fmla="*/ 0 w 474348"/>
                    <a:gd name="connsiteY7" fmla="*/ 663840 h 663840"/>
                    <a:gd name="connsiteX8" fmla="*/ 0 w 474348"/>
                    <a:gd name="connsiteY8" fmla="*/ 663840 h 663840"/>
                    <a:gd name="connsiteX9" fmla="*/ 0 w 474348"/>
                    <a:gd name="connsiteY9" fmla="*/ 211225 h 663840"/>
                    <a:gd name="connsiteX10" fmla="*/ 144178 w 474348"/>
                    <a:gd name="connsiteY10" fmla="*/ 22667 h 6638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74348" h="663840">
                      <a:moveTo>
                        <a:pt x="144178" y="22667"/>
                      </a:moveTo>
                      <a:cubicBezTo>
                        <a:pt x="211732" y="-970"/>
                        <a:pt x="181869" y="7990"/>
                        <a:pt x="214238" y="0"/>
                      </a:cubicBezTo>
                      <a:cubicBezTo>
                        <a:pt x="259321" y="7224"/>
                        <a:pt x="221757" y="369"/>
                        <a:pt x="314250" y="18756"/>
                      </a:cubicBezTo>
                      <a:cubicBezTo>
                        <a:pt x="399877" y="51074"/>
                        <a:pt x="474348" y="104798"/>
                        <a:pt x="474348" y="211225"/>
                      </a:cubicBezTo>
                      <a:lnTo>
                        <a:pt x="474348" y="663840"/>
                      </a:lnTo>
                      <a:lnTo>
                        <a:pt x="474348" y="663840"/>
                      </a:lnTo>
                      <a:lnTo>
                        <a:pt x="248129" y="663840"/>
                      </a:lnTo>
                      <a:lnTo>
                        <a:pt x="0" y="663840"/>
                      </a:lnTo>
                      <a:lnTo>
                        <a:pt x="0" y="663840"/>
                      </a:lnTo>
                      <a:lnTo>
                        <a:pt x="0" y="211225"/>
                      </a:lnTo>
                      <a:cubicBezTo>
                        <a:pt x="0" y="104798"/>
                        <a:pt x="80700" y="56026"/>
                        <a:pt x="144178" y="22667"/>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47" name="Round Same Side Corner Rectangle 11"/>
                <p:cNvSpPr/>
                <p:nvPr/>
              </p:nvSpPr>
              <p:spPr>
                <a:xfrm rot="7140000">
                  <a:off x="4278989" y="1266737"/>
                  <a:ext cx="251846" cy="2632764"/>
                </a:xfrm>
                <a:custGeom>
                  <a:avLst/>
                  <a:gdLst>
                    <a:gd name="connsiteX0" fmla="*/ 192704 w 474348"/>
                    <a:gd name="connsiteY0" fmla="*/ 0 h 645319"/>
                    <a:gd name="connsiteX1" fmla="*/ 281644 w 474348"/>
                    <a:gd name="connsiteY1" fmla="*/ 0 h 645319"/>
                    <a:gd name="connsiteX2" fmla="*/ 474348 w 474348"/>
                    <a:gd name="connsiteY2" fmla="*/ 192704 h 645319"/>
                    <a:gd name="connsiteX3" fmla="*/ 474348 w 474348"/>
                    <a:gd name="connsiteY3" fmla="*/ 645319 h 645319"/>
                    <a:gd name="connsiteX4" fmla="*/ 474348 w 474348"/>
                    <a:gd name="connsiteY4" fmla="*/ 645319 h 645319"/>
                    <a:gd name="connsiteX5" fmla="*/ 0 w 474348"/>
                    <a:gd name="connsiteY5" fmla="*/ 645319 h 645319"/>
                    <a:gd name="connsiteX6" fmla="*/ 0 w 474348"/>
                    <a:gd name="connsiteY6" fmla="*/ 645319 h 645319"/>
                    <a:gd name="connsiteX7" fmla="*/ 0 w 474348"/>
                    <a:gd name="connsiteY7" fmla="*/ 192704 h 645319"/>
                    <a:gd name="connsiteX8" fmla="*/ 192704 w 474348"/>
                    <a:gd name="connsiteY8" fmla="*/ 0 h 645319"/>
                    <a:gd name="connsiteX0" fmla="*/ 192704 w 474348"/>
                    <a:gd name="connsiteY0" fmla="*/ 0 h 645319"/>
                    <a:gd name="connsiteX1" fmla="*/ 281644 w 474348"/>
                    <a:gd name="connsiteY1" fmla="*/ 0 h 645319"/>
                    <a:gd name="connsiteX2" fmla="*/ 474348 w 474348"/>
                    <a:gd name="connsiteY2" fmla="*/ 192704 h 645319"/>
                    <a:gd name="connsiteX3" fmla="*/ 474348 w 474348"/>
                    <a:gd name="connsiteY3" fmla="*/ 645319 h 645319"/>
                    <a:gd name="connsiteX4" fmla="*/ 474348 w 474348"/>
                    <a:gd name="connsiteY4" fmla="*/ 645319 h 645319"/>
                    <a:gd name="connsiteX5" fmla="*/ 248129 w 474348"/>
                    <a:gd name="connsiteY5" fmla="*/ 645319 h 645319"/>
                    <a:gd name="connsiteX6" fmla="*/ 0 w 474348"/>
                    <a:gd name="connsiteY6" fmla="*/ 645319 h 645319"/>
                    <a:gd name="connsiteX7" fmla="*/ 0 w 474348"/>
                    <a:gd name="connsiteY7" fmla="*/ 645319 h 645319"/>
                    <a:gd name="connsiteX8" fmla="*/ 0 w 474348"/>
                    <a:gd name="connsiteY8" fmla="*/ 192704 h 645319"/>
                    <a:gd name="connsiteX9" fmla="*/ 192704 w 474348"/>
                    <a:gd name="connsiteY9" fmla="*/ 0 h 645319"/>
                    <a:gd name="connsiteX0" fmla="*/ 192704 w 474348"/>
                    <a:gd name="connsiteY0" fmla="*/ 2381 h 647700"/>
                    <a:gd name="connsiteX1" fmla="*/ 240986 w 474348"/>
                    <a:gd name="connsiteY1" fmla="*/ 0 h 647700"/>
                    <a:gd name="connsiteX2" fmla="*/ 281644 w 474348"/>
                    <a:gd name="connsiteY2" fmla="*/ 2381 h 647700"/>
                    <a:gd name="connsiteX3" fmla="*/ 474348 w 474348"/>
                    <a:gd name="connsiteY3" fmla="*/ 195085 h 647700"/>
                    <a:gd name="connsiteX4" fmla="*/ 474348 w 474348"/>
                    <a:gd name="connsiteY4" fmla="*/ 647700 h 647700"/>
                    <a:gd name="connsiteX5" fmla="*/ 474348 w 474348"/>
                    <a:gd name="connsiteY5" fmla="*/ 647700 h 647700"/>
                    <a:gd name="connsiteX6" fmla="*/ 248129 w 474348"/>
                    <a:gd name="connsiteY6" fmla="*/ 647700 h 647700"/>
                    <a:gd name="connsiteX7" fmla="*/ 0 w 474348"/>
                    <a:gd name="connsiteY7" fmla="*/ 647700 h 647700"/>
                    <a:gd name="connsiteX8" fmla="*/ 0 w 474348"/>
                    <a:gd name="connsiteY8" fmla="*/ 647700 h 647700"/>
                    <a:gd name="connsiteX9" fmla="*/ 0 w 474348"/>
                    <a:gd name="connsiteY9" fmla="*/ 195085 h 647700"/>
                    <a:gd name="connsiteX10" fmla="*/ 192704 w 474348"/>
                    <a:gd name="connsiteY10" fmla="*/ 2381 h 647700"/>
                    <a:gd name="connsiteX0" fmla="*/ 192704 w 474348"/>
                    <a:gd name="connsiteY0" fmla="*/ 42862 h 688181"/>
                    <a:gd name="connsiteX1" fmla="*/ 240986 w 474348"/>
                    <a:gd name="connsiteY1" fmla="*/ 0 h 688181"/>
                    <a:gd name="connsiteX2" fmla="*/ 281644 w 474348"/>
                    <a:gd name="connsiteY2" fmla="*/ 42862 h 688181"/>
                    <a:gd name="connsiteX3" fmla="*/ 474348 w 474348"/>
                    <a:gd name="connsiteY3" fmla="*/ 235566 h 688181"/>
                    <a:gd name="connsiteX4" fmla="*/ 474348 w 474348"/>
                    <a:gd name="connsiteY4" fmla="*/ 688181 h 688181"/>
                    <a:gd name="connsiteX5" fmla="*/ 474348 w 474348"/>
                    <a:gd name="connsiteY5" fmla="*/ 688181 h 688181"/>
                    <a:gd name="connsiteX6" fmla="*/ 248129 w 474348"/>
                    <a:gd name="connsiteY6" fmla="*/ 688181 h 688181"/>
                    <a:gd name="connsiteX7" fmla="*/ 0 w 474348"/>
                    <a:gd name="connsiteY7" fmla="*/ 688181 h 688181"/>
                    <a:gd name="connsiteX8" fmla="*/ 0 w 474348"/>
                    <a:gd name="connsiteY8" fmla="*/ 688181 h 688181"/>
                    <a:gd name="connsiteX9" fmla="*/ 0 w 474348"/>
                    <a:gd name="connsiteY9" fmla="*/ 235566 h 688181"/>
                    <a:gd name="connsiteX10" fmla="*/ 192704 w 474348"/>
                    <a:gd name="connsiteY10" fmla="*/ 42862 h 688181"/>
                    <a:gd name="connsiteX0" fmla="*/ 192704 w 474348"/>
                    <a:gd name="connsiteY0" fmla="*/ 23812 h 669131"/>
                    <a:gd name="connsiteX1" fmla="*/ 265690 w 474348"/>
                    <a:gd name="connsiteY1" fmla="*/ 0 h 669131"/>
                    <a:gd name="connsiteX2" fmla="*/ 281644 w 474348"/>
                    <a:gd name="connsiteY2" fmla="*/ 23812 h 669131"/>
                    <a:gd name="connsiteX3" fmla="*/ 474348 w 474348"/>
                    <a:gd name="connsiteY3" fmla="*/ 216516 h 669131"/>
                    <a:gd name="connsiteX4" fmla="*/ 474348 w 474348"/>
                    <a:gd name="connsiteY4" fmla="*/ 669131 h 669131"/>
                    <a:gd name="connsiteX5" fmla="*/ 474348 w 474348"/>
                    <a:gd name="connsiteY5" fmla="*/ 669131 h 669131"/>
                    <a:gd name="connsiteX6" fmla="*/ 248129 w 474348"/>
                    <a:gd name="connsiteY6" fmla="*/ 669131 h 669131"/>
                    <a:gd name="connsiteX7" fmla="*/ 0 w 474348"/>
                    <a:gd name="connsiteY7" fmla="*/ 669131 h 669131"/>
                    <a:gd name="connsiteX8" fmla="*/ 0 w 474348"/>
                    <a:gd name="connsiteY8" fmla="*/ 669131 h 669131"/>
                    <a:gd name="connsiteX9" fmla="*/ 0 w 474348"/>
                    <a:gd name="connsiteY9" fmla="*/ 216516 h 669131"/>
                    <a:gd name="connsiteX10" fmla="*/ 192704 w 474348"/>
                    <a:gd name="connsiteY10" fmla="*/ 23812 h 669131"/>
                    <a:gd name="connsiteX0" fmla="*/ 192704 w 474348"/>
                    <a:gd name="connsiteY0" fmla="*/ 23812 h 669131"/>
                    <a:gd name="connsiteX1" fmla="*/ 265690 w 474348"/>
                    <a:gd name="connsiteY1" fmla="*/ 0 h 669131"/>
                    <a:gd name="connsiteX2" fmla="*/ 309530 w 474348"/>
                    <a:gd name="connsiteY2" fmla="*/ 23110 h 669131"/>
                    <a:gd name="connsiteX3" fmla="*/ 474348 w 474348"/>
                    <a:gd name="connsiteY3" fmla="*/ 216516 h 669131"/>
                    <a:gd name="connsiteX4" fmla="*/ 474348 w 474348"/>
                    <a:gd name="connsiteY4" fmla="*/ 669131 h 669131"/>
                    <a:gd name="connsiteX5" fmla="*/ 474348 w 474348"/>
                    <a:gd name="connsiteY5" fmla="*/ 669131 h 669131"/>
                    <a:gd name="connsiteX6" fmla="*/ 248129 w 474348"/>
                    <a:gd name="connsiteY6" fmla="*/ 669131 h 669131"/>
                    <a:gd name="connsiteX7" fmla="*/ 0 w 474348"/>
                    <a:gd name="connsiteY7" fmla="*/ 669131 h 669131"/>
                    <a:gd name="connsiteX8" fmla="*/ 0 w 474348"/>
                    <a:gd name="connsiteY8" fmla="*/ 669131 h 669131"/>
                    <a:gd name="connsiteX9" fmla="*/ 0 w 474348"/>
                    <a:gd name="connsiteY9" fmla="*/ 216516 h 669131"/>
                    <a:gd name="connsiteX10" fmla="*/ 192704 w 474348"/>
                    <a:gd name="connsiteY10" fmla="*/ 23812 h 669131"/>
                    <a:gd name="connsiteX0" fmla="*/ 192704 w 474348"/>
                    <a:gd name="connsiteY0" fmla="*/ 23812 h 669131"/>
                    <a:gd name="connsiteX1" fmla="*/ 265690 w 474348"/>
                    <a:gd name="connsiteY1" fmla="*/ 0 h 669131"/>
                    <a:gd name="connsiteX2" fmla="*/ 309530 w 474348"/>
                    <a:gd name="connsiteY2" fmla="*/ 23110 h 669131"/>
                    <a:gd name="connsiteX3" fmla="*/ 474348 w 474348"/>
                    <a:gd name="connsiteY3" fmla="*/ 216516 h 669131"/>
                    <a:gd name="connsiteX4" fmla="*/ 474348 w 474348"/>
                    <a:gd name="connsiteY4" fmla="*/ 669131 h 669131"/>
                    <a:gd name="connsiteX5" fmla="*/ 474348 w 474348"/>
                    <a:gd name="connsiteY5" fmla="*/ 669131 h 669131"/>
                    <a:gd name="connsiteX6" fmla="*/ 248129 w 474348"/>
                    <a:gd name="connsiteY6" fmla="*/ 669131 h 669131"/>
                    <a:gd name="connsiteX7" fmla="*/ 0 w 474348"/>
                    <a:gd name="connsiteY7" fmla="*/ 669131 h 669131"/>
                    <a:gd name="connsiteX8" fmla="*/ 0 w 474348"/>
                    <a:gd name="connsiteY8" fmla="*/ 669131 h 669131"/>
                    <a:gd name="connsiteX9" fmla="*/ 0 w 474348"/>
                    <a:gd name="connsiteY9" fmla="*/ 216516 h 669131"/>
                    <a:gd name="connsiteX10" fmla="*/ 192704 w 474348"/>
                    <a:gd name="connsiteY10" fmla="*/ 23812 h 669131"/>
                    <a:gd name="connsiteX0" fmla="*/ 192704 w 474348"/>
                    <a:gd name="connsiteY0" fmla="*/ 23812 h 669131"/>
                    <a:gd name="connsiteX1" fmla="*/ 265690 w 474348"/>
                    <a:gd name="connsiteY1" fmla="*/ 0 h 669131"/>
                    <a:gd name="connsiteX2" fmla="*/ 309530 w 474348"/>
                    <a:gd name="connsiteY2" fmla="*/ 23110 h 669131"/>
                    <a:gd name="connsiteX3" fmla="*/ 474348 w 474348"/>
                    <a:gd name="connsiteY3" fmla="*/ 216516 h 669131"/>
                    <a:gd name="connsiteX4" fmla="*/ 474348 w 474348"/>
                    <a:gd name="connsiteY4" fmla="*/ 669131 h 669131"/>
                    <a:gd name="connsiteX5" fmla="*/ 474348 w 474348"/>
                    <a:gd name="connsiteY5" fmla="*/ 669131 h 669131"/>
                    <a:gd name="connsiteX6" fmla="*/ 248129 w 474348"/>
                    <a:gd name="connsiteY6" fmla="*/ 669131 h 669131"/>
                    <a:gd name="connsiteX7" fmla="*/ 0 w 474348"/>
                    <a:gd name="connsiteY7" fmla="*/ 669131 h 669131"/>
                    <a:gd name="connsiteX8" fmla="*/ 0 w 474348"/>
                    <a:gd name="connsiteY8" fmla="*/ 669131 h 669131"/>
                    <a:gd name="connsiteX9" fmla="*/ 0 w 474348"/>
                    <a:gd name="connsiteY9" fmla="*/ 216516 h 669131"/>
                    <a:gd name="connsiteX10" fmla="*/ 192704 w 474348"/>
                    <a:gd name="connsiteY10" fmla="*/ 23812 h 669131"/>
                    <a:gd name="connsiteX0" fmla="*/ 192704 w 474348"/>
                    <a:gd name="connsiteY0" fmla="*/ 23812 h 669131"/>
                    <a:gd name="connsiteX1" fmla="*/ 265690 w 474348"/>
                    <a:gd name="connsiteY1" fmla="*/ 0 h 669131"/>
                    <a:gd name="connsiteX2" fmla="*/ 309530 w 474348"/>
                    <a:gd name="connsiteY2" fmla="*/ 23110 h 669131"/>
                    <a:gd name="connsiteX3" fmla="*/ 474348 w 474348"/>
                    <a:gd name="connsiteY3" fmla="*/ 216516 h 669131"/>
                    <a:gd name="connsiteX4" fmla="*/ 474348 w 474348"/>
                    <a:gd name="connsiteY4" fmla="*/ 669131 h 669131"/>
                    <a:gd name="connsiteX5" fmla="*/ 474348 w 474348"/>
                    <a:gd name="connsiteY5" fmla="*/ 669131 h 669131"/>
                    <a:gd name="connsiteX6" fmla="*/ 248129 w 474348"/>
                    <a:gd name="connsiteY6" fmla="*/ 669131 h 669131"/>
                    <a:gd name="connsiteX7" fmla="*/ 0 w 474348"/>
                    <a:gd name="connsiteY7" fmla="*/ 669131 h 669131"/>
                    <a:gd name="connsiteX8" fmla="*/ 0 w 474348"/>
                    <a:gd name="connsiteY8" fmla="*/ 669131 h 669131"/>
                    <a:gd name="connsiteX9" fmla="*/ 0 w 474348"/>
                    <a:gd name="connsiteY9" fmla="*/ 216516 h 669131"/>
                    <a:gd name="connsiteX10" fmla="*/ 192704 w 474348"/>
                    <a:gd name="connsiteY10" fmla="*/ 23812 h 6691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74348" h="669131">
                      <a:moveTo>
                        <a:pt x="192704" y="23812"/>
                      </a:moveTo>
                      <a:lnTo>
                        <a:pt x="265690" y="0"/>
                      </a:lnTo>
                      <a:cubicBezTo>
                        <a:pt x="271008" y="7937"/>
                        <a:pt x="275989" y="2061"/>
                        <a:pt x="309530" y="23110"/>
                      </a:cubicBezTo>
                      <a:cubicBezTo>
                        <a:pt x="387382" y="59846"/>
                        <a:pt x="474348" y="110089"/>
                        <a:pt x="474348" y="216516"/>
                      </a:cubicBezTo>
                      <a:lnTo>
                        <a:pt x="474348" y="669131"/>
                      </a:lnTo>
                      <a:lnTo>
                        <a:pt x="474348" y="669131"/>
                      </a:lnTo>
                      <a:lnTo>
                        <a:pt x="248129" y="669131"/>
                      </a:lnTo>
                      <a:lnTo>
                        <a:pt x="0" y="669131"/>
                      </a:lnTo>
                      <a:lnTo>
                        <a:pt x="0" y="669131"/>
                      </a:lnTo>
                      <a:lnTo>
                        <a:pt x="0" y="216516"/>
                      </a:lnTo>
                      <a:cubicBezTo>
                        <a:pt x="0" y="110089"/>
                        <a:pt x="135350" y="45744"/>
                        <a:pt x="192704" y="23812"/>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48" name="Oval 147"/>
                <p:cNvSpPr/>
                <p:nvPr/>
              </p:nvSpPr>
              <p:spPr>
                <a:xfrm>
                  <a:off x="2740926" y="1513161"/>
                  <a:ext cx="629631" cy="629631"/>
                </a:xfrm>
                <a:prstGeom prst="ellipse">
                  <a:avLst/>
                </a:prstGeom>
                <a:solidFill>
                  <a:schemeClr val="bg1"/>
                </a:solidFill>
                <a:ln w="508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grpSp>
          <p:nvGrpSpPr>
            <p:cNvPr id="129" name="Group 128"/>
            <p:cNvGrpSpPr/>
            <p:nvPr/>
          </p:nvGrpSpPr>
          <p:grpSpPr>
            <a:xfrm flipH="1">
              <a:off x="1529076" y="2240510"/>
              <a:ext cx="1244571" cy="1931440"/>
              <a:chOff x="274646" y="-1004072"/>
              <a:chExt cx="5446648" cy="8452622"/>
            </a:xfrm>
            <a:effectLst>
              <a:outerShdw blurRad="76200" dir="13500000" sy="23000" kx="1200000" algn="br" rotWithShape="0">
                <a:prstClr val="black">
                  <a:alpha val="20000"/>
                </a:prstClr>
              </a:outerShdw>
            </a:effectLst>
          </p:grpSpPr>
          <p:sp>
            <p:nvSpPr>
              <p:cNvPr id="137" name="Isosceles Triangle 136"/>
              <p:cNvSpPr/>
              <p:nvPr/>
            </p:nvSpPr>
            <p:spPr>
              <a:xfrm>
                <a:off x="2789660" y="1551279"/>
                <a:ext cx="575648" cy="5897271"/>
              </a:xfrm>
              <a:prstGeom prst="triangle">
                <a:avLst>
                  <a:gd name="adj" fmla="val 5330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38" name="Group 137"/>
              <p:cNvGrpSpPr/>
              <p:nvPr/>
            </p:nvGrpSpPr>
            <p:grpSpPr>
              <a:xfrm>
                <a:off x="274646" y="-1004072"/>
                <a:ext cx="5446648" cy="3713114"/>
                <a:chOff x="274646" y="-1004072"/>
                <a:chExt cx="5446648" cy="3713114"/>
              </a:xfrm>
            </p:grpSpPr>
            <p:sp>
              <p:nvSpPr>
                <p:cNvPr id="139" name="Round Same Side Corner Rectangle 11"/>
                <p:cNvSpPr/>
                <p:nvPr/>
              </p:nvSpPr>
              <p:spPr>
                <a:xfrm rot="240000">
                  <a:off x="3037776" y="-1004072"/>
                  <a:ext cx="251846" cy="2632765"/>
                </a:xfrm>
                <a:custGeom>
                  <a:avLst/>
                  <a:gdLst>
                    <a:gd name="connsiteX0" fmla="*/ 192704 w 474348"/>
                    <a:gd name="connsiteY0" fmla="*/ 0 h 645319"/>
                    <a:gd name="connsiteX1" fmla="*/ 281644 w 474348"/>
                    <a:gd name="connsiteY1" fmla="*/ 0 h 645319"/>
                    <a:gd name="connsiteX2" fmla="*/ 474348 w 474348"/>
                    <a:gd name="connsiteY2" fmla="*/ 192704 h 645319"/>
                    <a:gd name="connsiteX3" fmla="*/ 474348 w 474348"/>
                    <a:gd name="connsiteY3" fmla="*/ 645319 h 645319"/>
                    <a:gd name="connsiteX4" fmla="*/ 474348 w 474348"/>
                    <a:gd name="connsiteY4" fmla="*/ 645319 h 645319"/>
                    <a:gd name="connsiteX5" fmla="*/ 0 w 474348"/>
                    <a:gd name="connsiteY5" fmla="*/ 645319 h 645319"/>
                    <a:gd name="connsiteX6" fmla="*/ 0 w 474348"/>
                    <a:gd name="connsiteY6" fmla="*/ 645319 h 645319"/>
                    <a:gd name="connsiteX7" fmla="*/ 0 w 474348"/>
                    <a:gd name="connsiteY7" fmla="*/ 192704 h 645319"/>
                    <a:gd name="connsiteX8" fmla="*/ 192704 w 474348"/>
                    <a:gd name="connsiteY8" fmla="*/ 0 h 645319"/>
                    <a:gd name="connsiteX0" fmla="*/ 192704 w 474348"/>
                    <a:gd name="connsiteY0" fmla="*/ 0 h 645319"/>
                    <a:gd name="connsiteX1" fmla="*/ 281644 w 474348"/>
                    <a:gd name="connsiteY1" fmla="*/ 0 h 645319"/>
                    <a:gd name="connsiteX2" fmla="*/ 474348 w 474348"/>
                    <a:gd name="connsiteY2" fmla="*/ 192704 h 645319"/>
                    <a:gd name="connsiteX3" fmla="*/ 474348 w 474348"/>
                    <a:gd name="connsiteY3" fmla="*/ 645319 h 645319"/>
                    <a:gd name="connsiteX4" fmla="*/ 474348 w 474348"/>
                    <a:gd name="connsiteY4" fmla="*/ 645319 h 645319"/>
                    <a:gd name="connsiteX5" fmla="*/ 248129 w 474348"/>
                    <a:gd name="connsiteY5" fmla="*/ 645319 h 645319"/>
                    <a:gd name="connsiteX6" fmla="*/ 0 w 474348"/>
                    <a:gd name="connsiteY6" fmla="*/ 645319 h 645319"/>
                    <a:gd name="connsiteX7" fmla="*/ 0 w 474348"/>
                    <a:gd name="connsiteY7" fmla="*/ 645319 h 645319"/>
                    <a:gd name="connsiteX8" fmla="*/ 0 w 474348"/>
                    <a:gd name="connsiteY8" fmla="*/ 192704 h 645319"/>
                    <a:gd name="connsiteX9" fmla="*/ 192704 w 474348"/>
                    <a:gd name="connsiteY9" fmla="*/ 0 h 645319"/>
                    <a:gd name="connsiteX0" fmla="*/ 192704 w 474348"/>
                    <a:gd name="connsiteY0" fmla="*/ 2381 h 647700"/>
                    <a:gd name="connsiteX1" fmla="*/ 240986 w 474348"/>
                    <a:gd name="connsiteY1" fmla="*/ 0 h 647700"/>
                    <a:gd name="connsiteX2" fmla="*/ 281644 w 474348"/>
                    <a:gd name="connsiteY2" fmla="*/ 2381 h 647700"/>
                    <a:gd name="connsiteX3" fmla="*/ 474348 w 474348"/>
                    <a:gd name="connsiteY3" fmla="*/ 195085 h 647700"/>
                    <a:gd name="connsiteX4" fmla="*/ 474348 w 474348"/>
                    <a:gd name="connsiteY4" fmla="*/ 647700 h 647700"/>
                    <a:gd name="connsiteX5" fmla="*/ 474348 w 474348"/>
                    <a:gd name="connsiteY5" fmla="*/ 647700 h 647700"/>
                    <a:gd name="connsiteX6" fmla="*/ 248129 w 474348"/>
                    <a:gd name="connsiteY6" fmla="*/ 647700 h 647700"/>
                    <a:gd name="connsiteX7" fmla="*/ 0 w 474348"/>
                    <a:gd name="connsiteY7" fmla="*/ 647700 h 647700"/>
                    <a:gd name="connsiteX8" fmla="*/ 0 w 474348"/>
                    <a:gd name="connsiteY8" fmla="*/ 647700 h 647700"/>
                    <a:gd name="connsiteX9" fmla="*/ 0 w 474348"/>
                    <a:gd name="connsiteY9" fmla="*/ 195085 h 647700"/>
                    <a:gd name="connsiteX10" fmla="*/ 192704 w 474348"/>
                    <a:gd name="connsiteY10" fmla="*/ 2381 h 647700"/>
                    <a:gd name="connsiteX0" fmla="*/ 192704 w 474348"/>
                    <a:gd name="connsiteY0" fmla="*/ 42862 h 688181"/>
                    <a:gd name="connsiteX1" fmla="*/ 240986 w 474348"/>
                    <a:gd name="connsiteY1" fmla="*/ 0 h 688181"/>
                    <a:gd name="connsiteX2" fmla="*/ 281644 w 474348"/>
                    <a:gd name="connsiteY2" fmla="*/ 42862 h 688181"/>
                    <a:gd name="connsiteX3" fmla="*/ 474348 w 474348"/>
                    <a:gd name="connsiteY3" fmla="*/ 235566 h 688181"/>
                    <a:gd name="connsiteX4" fmla="*/ 474348 w 474348"/>
                    <a:gd name="connsiteY4" fmla="*/ 688181 h 688181"/>
                    <a:gd name="connsiteX5" fmla="*/ 474348 w 474348"/>
                    <a:gd name="connsiteY5" fmla="*/ 688181 h 688181"/>
                    <a:gd name="connsiteX6" fmla="*/ 248129 w 474348"/>
                    <a:gd name="connsiteY6" fmla="*/ 688181 h 688181"/>
                    <a:gd name="connsiteX7" fmla="*/ 0 w 474348"/>
                    <a:gd name="connsiteY7" fmla="*/ 688181 h 688181"/>
                    <a:gd name="connsiteX8" fmla="*/ 0 w 474348"/>
                    <a:gd name="connsiteY8" fmla="*/ 688181 h 688181"/>
                    <a:gd name="connsiteX9" fmla="*/ 0 w 474348"/>
                    <a:gd name="connsiteY9" fmla="*/ 235566 h 688181"/>
                    <a:gd name="connsiteX10" fmla="*/ 192704 w 474348"/>
                    <a:gd name="connsiteY10" fmla="*/ 42862 h 688181"/>
                    <a:gd name="connsiteX0" fmla="*/ 192704 w 474348"/>
                    <a:gd name="connsiteY0" fmla="*/ 23812 h 669131"/>
                    <a:gd name="connsiteX1" fmla="*/ 265690 w 474348"/>
                    <a:gd name="connsiteY1" fmla="*/ 0 h 669131"/>
                    <a:gd name="connsiteX2" fmla="*/ 281644 w 474348"/>
                    <a:gd name="connsiteY2" fmla="*/ 23812 h 669131"/>
                    <a:gd name="connsiteX3" fmla="*/ 474348 w 474348"/>
                    <a:gd name="connsiteY3" fmla="*/ 216516 h 669131"/>
                    <a:gd name="connsiteX4" fmla="*/ 474348 w 474348"/>
                    <a:gd name="connsiteY4" fmla="*/ 669131 h 669131"/>
                    <a:gd name="connsiteX5" fmla="*/ 474348 w 474348"/>
                    <a:gd name="connsiteY5" fmla="*/ 669131 h 669131"/>
                    <a:gd name="connsiteX6" fmla="*/ 248129 w 474348"/>
                    <a:gd name="connsiteY6" fmla="*/ 669131 h 669131"/>
                    <a:gd name="connsiteX7" fmla="*/ 0 w 474348"/>
                    <a:gd name="connsiteY7" fmla="*/ 669131 h 669131"/>
                    <a:gd name="connsiteX8" fmla="*/ 0 w 474348"/>
                    <a:gd name="connsiteY8" fmla="*/ 669131 h 669131"/>
                    <a:gd name="connsiteX9" fmla="*/ 0 w 474348"/>
                    <a:gd name="connsiteY9" fmla="*/ 216516 h 669131"/>
                    <a:gd name="connsiteX10" fmla="*/ 192704 w 474348"/>
                    <a:gd name="connsiteY10" fmla="*/ 23812 h 669131"/>
                    <a:gd name="connsiteX0" fmla="*/ 192704 w 474348"/>
                    <a:gd name="connsiteY0" fmla="*/ 23812 h 669131"/>
                    <a:gd name="connsiteX1" fmla="*/ 265690 w 474348"/>
                    <a:gd name="connsiteY1" fmla="*/ 0 h 669131"/>
                    <a:gd name="connsiteX2" fmla="*/ 281644 w 474348"/>
                    <a:gd name="connsiteY2" fmla="*/ 23812 h 669131"/>
                    <a:gd name="connsiteX3" fmla="*/ 474348 w 474348"/>
                    <a:gd name="connsiteY3" fmla="*/ 216516 h 669131"/>
                    <a:gd name="connsiteX4" fmla="*/ 474348 w 474348"/>
                    <a:gd name="connsiteY4" fmla="*/ 669131 h 669131"/>
                    <a:gd name="connsiteX5" fmla="*/ 474348 w 474348"/>
                    <a:gd name="connsiteY5" fmla="*/ 669131 h 669131"/>
                    <a:gd name="connsiteX6" fmla="*/ 248129 w 474348"/>
                    <a:gd name="connsiteY6" fmla="*/ 669131 h 669131"/>
                    <a:gd name="connsiteX7" fmla="*/ 0 w 474348"/>
                    <a:gd name="connsiteY7" fmla="*/ 669131 h 669131"/>
                    <a:gd name="connsiteX8" fmla="*/ 0 w 474348"/>
                    <a:gd name="connsiteY8" fmla="*/ 669131 h 669131"/>
                    <a:gd name="connsiteX9" fmla="*/ 0 w 474348"/>
                    <a:gd name="connsiteY9" fmla="*/ 216516 h 669131"/>
                    <a:gd name="connsiteX10" fmla="*/ 192704 w 474348"/>
                    <a:gd name="connsiteY10" fmla="*/ 23812 h 669131"/>
                    <a:gd name="connsiteX0" fmla="*/ 192704 w 474348"/>
                    <a:gd name="connsiteY0" fmla="*/ 23812 h 669131"/>
                    <a:gd name="connsiteX1" fmla="*/ 265690 w 474348"/>
                    <a:gd name="connsiteY1" fmla="*/ 0 h 669131"/>
                    <a:gd name="connsiteX2" fmla="*/ 281644 w 474348"/>
                    <a:gd name="connsiteY2" fmla="*/ 23812 h 669131"/>
                    <a:gd name="connsiteX3" fmla="*/ 474348 w 474348"/>
                    <a:gd name="connsiteY3" fmla="*/ 216516 h 669131"/>
                    <a:gd name="connsiteX4" fmla="*/ 474348 w 474348"/>
                    <a:gd name="connsiteY4" fmla="*/ 669131 h 669131"/>
                    <a:gd name="connsiteX5" fmla="*/ 474348 w 474348"/>
                    <a:gd name="connsiteY5" fmla="*/ 669131 h 669131"/>
                    <a:gd name="connsiteX6" fmla="*/ 248129 w 474348"/>
                    <a:gd name="connsiteY6" fmla="*/ 669131 h 669131"/>
                    <a:gd name="connsiteX7" fmla="*/ 0 w 474348"/>
                    <a:gd name="connsiteY7" fmla="*/ 669131 h 669131"/>
                    <a:gd name="connsiteX8" fmla="*/ 0 w 474348"/>
                    <a:gd name="connsiteY8" fmla="*/ 669131 h 669131"/>
                    <a:gd name="connsiteX9" fmla="*/ 0 w 474348"/>
                    <a:gd name="connsiteY9" fmla="*/ 216516 h 669131"/>
                    <a:gd name="connsiteX10" fmla="*/ 192704 w 474348"/>
                    <a:gd name="connsiteY10" fmla="*/ 23812 h 669131"/>
                    <a:gd name="connsiteX0" fmla="*/ 192704 w 474348"/>
                    <a:gd name="connsiteY0" fmla="*/ 23812 h 669131"/>
                    <a:gd name="connsiteX1" fmla="*/ 265690 w 474348"/>
                    <a:gd name="connsiteY1" fmla="*/ 0 h 669131"/>
                    <a:gd name="connsiteX2" fmla="*/ 281644 w 474348"/>
                    <a:gd name="connsiteY2" fmla="*/ 23812 h 669131"/>
                    <a:gd name="connsiteX3" fmla="*/ 474348 w 474348"/>
                    <a:gd name="connsiteY3" fmla="*/ 216516 h 669131"/>
                    <a:gd name="connsiteX4" fmla="*/ 474348 w 474348"/>
                    <a:gd name="connsiteY4" fmla="*/ 669131 h 669131"/>
                    <a:gd name="connsiteX5" fmla="*/ 474348 w 474348"/>
                    <a:gd name="connsiteY5" fmla="*/ 669131 h 669131"/>
                    <a:gd name="connsiteX6" fmla="*/ 248129 w 474348"/>
                    <a:gd name="connsiteY6" fmla="*/ 669131 h 669131"/>
                    <a:gd name="connsiteX7" fmla="*/ 0 w 474348"/>
                    <a:gd name="connsiteY7" fmla="*/ 669131 h 669131"/>
                    <a:gd name="connsiteX8" fmla="*/ 0 w 474348"/>
                    <a:gd name="connsiteY8" fmla="*/ 669131 h 669131"/>
                    <a:gd name="connsiteX9" fmla="*/ 0 w 474348"/>
                    <a:gd name="connsiteY9" fmla="*/ 216516 h 669131"/>
                    <a:gd name="connsiteX10" fmla="*/ 192704 w 474348"/>
                    <a:gd name="connsiteY10" fmla="*/ 23812 h 669131"/>
                    <a:gd name="connsiteX0" fmla="*/ 192704 w 474348"/>
                    <a:gd name="connsiteY0" fmla="*/ 23812 h 669131"/>
                    <a:gd name="connsiteX1" fmla="*/ 265690 w 474348"/>
                    <a:gd name="connsiteY1" fmla="*/ 0 h 669131"/>
                    <a:gd name="connsiteX2" fmla="*/ 281644 w 474348"/>
                    <a:gd name="connsiteY2" fmla="*/ 23812 h 669131"/>
                    <a:gd name="connsiteX3" fmla="*/ 474348 w 474348"/>
                    <a:gd name="connsiteY3" fmla="*/ 216516 h 669131"/>
                    <a:gd name="connsiteX4" fmla="*/ 474348 w 474348"/>
                    <a:gd name="connsiteY4" fmla="*/ 669131 h 669131"/>
                    <a:gd name="connsiteX5" fmla="*/ 474348 w 474348"/>
                    <a:gd name="connsiteY5" fmla="*/ 669131 h 669131"/>
                    <a:gd name="connsiteX6" fmla="*/ 248129 w 474348"/>
                    <a:gd name="connsiteY6" fmla="*/ 669131 h 669131"/>
                    <a:gd name="connsiteX7" fmla="*/ 0 w 474348"/>
                    <a:gd name="connsiteY7" fmla="*/ 669131 h 669131"/>
                    <a:gd name="connsiteX8" fmla="*/ 0 w 474348"/>
                    <a:gd name="connsiteY8" fmla="*/ 669131 h 669131"/>
                    <a:gd name="connsiteX9" fmla="*/ 0 w 474348"/>
                    <a:gd name="connsiteY9" fmla="*/ 216516 h 669131"/>
                    <a:gd name="connsiteX10" fmla="*/ 192704 w 474348"/>
                    <a:gd name="connsiteY10" fmla="*/ 23812 h 669131"/>
                    <a:gd name="connsiteX0" fmla="*/ 192704 w 474348"/>
                    <a:gd name="connsiteY0" fmla="*/ 23812 h 669131"/>
                    <a:gd name="connsiteX1" fmla="*/ 265690 w 474348"/>
                    <a:gd name="connsiteY1" fmla="*/ 0 h 669131"/>
                    <a:gd name="connsiteX2" fmla="*/ 299854 w 474348"/>
                    <a:gd name="connsiteY2" fmla="*/ 24247 h 669131"/>
                    <a:gd name="connsiteX3" fmla="*/ 474348 w 474348"/>
                    <a:gd name="connsiteY3" fmla="*/ 216516 h 669131"/>
                    <a:gd name="connsiteX4" fmla="*/ 474348 w 474348"/>
                    <a:gd name="connsiteY4" fmla="*/ 669131 h 669131"/>
                    <a:gd name="connsiteX5" fmla="*/ 474348 w 474348"/>
                    <a:gd name="connsiteY5" fmla="*/ 669131 h 669131"/>
                    <a:gd name="connsiteX6" fmla="*/ 248129 w 474348"/>
                    <a:gd name="connsiteY6" fmla="*/ 669131 h 669131"/>
                    <a:gd name="connsiteX7" fmla="*/ 0 w 474348"/>
                    <a:gd name="connsiteY7" fmla="*/ 669131 h 669131"/>
                    <a:gd name="connsiteX8" fmla="*/ 0 w 474348"/>
                    <a:gd name="connsiteY8" fmla="*/ 669131 h 669131"/>
                    <a:gd name="connsiteX9" fmla="*/ 0 w 474348"/>
                    <a:gd name="connsiteY9" fmla="*/ 216516 h 669131"/>
                    <a:gd name="connsiteX10" fmla="*/ 192704 w 474348"/>
                    <a:gd name="connsiteY10" fmla="*/ 23812 h 669131"/>
                    <a:gd name="connsiteX0" fmla="*/ 192704 w 474348"/>
                    <a:gd name="connsiteY0" fmla="*/ 23812 h 669131"/>
                    <a:gd name="connsiteX1" fmla="*/ 265690 w 474348"/>
                    <a:gd name="connsiteY1" fmla="*/ 0 h 669131"/>
                    <a:gd name="connsiteX2" fmla="*/ 299854 w 474348"/>
                    <a:gd name="connsiteY2" fmla="*/ 24247 h 669131"/>
                    <a:gd name="connsiteX3" fmla="*/ 474348 w 474348"/>
                    <a:gd name="connsiteY3" fmla="*/ 216516 h 669131"/>
                    <a:gd name="connsiteX4" fmla="*/ 474348 w 474348"/>
                    <a:gd name="connsiteY4" fmla="*/ 669131 h 669131"/>
                    <a:gd name="connsiteX5" fmla="*/ 474348 w 474348"/>
                    <a:gd name="connsiteY5" fmla="*/ 669131 h 669131"/>
                    <a:gd name="connsiteX6" fmla="*/ 248129 w 474348"/>
                    <a:gd name="connsiteY6" fmla="*/ 669131 h 669131"/>
                    <a:gd name="connsiteX7" fmla="*/ 0 w 474348"/>
                    <a:gd name="connsiteY7" fmla="*/ 669131 h 669131"/>
                    <a:gd name="connsiteX8" fmla="*/ 0 w 474348"/>
                    <a:gd name="connsiteY8" fmla="*/ 669131 h 669131"/>
                    <a:gd name="connsiteX9" fmla="*/ 0 w 474348"/>
                    <a:gd name="connsiteY9" fmla="*/ 216516 h 669131"/>
                    <a:gd name="connsiteX10" fmla="*/ 192704 w 474348"/>
                    <a:gd name="connsiteY10" fmla="*/ 23812 h 669131"/>
                    <a:gd name="connsiteX0" fmla="*/ 192704 w 474348"/>
                    <a:gd name="connsiteY0" fmla="*/ 23812 h 669131"/>
                    <a:gd name="connsiteX1" fmla="*/ 265690 w 474348"/>
                    <a:gd name="connsiteY1" fmla="*/ 0 h 669131"/>
                    <a:gd name="connsiteX2" fmla="*/ 299854 w 474348"/>
                    <a:gd name="connsiteY2" fmla="*/ 24247 h 669131"/>
                    <a:gd name="connsiteX3" fmla="*/ 474348 w 474348"/>
                    <a:gd name="connsiteY3" fmla="*/ 216516 h 669131"/>
                    <a:gd name="connsiteX4" fmla="*/ 474348 w 474348"/>
                    <a:gd name="connsiteY4" fmla="*/ 669131 h 669131"/>
                    <a:gd name="connsiteX5" fmla="*/ 474348 w 474348"/>
                    <a:gd name="connsiteY5" fmla="*/ 669131 h 669131"/>
                    <a:gd name="connsiteX6" fmla="*/ 248129 w 474348"/>
                    <a:gd name="connsiteY6" fmla="*/ 669131 h 669131"/>
                    <a:gd name="connsiteX7" fmla="*/ 0 w 474348"/>
                    <a:gd name="connsiteY7" fmla="*/ 669131 h 669131"/>
                    <a:gd name="connsiteX8" fmla="*/ 0 w 474348"/>
                    <a:gd name="connsiteY8" fmla="*/ 669131 h 669131"/>
                    <a:gd name="connsiteX9" fmla="*/ 0 w 474348"/>
                    <a:gd name="connsiteY9" fmla="*/ 216516 h 669131"/>
                    <a:gd name="connsiteX10" fmla="*/ 192704 w 474348"/>
                    <a:gd name="connsiteY10" fmla="*/ 23812 h 669131"/>
                    <a:gd name="connsiteX0" fmla="*/ 192704 w 474348"/>
                    <a:gd name="connsiteY0" fmla="*/ 23812 h 669131"/>
                    <a:gd name="connsiteX1" fmla="*/ 265690 w 474348"/>
                    <a:gd name="connsiteY1" fmla="*/ 0 h 669131"/>
                    <a:gd name="connsiteX2" fmla="*/ 299854 w 474348"/>
                    <a:gd name="connsiteY2" fmla="*/ 24247 h 669131"/>
                    <a:gd name="connsiteX3" fmla="*/ 474348 w 474348"/>
                    <a:gd name="connsiteY3" fmla="*/ 216516 h 669131"/>
                    <a:gd name="connsiteX4" fmla="*/ 474348 w 474348"/>
                    <a:gd name="connsiteY4" fmla="*/ 669131 h 669131"/>
                    <a:gd name="connsiteX5" fmla="*/ 474348 w 474348"/>
                    <a:gd name="connsiteY5" fmla="*/ 669131 h 669131"/>
                    <a:gd name="connsiteX6" fmla="*/ 248129 w 474348"/>
                    <a:gd name="connsiteY6" fmla="*/ 669131 h 669131"/>
                    <a:gd name="connsiteX7" fmla="*/ 0 w 474348"/>
                    <a:gd name="connsiteY7" fmla="*/ 669131 h 669131"/>
                    <a:gd name="connsiteX8" fmla="*/ 0 w 474348"/>
                    <a:gd name="connsiteY8" fmla="*/ 669131 h 669131"/>
                    <a:gd name="connsiteX9" fmla="*/ 0 w 474348"/>
                    <a:gd name="connsiteY9" fmla="*/ 216516 h 669131"/>
                    <a:gd name="connsiteX10" fmla="*/ 192704 w 474348"/>
                    <a:gd name="connsiteY10" fmla="*/ 23812 h 669131"/>
                    <a:gd name="connsiteX0" fmla="*/ 192704 w 474348"/>
                    <a:gd name="connsiteY0" fmla="*/ 23812 h 669131"/>
                    <a:gd name="connsiteX1" fmla="*/ 265690 w 474348"/>
                    <a:gd name="connsiteY1" fmla="*/ 0 h 669131"/>
                    <a:gd name="connsiteX2" fmla="*/ 317751 w 474348"/>
                    <a:gd name="connsiteY2" fmla="*/ 24078 h 669131"/>
                    <a:gd name="connsiteX3" fmla="*/ 474348 w 474348"/>
                    <a:gd name="connsiteY3" fmla="*/ 216516 h 669131"/>
                    <a:gd name="connsiteX4" fmla="*/ 474348 w 474348"/>
                    <a:gd name="connsiteY4" fmla="*/ 669131 h 669131"/>
                    <a:gd name="connsiteX5" fmla="*/ 474348 w 474348"/>
                    <a:gd name="connsiteY5" fmla="*/ 669131 h 669131"/>
                    <a:gd name="connsiteX6" fmla="*/ 248129 w 474348"/>
                    <a:gd name="connsiteY6" fmla="*/ 669131 h 669131"/>
                    <a:gd name="connsiteX7" fmla="*/ 0 w 474348"/>
                    <a:gd name="connsiteY7" fmla="*/ 669131 h 669131"/>
                    <a:gd name="connsiteX8" fmla="*/ 0 w 474348"/>
                    <a:gd name="connsiteY8" fmla="*/ 669131 h 669131"/>
                    <a:gd name="connsiteX9" fmla="*/ 0 w 474348"/>
                    <a:gd name="connsiteY9" fmla="*/ 216516 h 669131"/>
                    <a:gd name="connsiteX10" fmla="*/ 192704 w 474348"/>
                    <a:gd name="connsiteY10" fmla="*/ 23812 h 669131"/>
                    <a:gd name="connsiteX0" fmla="*/ 192704 w 474348"/>
                    <a:gd name="connsiteY0" fmla="*/ 23812 h 669131"/>
                    <a:gd name="connsiteX1" fmla="*/ 265690 w 474348"/>
                    <a:gd name="connsiteY1" fmla="*/ 0 h 669131"/>
                    <a:gd name="connsiteX2" fmla="*/ 317751 w 474348"/>
                    <a:gd name="connsiteY2" fmla="*/ 24078 h 669131"/>
                    <a:gd name="connsiteX3" fmla="*/ 474348 w 474348"/>
                    <a:gd name="connsiteY3" fmla="*/ 216516 h 669131"/>
                    <a:gd name="connsiteX4" fmla="*/ 474348 w 474348"/>
                    <a:gd name="connsiteY4" fmla="*/ 669131 h 669131"/>
                    <a:gd name="connsiteX5" fmla="*/ 474348 w 474348"/>
                    <a:gd name="connsiteY5" fmla="*/ 669131 h 669131"/>
                    <a:gd name="connsiteX6" fmla="*/ 248129 w 474348"/>
                    <a:gd name="connsiteY6" fmla="*/ 669131 h 669131"/>
                    <a:gd name="connsiteX7" fmla="*/ 0 w 474348"/>
                    <a:gd name="connsiteY7" fmla="*/ 669131 h 669131"/>
                    <a:gd name="connsiteX8" fmla="*/ 0 w 474348"/>
                    <a:gd name="connsiteY8" fmla="*/ 669131 h 669131"/>
                    <a:gd name="connsiteX9" fmla="*/ 0 w 474348"/>
                    <a:gd name="connsiteY9" fmla="*/ 216516 h 669131"/>
                    <a:gd name="connsiteX10" fmla="*/ 192704 w 474348"/>
                    <a:gd name="connsiteY10" fmla="*/ 23812 h 6691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74348" h="669131">
                      <a:moveTo>
                        <a:pt x="192704" y="23812"/>
                      </a:moveTo>
                      <a:cubicBezTo>
                        <a:pt x="263527" y="1482"/>
                        <a:pt x="241361" y="7937"/>
                        <a:pt x="265690" y="0"/>
                      </a:cubicBezTo>
                      <a:cubicBezTo>
                        <a:pt x="271008" y="7937"/>
                        <a:pt x="263093" y="-988"/>
                        <a:pt x="317751" y="24078"/>
                      </a:cubicBezTo>
                      <a:cubicBezTo>
                        <a:pt x="369579" y="48860"/>
                        <a:pt x="474348" y="110089"/>
                        <a:pt x="474348" y="216516"/>
                      </a:cubicBezTo>
                      <a:lnTo>
                        <a:pt x="474348" y="669131"/>
                      </a:lnTo>
                      <a:lnTo>
                        <a:pt x="474348" y="669131"/>
                      </a:lnTo>
                      <a:lnTo>
                        <a:pt x="248129" y="669131"/>
                      </a:lnTo>
                      <a:lnTo>
                        <a:pt x="0" y="669131"/>
                      </a:lnTo>
                      <a:lnTo>
                        <a:pt x="0" y="669131"/>
                      </a:lnTo>
                      <a:lnTo>
                        <a:pt x="0" y="216516"/>
                      </a:lnTo>
                      <a:cubicBezTo>
                        <a:pt x="0" y="110089"/>
                        <a:pt x="141340" y="43314"/>
                        <a:pt x="192704" y="23812"/>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40" name="Round Same Side Corner Rectangle 11"/>
                <p:cNvSpPr/>
                <p:nvPr/>
              </p:nvSpPr>
              <p:spPr>
                <a:xfrm rot="15060000">
                  <a:off x="1454696" y="1026331"/>
                  <a:ext cx="251846" cy="2611946"/>
                </a:xfrm>
                <a:custGeom>
                  <a:avLst/>
                  <a:gdLst>
                    <a:gd name="connsiteX0" fmla="*/ 192704 w 474348"/>
                    <a:gd name="connsiteY0" fmla="*/ 0 h 645319"/>
                    <a:gd name="connsiteX1" fmla="*/ 281644 w 474348"/>
                    <a:gd name="connsiteY1" fmla="*/ 0 h 645319"/>
                    <a:gd name="connsiteX2" fmla="*/ 474348 w 474348"/>
                    <a:gd name="connsiteY2" fmla="*/ 192704 h 645319"/>
                    <a:gd name="connsiteX3" fmla="*/ 474348 w 474348"/>
                    <a:gd name="connsiteY3" fmla="*/ 645319 h 645319"/>
                    <a:gd name="connsiteX4" fmla="*/ 474348 w 474348"/>
                    <a:gd name="connsiteY4" fmla="*/ 645319 h 645319"/>
                    <a:gd name="connsiteX5" fmla="*/ 0 w 474348"/>
                    <a:gd name="connsiteY5" fmla="*/ 645319 h 645319"/>
                    <a:gd name="connsiteX6" fmla="*/ 0 w 474348"/>
                    <a:gd name="connsiteY6" fmla="*/ 645319 h 645319"/>
                    <a:gd name="connsiteX7" fmla="*/ 0 w 474348"/>
                    <a:gd name="connsiteY7" fmla="*/ 192704 h 645319"/>
                    <a:gd name="connsiteX8" fmla="*/ 192704 w 474348"/>
                    <a:gd name="connsiteY8" fmla="*/ 0 h 645319"/>
                    <a:gd name="connsiteX0" fmla="*/ 192704 w 474348"/>
                    <a:gd name="connsiteY0" fmla="*/ 0 h 645319"/>
                    <a:gd name="connsiteX1" fmla="*/ 281644 w 474348"/>
                    <a:gd name="connsiteY1" fmla="*/ 0 h 645319"/>
                    <a:gd name="connsiteX2" fmla="*/ 474348 w 474348"/>
                    <a:gd name="connsiteY2" fmla="*/ 192704 h 645319"/>
                    <a:gd name="connsiteX3" fmla="*/ 474348 w 474348"/>
                    <a:gd name="connsiteY3" fmla="*/ 645319 h 645319"/>
                    <a:gd name="connsiteX4" fmla="*/ 474348 w 474348"/>
                    <a:gd name="connsiteY4" fmla="*/ 645319 h 645319"/>
                    <a:gd name="connsiteX5" fmla="*/ 248129 w 474348"/>
                    <a:gd name="connsiteY5" fmla="*/ 645319 h 645319"/>
                    <a:gd name="connsiteX6" fmla="*/ 0 w 474348"/>
                    <a:gd name="connsiteY6" fmla="*/ 645319 h 645319"/>
                    <a:gd name="connsiteX7" fmla="*/ 0 w 474348"/>
                    <a:gd name="connsiteY7" fmla="*/ 645319 h 645319"/>
                    <a:gd name="connsiteX8" fmla="*/ 0 w 474348"/>
                    <a:gd name="connsiteY8" fmla="*/ 192704 h 645319"/>
                    <a:gd name="connsiteX9" fmla="*/ 192704 w 474348"/>
                    <a:gd name="connsiteY9" fmla="*/ 0 h 645319"/>
                    <a:gd name="connsiteX0" fmla="*/ 192704 w 474348"/>
                    <a:gd name="connsiteY0" fmla="*/ 2381 h 647700"/>
                    <a:gd name="connsiteX1" fmla="*/ 240986 w 474348"/>
                    <a:gd name="connsiteY1" fmla="*/ 0 h 647700"/>
                    <a:gd name="connsiteX2" fmla="*/ 281644 w 474348"/>
                    <a:gd name="connsiteY2" fmla="*/ 2381 h 647700"/>
                    <a:gd name="connsiteX3" fmla="*/ 474348 w 474348"/>
                    <a:gd name="connsiteY3" fmla="*/ 195085 h 647700"/>
                    <a:gd name="connsiteX4" fmla="*/ 474348 w 474348"/>
                    <a:gd name="connsiteY4" fmla="*/ 647700 h 647700"/>
                    <a:gd name="connsiteX5" fmla="*/ 474348 w 474348"/>
                    <a:gd name="connsiteY5" fmla="*/ 647700 h 647700"/>
                    <a:gd name="connsiteX6" fmla="*/ 248129 w 474348"/>
                    <a:gd name="connsiteY6" fmla="*/ 647700 h 647700"/>
                    <a:gd name="connsiteX7" fmla="*/ 0 w 474348"/>
                    <a:gd name="connsiteY7" fmla="*/ 647700 h 647700"/>
                    <a:gd name="connsiteX8" fmla="*/ 0 w 474348"/>
                    <a:gd name="connsiteY8" fmla="*/ 647700 h 647700"/>
                    <a:gd name="connsiteX9" fmla="*/ 0 w 474348"/>
                    <a:gd name="connsiteY9" fmla="*/ 195085 h 647700"/>
                    <a:gd name="connsiteX10" fmla="*/ 192704 w 474348"/>
                    <a:gd name="connsiteY10" fmla="*/ 2381 h 647700"/>
                    <a:gd name="connsiteX0" fmla="*/ 192704 w 474348"/>
                    <a:gd name="connsiteY0" fmla="*/ 42862 h 688181"/>
                    <a:gd name="connsiteX1" fmla="*/ 240986 w 474348"/>
                    <a:gd name="connsiteY1" fmla="*/ 0 h 688181"/>
                    <a:gd name="connsiteX2" fmla="*/ 281644 w 474348"/>
                    <a:gd name="connsiteY2" fmla="*/ 42862 h 688181"/>
                    <a:gd name="connsiteX3" fmla="*/ 474348 w 474348"/>
                    <a:gd name="connsiteY3" fmla="*/ 235566 h 688181"/>
                    <a:gd name="connsiteX4" fmla="*/ 474348 w 474348"/>
                    <a:gd name="connsiteY4" fmla="*/ 688181 h 688181"/>
                    <a:gd name="connsiteX5" fmla="*/ 474348 w 474348"/>
                    <a:gd name="connsiteY5" fmla="*/ 688181 h 688181"/>
                    <a:gd name="connsiteX6" fmla="*/ 248129 w 474348"/>
                    <a:gd name="connsiteY6" fmla="*/ 688181 h 688181"/>
                    <a:gd name="connsiteX7" fmla="*/ 0 w 474348"/>
                    <a:gd name="connsiteY7" fmla="*/ 688181 h 688181"/>
                    <a:gd name="connsiteX8" fmla="*/ 0 w 474348"/>
                    <a:gd name="connsiteY8" fmla="*/ 688181 h 688181"/>
                    <a:gd name="connsiteX9" fmla="*/ 0 w 474348"/>
                    <a:gd name="connsiteY9" fmla="*/ 235566 h 688181"/>
                    <a:gd name="connsiteX10" fmla="*/ 192704 w 474348"/>
                    <a:gd name="connsiteY10" fmla="*/ 42862 h 688181"/>
                    <a:gd name="connsiteX0" fmla="*/ 192704 w 474348"/>
                    <a:gd name="connsiteY0" fmla="*/ 23812 h 669131"/>
                    <a:gd name="connsiteX1" fmla="*/ 265690 w 474348"/>
                    <a:gd name="connsiteY1" fmla="*/ 0 h 669131"/>
                    <a:gd name="connsiteX2" fmla="*/ 281644 w 474348"/>
                    <a:gd name="connsiteY2" fmla="*/ 23812 h 669131"/>
                    <a:gd name="connsiteX3" fmla="*/ 474348 w 474348"/>
                    <a:gd name="connsiteY3" fmla="*/ 216516 h 669131"/>
                    <a:gd name="connsiteX4" fmla="*/ 474348 w 474348"/>
                    <a:gd name="connsiteY4" fmla="*/ 669131 h 669131"/>
                    <a:gd name="connsiteX5" fmla="*/ 474348 w 474348"/>
                    <a:gd name="connsiteY5" fmla="*/ 669131 h 669131"/>
                    <a:gd name="connsiteX6" fmla="*/ 248129 w 474348"/>
                    <a:gd name="connsiteY6" fmla="*/ 669131 h 669131"/>
                    <a:gd name="connsiteX7" fmla="*/ 0 w 474348"/>
                    <a:gd name="connsiteY7" fmla="*/ 669131 h 669131"/>
                    <a:gd name="connsiteX8" fmla="*/ 0 w 474348"/>
                    <a:gd name="connsiteY8" fmla="*/ 669131 h 669131"/>
                    <a:gd name="connsiteX9" fmla="*/ 0 w 474348"/>
                    <a:gd name="connsiteY9" fmla="*/ 216516 h 669131"/>
                    <a:gd name="connsiteX10" fmla="*/ 192704 w 474348"/>
                    <a:gd name="connsiteY10" fmla="*/ 23812 h 669131"/>
                    <a:gd name="connsiteX0" fmla="*/ 192704 w 474348"/>
                    <a:gd name="connsiteY0" fmla="*/ 23812 h 669131"/>
                    <a:gd name="connsiteX1" fmla="*/ 265690 w 474348"/>
                    <a:gd name="connsiteY1" fmla="*/ 0 h 669131"/>
                    <a:gd name="connsiteX2" fmla="*/ 281644 w 474348"/>
                    <a:gd name="connsiteY2" fmla="*/ 23812 h 669131"/>
                    <a:gd name="connsiteX3" fmla="*/ 474348 w 474348"/>
                    <a:gd name="connsiteY3" fmla="*/ 216516 h 669131"/>
                    <a:gd name="connsiteX4" fmla="*/ 474348 w 474348"/>
                    <a:gd name="connsiteY4" fmla="*/ 669131 h 669131"/>
                    <a:gd name="connsiteX5" fmla="*/ 474348 w 474348"/>
                    <a:gd name="connsiteY5" fmla="*/ 669131 h 669131"/>
                    <a:gd name="connsiteX6" fmla="*/ 248129 w 474348"/>
                    <a:gd name="connsiteY6" fmla="*/ 669131 h 669131"/>
                    <a:gd name="connsiteX7" fmla="*/ 0 w 474348"/>
                    <a:gd name="connsiteY7" fmla="*/ 669131 h 669131"/>
                    <a:gd name="connsiteX8" fmla="*/ 0 w 474348"/>
                    <a:gd name="connsiteY8" fmla="*/ 669131 h 669131"/>
                    <a:gd name="connsiteX9" fmla="*/ 0 w 474348"/>
                    <a:gd name="connsiteY9" fmla="*/ 216516 h 669131"/>
                    <a:gd name="connsiteX10" fmla="*/ 192704 w 474348"/>
                    <a:gd name="connsiteY10" fmla="*/ 23812 h 669131"/>
                    <a:gd name="connsiteX0" fmla="*/ 192704 w 474348"/>
                    <a:gd name="connsiteY0" fmla="*/ 23812 h 669131"/>
                    <a:gd name="connsiteX1" fmla="*/ 265690 w 474348"/>
                    <a:gd name="connsiteY1" fmla="*/ 0 h 669131"/>
                    <a:gd name="connsiteX2" fmla="*/ 281644 w 474348"/>
                    <a:gd name="connsiteY2" fmla="*/ 23812 h 669131"/>
                    <a:gd name="connsiteX3" fmla="*/ 474348 w 474348"/>
                    <a:gd name="connsiteY3" fmla="*/ 216516 h 669131"/>
                    <a:gd name="connsiteX4" fmla="*/ 474348 w 474348"/>
                    <a:gd name="connsiteY4" fmla="*/ 669131 h 669131"/>
                    <a:gd name="connsiteX5" fmla="*/ 474348 w 474348"/>
                    <a:gd name="connsiteY5" fmla="*/ 669131 h 669131"/>
                    <a:gd name="connsiteX6" fmla="*/ 248129 w 474348"/>
                    <a:gd name="connsiteY6" fmla="*/ 669131 h 669131"/>
                    <a:gd name="connsiteX7" fmla="*/ 0 w 474348"/>
                    <a:gd name="connsiteY7" fmla="*/ 669131 h 669131"/>
                    <a:gd name="connsiteX8" fmla="*/ 0 w 474348"/>
                    <a:gd name="connsiteY8" fmla="*/ 669131 h 669131"/>
                    <a:gd name="connsiteX9" fmla="*/ 0 w 474348"/>
                    <a:gd name="connsiteY9" fmla="*/ 216516 h 669131"/>
                    <a:gd name="connsiteX10" fmla="*/ 192704 w 474348"/>
                    <a:gd name="connsiteY10" fmla="*/ 23812 h 669131"/>
                    <a:gd name="connsiteX0" fmla="*/ 192704 w 474348"/>
                    <a:gd name="connsiteY0" fmla="*/ 23812 h 669131"/>
                    <a:gd name="connsiteX1" fmla="*/ 265690 w 474348"/>
                    <a:gd name="connsiteY1" fmla="*/ 0 h 669131"/>
                    <a:gd name="connsiteX2" fmla="*/ 314250 w 474348"/>
                    <a:gd name="connsiteY2" fmla="*/ 24047 h 669131"/>
                    <a:gd name="connsiteX3" fmla="*/ 474348 w 474348"/>
                    <a:gd name="connsiteY3" fmla="*/ 216516 h 669131"/>
                    <a:gd name="connsiteX4" fmla="*/ 474348 w 474348"/>
                    <a:gd name="connsiteY4" fmla="*/ 669131 h 669131"/>
                    <a:gd name="connsiteX5" fmla="*/ 474348 w 474348"/>
                    <a:gd name="connsiteY5" fmla="*/ 669131 h 669131"/>
                    <a:gd name="connsiteX6" fmla="*/ 248129 w 474348"/>
                    <a:gd name="connsiteY6" fmla="*/ 669131 h 669131"/>
                    <a:gd name="connsiteX7" fmla="*/ 0 w 474348"/>
                    <a:gd name="connsiteY7" fmla="*/ 669131 h 669131"/>
                    <a:gd name="connsiteX8" fmla="*/ 0 w 474348"/>
                    <a:gd name="connsiteY8" fmla="*/ 669131 h 669131"/>
                    <a:gd name="connsiteX9" fmla="*/ 0 w 474348"/>
                    <a:gd name="connsiteY9" fmla="*/ 216516 h 669131"/>
                    <a:gd name="connsiteX10" fmla="*/ 192704 w 474348"/>
                    <a:gd name="connsiteY10" fmla="*/ 23812 h 669131"/>
                    <a:gd name="connsiteX0" fmla="*/ 192704 w 474348"/>
                    <a:gd name="connsiteY0" fmla="*/ 23812 h 669131"/>
                    <a:gd name="connsiteX1" fmla="*/ 265690 w 474348"/>
                    <a:gd name="connsiteY1" fmla="*/ 0 h 669131"/>
                    <a:gd name="connsiteX2" fmla="*/ 314250 w 474348"/>
                    <a:gd name="connsiteY2" fmla="*/ 24047 h 669131"/>
                    <a:gd name="connsiteX3" fmla="*/ 474348 w 474348"/>
                    <a:gd name="connsiteY3" fmla="*/ 216516 h 669131"/>
                    <a:gd name="connsiteX4" fmla="*/ 474348 w 474348"/>
                    <a:gd name="connsiteY4" fmla="*/ 669131 h 669131"/>
                    <a:gd name="connsiteX5" fmla="*/ 474348 w 474348"/>
                    <a:gd name="connsiteY5" fmla="*/ 669131 h 669131"/>
                    <a:gd name="connsiteX6" fmla="*/ 248129 w 474348"/>
                    <a:gd name="connsiteY6" fmla="*/ 669131 h 669131"/>
                    <a:gd name="connsiteX7" fmla="*/ 0 w 474348"/>
                    <a:gd name="connsiteY7" fmla="*/ 669131 h 669131"/>
                    <a:gd name="connsiteX8" fmla="*/ 0 w 474348"/>
                    <a:gd name="connsiteY8" fmla="*/ 669131 h 669131"/>
                    <a:gd name="connsiteX9" fmla="*/ 0 w 474348"/>
                    <a:gd name="connsiteY9" fmla="*/ 216516 h 669131"/>
                    <a:gd name="connsiteX10" fmla="*/ 192704 w 474348"/>
                    <a:gd name="connsiteY10" fmla="*/ 23812 h 669131"/>
                    <a:gd name="connsiteX0" fmla="*/ 192704 w 474348"/>
                    <a:gd name="connsiteY0" fmla="*/ 23812 h 669131"/>
                    <a:gd name="connsiteX1" fmla="*/ 265690 w 474348"/>
                    <a:gd name="connsiteY1" fmla="*/ 0 h 669131"/>
                    <a:gd name="connsiteX2" fmla="*/ 314250 w 474348"/>
                    <a:gd name="connsiteY2" fmla="*/ 24047 h 669131"/>
                    <a:gd name="connsiteX3" fmla="*/ 474348 w 474348"/>
                    <a:gd name="connsiteY3" fmla="*/ 216516 h 669131"/>
                    <a:gd name="connsiteX4" fmla="*/ 474348 w 474348"/>
                    <a:gd name="connsiteY4" fmla="*/ 669131 h 669131"/>
                    <a:gd name="connsiteX5" fmla="*/ 474348 w 474348"/>
                    <a:gd name="connsiteY5" fmla="*/ 669131 h 669131"/>
                    <a:gd name="connsiteX6" fmla="*/ 248129 w 474348"/>
                    <a:gd name="connsiteY6" fmla="*/ 669131 h 669131"/>
                    <a:gd name="connsiteX7" fmla="*/ 0 w 474348"/>
                    <a:gd name="connsiteY7" fmla="*/ 669131 h 669131"/>
                    <a:gd name="connsiteX8" fmla="*/ 0 w 474348"/>
                    <a:gd name="connsiteY8" fmla="*/ 669131 h 669131"/>
                    <a:gd name="connsiteX9" fmla="*/ 0 w 474348"/>
                    <a:gd name="connsiteY9" fmla="*/ 216516 h 669131"/>
                    <a:gd name="connsiteX10" fmla="*/ 192704 w 474348"/>
                    <a:gd name="connsiteY10" fmla="*/ 23812 h 669131"/>
                    <a:gd name="connsiteX0" fmla="*/ 174282 w 474348"/>
                    <a:gd name="connsiteY0" fmla="*/ 23596 h 669131"/>
                    <a:gd name="connsiteX1" fmla="*/ 265690 w 474348"/>
                    <a:gd name="connsiteY1" fmla="*/ 0 h 669131"/>
                    <a:gd name="connsiteX2" fmla="*/ 314250 w 474348"/>
                    <a:gd name="connsiteY2" fmla="*/ 24047 h 669131"/>
                    <a:gd name="connsiteX3" fmla="*/ 474348 w 474348"/>
                    <a:gd name="connsiteY3" fmla="*/ 216516 h 669131"/>
                    <a:gd name="connsiteX4" fmla="*/ 474348 w 474348"/>
                    <a:gd name="connsiteY4" fmla="*/ 669131 h 669131"/>
                    <a:gd name="connsiteX5" fmla="*/ 474348 w 474348"/>
                    <a:gd name="connsiteY5" fmla="*/ 669131 h 669131"/>
                    <a:gd name="connsiteX6" fmla="*/ 248129 w 474348"/>
                    <a:gd name="connsiteY6" fmla="*/ 669131 h 669131"/>
                    <a:gd name="connsiteX7" fmla="*/ 0 w 474348"/>
                    <a:gd name="connsiteY7" fmla="*/ 669131 h 669131"/>
                    <a:gd name="connsiteX8" fmla="*/ 0 w 474348"/>
                    <a:gd name="connsiteY8" fmla="*/ 669131 h 669131"/>
                    <a:gd name="connsiteX9" fmla="*/ 0 w 474348"/>
                    <a:gd name="connsiteY9" fmla="*/ 216516 h 669131"/>
                    <a:gd name="connsiteX10" fmla="*/ 174282 w 474348"/>
                    <a:gd name="connsiteY10" fmla="*/ 23596 h 669131"/>
                    <a:gd name="connsiteX0" fmla="*/ 174282 w 474348"/>
                    <a:gd name="connsiteY0" fmla="*/ 24619 h 670154"/>
                    <a:gd name="connsiteX1" fmla="*/ 216121 w 474348"/>
                    <a:gd name="connsiteY1" fmla="*/ 0 h 670154"/>
                    <a:gd name="connsiteX2" fmla="*/ 314250 w 474348"/>
                    <a:gd name="connsiteY2" fmla="*/ 25070 h 670154"/>
                    <a:gd name="connsiteX3" fmla="*/ 474348 w 474348"/>
                    <a:gd name="connsiteY3" fmla="*/ 217539 h 670154"/>
                    <a:gd name="connsiteX4" fmla="*/ 474348 w 474348"/>
                    <a:gd name="connsiteY4" fmla="*/ 670154 h 670154"/>
                    <a:gd name="connsiteX5" fmla="*/ 474348 w 474348"/>
                    <a:gd name="connsiteY5" fmla="*/ 670154 h 670154"/>
                    <a:gd name="connsiteX6" fmla="*/ 248129 w 474348"/>
                    <a:gd name="connsiteY6" fmla="*/ 670154 h 670154"/>
                    <a:gd name="connsiteX7" fmla="*/ 0 w 474348"/>
                    <a:gd name="connsiteY7" fmla="*/ 670154 h 670154"/>
                    <a:gd name="connsiteX8" fmla="*/ 0 w 474348"/>
                    <a:gd name="connsiteY8" fmla="*/ 670154 h 670154"/>
                    <a:gd name="connsiteX9" fmla="*/ 0 w 474348"/>
                    <a:gd name="connsiteY9" fmla="*/ 217539 h 670154"/>
                    <a:gd name="connsiteX10" fmla="*/ 174282 w 474348"/>
                    <a:gd name="connsiteY10" fmla="*/ 24619 h 670154"/>
                    <a:gd name="connsiteX0" fmla="*/ 174282 w 474348"/>
                    <a:gd name="connsiteY0" fmla="*/ 24619 h 670154"/>
                    <a:gd name="connsiteX1" fmla="*/ 216121 w 474348"/>
                    <a:gd name="connsiteY1" fmla="*/ 0 h 670154"/>
                    <a:gd name="connsiteX2" fmla="*/ 314250 w 474348"/>
                    <a:gd name="connsiteY2" fmla="*/ 25070 h 670154"/>
                    <a:gd name="connsiteX3" fmla="*/ 474348 w 474348"/>
                    <a:gd name="connsiteY3" fmla="*/ 217539 h 670154"/>
                    <a:gd name="connsiteX4" fmla="*/ 474348 w 474348"/>
                    <a:gd name="connsiteY4" fmla="*/ 670154 h 670154"/>
                    <a:gd name="connsiteX5" fmla="*/ 474348 w 474348"/>
                    <a:gd name="connsiteY5" fmla="*/ 670154 h 670154"/>
                    <a:gd name="connsiteX6" fmla="*/ 248129 w 474348"/>
                    <a:gd name="connsiteY6" fmla="*/ 670154 h 670154"/>
                    <a:gd name="connsiteX7" fmla="*/ 0 w 474348"/>
                    <a:gd name="connsiteY7" fmla="*/ 670154 h 670154"/>
                    <a:gd name="connsiteX8" fmla="*/ 0 w 474348"/>
                    <a:gd name="connsiteY8" fmla="*/ 670154 h 670154"/>
                    <a:gd name="connsiteX9" fmla="*/ 0 w 474348"/>
                    <a:gd name="connsiteY9" fmla="*/ 217539 h 670154"/>
                    <a:gd name="connsiteX10" fmla="*/ 174282 w 474348"/>
                    <a:gd name="connsiteY10" fmla="*/ 24619 h 670154"/>
                    <a:gd name="connsiteX0" fmla="*/ 174282 w 474348"/>
                    <a:gd name="connsiteY0" fmla="*/ 24619 h 670154"/>
                    <a:gd name="connsiteX1" fmla="*/ 216121 w 474348"/>
                    <a:gd name="connsiteY1" fmla="*/ 0 h 670154"/>
                    <a:gd name="connsiteX2" fmla="*/ 314250 w 474348"/>
                    <a:gd name="connsiteY2" fmla="*/ 25070 h 670154"/>
                    <a:gd name="connsiteX3" fmla="*/ 474348 w 474348"/>
                    <a:gd name="connsiteY3" fmla="*/ 217539 h 670154"/>
                    <a:gd name="connsiteX4" fmla="*/ 474348 w 474348"/>
                    <a:gd name="connsiteY4" fmla="*/ 670154 h 670154"/>
                    <a:gd name="connsiteX5" fmla="*/ 474348 w 474348"/>
                    <a:gd name="connsiteY5" fmla="*/ 670154 h 670154"/>
                    <a:gd name="connsiteX6" fmla="*/ 248129 w 474348"/>
                    <a:gd name="connsiteY6" fmla="*/ 670154 h 670154"/>
                    <a:gd name="connsiteX7" fmla="*/ 0 w 474348"/>
                    <a:gd name="connsiteY7" fmla="*/ 670154 h 670154"/>
                    <a:gd name="connsiteX8" fmla="*/ 0 w 474348"/>
                    <a:gd name="connsiteY8" fmla="*/ 670154 h 670154"/>
                    <a:gd name="connsiteX9" fmla="*/ 0 w 474348"/>
                    <a:gd name="connsiteY9" fmla="*/ 217539 h 670154"/>
                    <a:gd name="connsiteX10" fmla="*/ 174282 w 474348"/>
                    <a:gd name="connsiteY10" fmla="*/ 24619 h 670154"/>
                    <a:gd name="connsiteX0" fmla="*/ 174282 w 474348"/>
                    <a:gd name="connsiteY0" fmla="*/ 24619 h 670154"/>
                    <a:gd name="connsiteX1" fmla="*/ 216121 w 474348"/>
                    <a:gd name="connsiteY1" fmla="*/ 0 h 670154"/>
                    <a:gd name="connsiteX2" fmla="*/ 314250 w 474348"/>
                    <a:gd name="connsiteY2" fmla="*/ 25070 h 670154"/>
                    <a:gd name="connsiteX3" fmla="*/ 474348 w 474348"/>
                    <a:gd name="connsiteY3" fmla="*/ 217539 h 670154"/>
                    <a:gd name="connsiteX4" fmla="*/ 474348 w 474348"/>
                    <a:gd name="connsiteY4" fmla="*/ 670154 h 670154"/>
                    <a:gd name="connsiteX5" fmla="*/ 474348 w 474348"/>
                    <a:gd name="connsiteY5" fmla="*/ 670154 h 670154"/>
                    <a:gd name="connsiteX6" fmla="*/ 248129 w 474348"/>
                    <a:gd name="connsiteY6" fmla="*/ 670154 h 670154"/>
                    <a:gd name="connsiteX7" fmla="*/ 0 w 474348"/>
                    <a:gd name="connsiteY7" fmla="*/ 670154 h 670154"/>
                    <a:gd name="connsiteX8" fmla="*/ 0 w 474348"/>
                    <a:gd name="connsiteY8" fmla="*/ 670154 h 670154"/>
                    <a:gd name="connsiteX9" fmla="*/ 0 w 474348"/>
                    <a:gd name="connsiteY9" fmla="*/ 217539 h 670154"/>
                    <a:gd name="connsiteX10" fmla="*/ 174282 w 474348"/>
                    <a:gd name="connsiteY10" fmla="*/ 24619 h 670154"/>
                    <a:gd name="connsiteX0" fmla="*/ 148557 w 474348"/>
                    <a:gd name="connsiteY0" fmla="*/ 27264 h 670154"/>
                    <a:gd name="connsiteX1" fmla="*/ 216121 w 474348"/>
                    <a:gd name="connsiteY1" fmla="*/ 0 h 670154"/>
                    <a:gd name="connsiteX2" fmla="*/ 314250 w 474348"/>
                    <a:gd name="connsiteY2" fmla="*/ 25070 h 670154"/>
                    <a:gd name="connsiteX3" fmla="*/ 474348 w 474348"/>
                    <a:gd name="connsiteY3" fmla="*/ 217539 h 670154"/>
                    <a:gd name="connsiteX4" fmla="*/ 474348 w 474348"/>
                    <a:gd name="connsiteY4" fmla="*/ 670154 h 670154"/>
                    <a:gd name="connsiteX5" fmla="*/ 474348 w 474348"/>
                    <a:gd name="connsiteY5" fmla="*/ 670154 h 670154"/>
                    <a:gd name="connsiteX6" fmla="*/ 248129 w 474348"/>
                    <a:gd name="connsiteY6" fmla="*/ 670154 h 670154"/>
                    <a:gd name="connsiteX7" fmla="*/ 0 w 474348"/>
                    <a:gd name="connsiteY7" fmla="*/ 670154 h 670154"/>
                    <a:gd name="connsiteX8" fmla="*/ 0 w 474348"/>
                    <a:gd name="connsiteY8" fmla="*/ 670154 h 670154"/>
                    <a:gd name="connsiteX9" fmla="*/ 0 w 474348"/>
                    <a:gd name="connsiteY9" fmla="*/ 217539 h 670154"/>
                    <a:gd name="connsiteX10" fmla="*/ 148557 w 474348"/>
                    <a:gd name="connsiteY10" fmla="*/ 27264 h 670154"/>
                    <a:gd name="connsiteX0" fmla="*/ 148557 w 474348"/>
                    <a:gd name="connsiteY0" fmla="*/ 20950 h 663840"/>
                    <a:gd name="connsiteX1" fmla="*/ 214238 w 474348"/>
                    <a:gd name="connsiteY1" fmla="*/ 0 h 663840"/>
                    <a:gd name="connsiteX2" fmla="*/ 314250 w 474348"/>
                    <a:gd name="connsiteY2" fmla="*/ 18756 h 663840"/>
                    <a:gd name="connsiteX3" fmla="*/ 474348 w 474348"/>
                    <a:gd name="connsiteY3" fmla="*/ 211225 h 663840"/>
                    <a:gd name="connsiteX4" fmla="*/ 474348 w 474348"/>
                    <a:gd name="connsiteY4" fmla="*/ 663840 h 663840"/>
                    <a:gd name="connsiteX5" fmla="*/ 474348 w 474348"/>
                    <a:gd name="connsiteY5" fmla="*/ 663840 h 663840"/>
                    <a:gd name="connsiteX6" fmla="*/ 248129 w 474348"/>
                    <a:gd name="connsiteY6" fmla="*/ 663840 h 663840"/>
                    <a:gd name="connsiteX7" fmla="*/ 0 w 474348"/>
                    <a:gd name="connsiteY7" fmla="*/ 663840 h 663840"/>
                    <a:gd name="connsiteX8" fmla="*/ 0 w 474348"/>
                    <a:gd name="connsiteY8" fmla="*/ 663840 h 663840"/>
                    <a:gd name="connsiteX9" fmla="*/ 0 w 474348"/>
                    <a:gd name="connsiteY9" fmla="*/ 211225 h 663840"/>
                    <a:gd name="connsiteX10" fmla="*/ 148557 w 474348"/>
                    <a:gd name="connsiteY10" fmla="*/ 20950 h 663840"/>
                    <a:gd name="connsiteX0" fmla="*/ 148557 w 474348"/>
                    <a:gd name="connsiteY0" fmla="*/ 20950 h 663840"/>
                    <a:gd name="connsiteX1" fmla="*/ 214238 w 474348"/>
                    <a:gd name="connsiteY1" fmla="*/ 0 h 663840"/>
                    <a:gd name="connsiteX2" fmla="*/ 314250 w 474348"/>
                    <a:gd name="connsiteY2" fmla="*/ 18756 h 663840"/>
                    <a:gd name="connsiteX3" fmla="*/ 474348 w 474348"/>
                    <a:gd name="connsiteY3" fmla="*/ 211225 h 663840"/>
                    <a:gd name="connsiteX4" fmla="*/ 474348 w 474348"/>
                    <a:gd name="connsiteY4" fmla="*/ 663840 h 663840"/>
                    <a:gd name="connsiteX5" fmla="*/ 474348 w 474348"/>
                    <a:gd name="connsiteY5" fmla="*/ 663840 h 663840"/>
                    <a:gd name="connsiteX6" fmla="*/ 248129 w 474348"/>
                    <a:gd name="connsiteY6" fmla="*/ 663840 h 663840"/>
                    <a:gd name="connsiteX7" fmla="*/ 0 w 474348"/>
                    <a:gd name="connsiteY7" fmla="*/ 663840 h 663840"/>
                    <a:gd name="connsiteX8" fmla="*/ 0 w 474348"/>
                    <a:gd name="connsiteY8" fmla="*/ 663840 h 663840"/>
                    <a:gd name="connsiteX9" fmla="*/ 0 w 474348"/>
                    <a:gd name="connsiteY9" fmla="*/ 211225 h 663840"/>
                    <a:gd name="connsiteX10" fmla="*/ 148557 w 474348"/>
                    <a:gd name="connsiteY10" fmla="*/ 20950 h 663840"/>
                    <a:gd name="connsiteX0" fmla="*/ 148557 w 474348"/>
                    <a:gd name="connsiteY0" fmla="*/ 20950 h 663840"/>
                    <a:gd name="connsiteX1" fmla="*/ 214238 w 474348"/>
                    <a:gd name="connsiteY1" fmla="*/ 0 h 663840"/>
                    <a:gd name="connsiteX2" fmla="*/ 314250 w 474348"/>
                    <a:gd name="connsiteY2" fmla="*/ 18756 h 663840"/>
                    <a:gd name="connsiteX3" fmla="*/ 474348 w 474348"/>
                    <a:gd name="connsiteY3" fmla="*/ 211225 h 663840"/>
                    <a:gd name="connsiteX4" fmla="*/ 474348 w 474348"/>
                    <a:gd name="connsiteY4" fmla="*/ 663840 h 663840"/>
                    <a:gd name="connsiteX5" fmla="*/ 474348 w 474348"/>
                    <a:gd name="connsiteY5" fmla="*/ 663840 h 663840"/>
                    <a:gd name="connsiteX6" fmla="*/ 248129 w 474348"/>
                    <a:gd name="connsiteY6" fmla="*/ 663840 h 663840"/>
                    <a:gd name="connsiteX7" fmla="*/ 0 w 474348"/>
                    <a:gd name="connsiteY7" fmla="*/ 663840 h 663840"/>
                    <a:gd name="connsiteX8" fmla="*/ 0 w 474348"/>
                    <a:gd name="connsiteY8" fmla="*/ 663840 h 663840"/>
                    <a:gd name="connsiteX9" fmla="*/ 0 w 474348"/>
                    <a:gd name="connsiteY9" fmla="*/ 211225 h 663840"/>
                    <a:gd name="connsiteX10" fmla="*/ 148557 w 474348"/>
                    <a:gd name="connsiteY10" fmla="*/ 20950 h 663840"/>
                    <a:gd name="connsiteX0" fmla="*/ 144178 w 474348"/>
                    <a:gd name="connsiteY0" fmla="*/ 22667 h 663840"/>
                    <a:gd name="connsiteX1" fmla="*/ 214238 w 474348"/>
                    <a:gd name="connsiteY1" fmla="*/ 0 h 663840"/>
                    <a:gd name="connsiteX2" fmla="*/ 314250 w 474348"/>
                    <a:gd name="connsiteY2" fmla="*/ 18756 h 663840"/>
                    <a:gd name="connsiteX3" fmla="*/ 474348 w 474348"/>
                    <a:gd name="connsiteY3" fmla="*/ 211225 h 663840"/>
                    <a:gd name="connsiteX4" fmla="*/ 474348 w 474348"/>
                    <a:gd name="connsiteY4" fmla="*/ 663840 h 663840"/>
                    <a:gd name="connsiteX5" fmla="*/ 474348 w 474348"/>
                    <a:gd name="connsiteY5" fmla="*/ 663840 h 663840"/>
                    <a:gd name="connsiteX6" fmla="*/ 248129 w 474348"/>
                    <a:gd name="connsiteY6" fmla="*/ 663840 h 663840"/>
                    <a:gd name="connsiteX7" fmla="*/ 0 w 474348"/>
                    <a:gd name="connsiteY7" fmla="*/ 663840 h 663840"/>
                    <a:gd name="connsiteX8" fmla="*/ 0 w 474348"/>
                    <a:gd name="connsiteY8" fmla="*/ 663840 h 663840"/>
                    <a:gd name="connsiteX9" fmla="*/ 0 w 474348"/>
                    <a:gd name="connsiteY9" fmla="*/ 211225 h 663840"/>
                    <a:gd name="connsiteX10" fmla="*/ 144178 w 474348"/>
                    <a:gd name="connsiteY10" fmla="*/ 22667 h 663840"/>
                    <a:gd name="connsiteX0" fmla="*/ 144178 w 474348"/>
                    <a:gd name="connsiteY0" fmla="*/ 22667 h 663840"/>
                    <a:gd name="connsiteX1" fmla="*/ 214238 w 474348"/>
                    <a:gd name="connsiteY1" fmla="*/ 0 h 663840"/>
                    <a:gd name="connsiteX2" fmla="*/ 314250 w 474348"/>
                    <a:gd name="connsiteY2" fmla="*/ 18756 h 663840"/>
                    <a:gd name="connsiteX3" fmla="*/ 474348 w 474348"/>
                    <a:gd name="connsiteY3" fmla="*/ 211225 h 663840"/>
                    <a:gd name="connsiteX4" fmla="*/ 474348 w 474348"/>
                    <a:gd name="connsiteY4" fmla="*/ 663840 h 663840"/>
                    <a:gd name="connsiteX5" fmla="*/ 474348 w 474348"/>
                    <a:gd name="connsiteY5" fmla="*/ 663840 h 663840"/>
                    <a:gd name="connsiteX6" fmla="*/ 248129 w 474348"/>
                    <a:gd name="connsiteY6" fmla="*/ 663840 h 663840"/>
                    <a:gd name="connsiteX7" fmla="*/ 0 w 474348"/>
                    <a:gd name="connsiteY7" fmla="*/ 663840 h 663840"/>
                    <a:gd name="connsiteX8" fmla="*/ 0 w 474348"/>
                    <a:gd name="connsiteY8" fmla="*/ 663840 h 663840"/>
                    <a:gd name="connsiteX9" fmla="*/ 0 w 474348"/>
                    <a:gd name="connsiteY9" fmla="*/ 211225 h 663840"/>
                    <a:gd name="connsiteX10" fmla="*/ 144178 w 474348"/>
                    <a:gd name="connsiteY10" fmla="*/ 22667 h 663840"/>
                    <a:gd name="connsiteX0" fmla="*/ 144178 w 474348"/>
                    <a:gd name="connsiteY0" fmla="*/ 22667 h 663840"/>
                    <a:gd name="connsiteX1" fmla="*/ 214238 w 474348"/>
                    <a:gd name="connsiteY1" fmla="*/ 0 h 663840"/>
                    <a:gd name="connsiteX2" fmla="*/ 314250 w 474348"/>
                    <a:gd name="connsiteY2" fmla="*/ 18756 h 663840"/>
                    <a:gd name="connsiteX3" fmla="*/ 474348 w 474348"/>
                    <a:gd name="connsiteY3" fmla="*/ 211225 h 663840"/>
                    <a:gd name="connsiteX4" fmla="*/ 474348 w 474348"/>
                    <a:gd name="connsiteY4" fmla="*/ 663840 h 663840"/>
                    <a:gd name="connsiteX5" fmla="*/ 474348 w 474348"/>
                    <a:gd name="connsiteY5" fmla="*/ 663840 h 663840"/>
                    <a:gd name="connsiteX6" fmla="*/ 248129 w 474348"/>
                    <a:gd name="connsiteY6" fmla="*/ 663840 h 663840"/>
                    <a:gd name="connsiteX7" fmla="*/ 0 w 474348"/>
                    <a:gd name="connsiteY7" fmla="*/ 663840 h 663840"/>
                    <a:gd name="connsiteX8" fmla="*/ 0 w 474348"/>
                    <a:gd name="connsiteY8" fmla="*/ 663840 h 663840"/>
                    <a:gd name="connsiteX9" fmla="*/ 0 w 474348"/>
                    <a:gd name="connsiteY9" fmla="*/ 211225 h 663840"/>
                    <a:gd name="connsiteX10" fmla="*/ 144178 w 474348"/>
                    <a:gd name="connsiteY10" fmla="*/ 22667 h 663840"/>
                    <a:gd name="connsiteX0" fmla="*/ 144178 w 474348"/>
                    <a:gd name="connsiteY0" fmla="*/ 22667 h 663840"/>
                    <a:gd name="connsiteX1" fmla="*/ 214238 w 474348"/>
                    <a:gd name="connsiteY1" fmla="*/ 0 h 663840"/>
                    <a:gd name="connsiteX2" fmla="*/ 314250 w 474348"/>
                    <a:gd name="connsiteY2" fmla="*/ 18756 h 663840"/>
                    <a:gd name="connsiteX3" fmla="*/ 474348 w 474348"/>
                    <a:gd name="connsiteY3" fmla="*/ 211225 h 663840"/>
                    <a:gd name="connsiteX4" fmla="*/ 474348 w 474348"/>
                    <a:gd name="connsiteY4" fmla="*/ 663840 h 663840"/>
                    <a:gd name="connsiteX5" fmla="*/ 474348 w 474348"/>
                    <a:gd name="connsiteY5" fmla="*/ 663840 h 663840"/>
                    <a:gd name="connsiteX6" fmla="*/ 248129 w 474348"/>
                    <a:gd name="connsiteY6" fmla="*/ 663840 h 663840"/>
                    <a:gd name="connsiteX7" fmla="*/ 0 w 474348"/>
                    <a:gd name="connsiteY7" fmla="*/ 663840 h 663840"/>
                    <a:gd name="connsiteX8" fmla="*/ 0 w 474348"/>
                    <a:gd name="connsiteY8" fmla="*/ 663840 h 663840"/>
                    <a:gd name="connsiteX9" fmla="*/ 0 w 474348"/>
                    <a:gd name="connsiteY9" fmla="*/ 211225 h 663840"/>
                    <a:gd name="connsiteX10" fmla="*/ 144178 w 474348"/>
                    <a:gd name="connsiteY10" fmla="*/ 22667 h 6638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74348" h="663840">
                      <a:moveTo>
                        <a:pt x="144178" y="22667"/>
                      </a:moveTo>
                      <a:cubicBezTo>
                        <a:pt x="211732" y="-970"/>
                        <a:pt x="181869" y="7990"/>
                        <a:pt x="214238" y="0"/>
                      </a:cubicBezTo>
                      <a:cubicBezTo>
                        <a:pt x="259321" y="7224"/>
                        <a:pt x="221757" y="369"/>
                        <a:pt x="314250" y="18756"/>
                      </a:cubicBezTo>
                      <a:cubicBezTo>
                        <a:pt x="399877" y="51074"/>
                        <a:pt x="474348" y="104798"/>
                        <a:pt x="474348" y="211225"/>
                      </a:cubicBezTo>
                      <a:lnTo>
                        <a:pt x="474348" y="663840"/>
                      </a:lnTo>
                      <a:lnTo>
                        <a:pt x="474348" y="663840"/>
                      </a:lnTo>
                      <a:lnTo>
                        <a:pt x="248129" y="663840"/>
                      </a:lnTo>
                      <a:lnTo>
                        <a:pt x="0" y="663840"/>
                      </a:lnTo>
                      <a:lnTo>
                        <a:pt x="0" y="663840"/>
                      </a:lnTo>
                      <a:lnTo>
                        <a:pt x="0" y="211225"/>
                      </a:lnTo>
                      <a:cubicBezTo>
                        <a:pt x="0" y="104798"/>
                        <a:pt x="80700" y="56026"/>
                        <a:pt x="144178" y="22667"/>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41" name="Round Same Side Corner Rectangle 11"/>
                <p:cNvSpPr/>
                <p:nvPr/>
              </p:nvSpPr>
              <p:spPr>
                <a:xfrm rot="7140000">
                  <a:off x="4278989" y="1266737"/>
                  <a:ext cx="251846" cy="2632764"/>
                </a:xfrm>
                <a:custGeom>
                  <a:avLst/>
                  <a:gdLst>
                    <a:gd name="connsiteX0" fmla="*/ 192704 w 474348"/>
                    <a:gd name="connsiteY0" fmla="*/ 0 h 645319"/>
                    <a:gd name="connsiteX1" fmla="*/ 281644 w 474348"/>
                    <a:gd name="connsiteY1" fmla="*/ 0 h 645319"/>
                    <a:gd name="connsiteX2" fmla="*/ 474348 w 474348"/>
                    <a:gd name="connsiteY2" fmla="*/ 192704 h 645319"/>
                    <a:gd name="connsiteX3" fmla="*/ 474348 w 474348"/>
                    <a:gd name="connsiteY3" fmla="*/ 645319 h 645319"/>
                    <a:gd name="connsiteX4" fmla="*/ 474348 w 474348"/>
                    <a:gd name="connsiteY4" fmla="*/ 645319 h 645319"/>
                    <a:gd name="connsiteX5" fmla="*/ 0 w 474348"/>
                    <a:gd name="connsiteY5" fmla="*/ 645319 h 645319"/>
                    <a:gd name="connsiteX6" fmla="*/ 0 w 474348"/>
                    <a:gd name="connsiteY6" fmla="*/ 645319 h 645319"/>
                    <a:gd name="connsiteX7" fmla="*/ 0 w 474348"/>
                    <a:gd name="connsiteY7" fmla="*/ 192704 h 645319"/>
                    <a:gd name="connsiteX8" fmla="*/ 192704 w 474348"/>
                    <a:gd name="connsiteY8" fmla="*/ 0 h 645319"/>
                    <a:gd name="connsiteX0" fmla="*/ 192704 w 474348"/>
                    <a:gd name="connsiteY0" fmla="*/ 0 h 645319"/>
                    <a:gd name="connsiteX1" fmla="*/ 281644 w 474348"/>
                    <a:gd name="connsiteY1" fmla="*/ 0 h 645319"/>
                    <a:gd name="connsiteX2" fmla="*/ 474348 w 474348"/>
                    <a:gd name="connsiteY2" fmla="*/ 192704 h 645319"/>
                    <a:gd name="connsiteX3" fmla="*/ 474348 w 474348"/>
                    <a:gd name="connsiteY3" fmla="*/ 645319 h 645319"/>
                    <a:gd name="connsiteX4" fmla="*/ 474348 w 474348"/>
                    <a:gd name="connsiteY4" fmla="*/ 645319 h 645319"/>
                    <a:gd name="connsiteX5" fmla="*/ 248129 w 474348"/>
                    <a:gd name="connsiteY5" fmla="*/ 645319 h 645319"/>
                    <a:gd name="connsiteX6" fmla="*/ 0 w 474348"/>
                    <a:gd name="connsiteY6" fmla="*/ 645319 h 645319"/>
                    <a:gd name="connsiteX7" fmla="*/ 0 w 474348"/>
                    <a:gd name="connsiteY7" fmla="*/ 645319 h 645319"/>
                    <a:gd name="connsiteX8" fmla="*/ 0 w 474348"/>
                    <a:gd name="connsiteY8" fmla="*/ 192704 h 645319"/>
                    <a:gd name="connsiteX9" fmla="*/ 192704 w 474348"/>
                    <a:gd name="connsiteY9" fmla="*/ 0 h 645319"/>
                    <a:gd name="connsiteX0" fmla="*/ 192704 w 474348"/>
                    <a:gd name="connsiteY0" fmla="*/ 2381 h 647700"/>
                    <a:gd name="connsiteX1" fmla="*/ 240986 w 474348"/>
                    <a:gd name="connsiteY1" fmla="*/ 0 h 647700"/>
                    <a:gd name="connsiteX2" fmla="*/ 281644 w 474348"/>
                    <a:gd name="connsiteY2" fmla="*/ 2381 h 647700"/>
                    <a:gd name="connsiteX3" fmla="*/ 474348 w 474348"/>
                    <a:gd name="connsiteY3" fmla="*/ 195085 h 647700"/>
                    <a:gd name="connsiteX4" fmla="*/ 474348 w 474348"/>
                    <a:gd name="connsiteY4" fmla="*/ 647700 h 647700"/>
                    <a:gd name="connsiteX5" fmla="*/ 474348 w 474348"/>
                    <a:gd name="connsiteY5" fmla="*/ 647700 h 647700"/>
                    <a:gd name="connsiteX6" fmla="*/ 248129 w 474348"/>
                    <a:gd name="connsiteY6" fmla="*/ 647700 h 647700"/>
                    <a:gd name="connsiteX7" fmla="*/ 0 w 474348"/>
                    <a:gd name="connsiteY7" fmla="*/ 647700 h 647700"/>
                    <a:gd name="connsiteX8" fmla="*/ 0 w 474348"/>
                    <a:gd name="connsiteY8" fmla="*/ 647700 h 647700"/>
                    <a:gd name="connsiteX9" fmla="*/ 0 w 474348"/>
                    <a:gd name="connsiteY9" fmla="*/ 195085 h 647700"/>
                    <a:gd name="connsiteX10" fmla="*/ 192704 w 474348"/>
                    <a:gd name="connsiteY10" fmla="*/ 2381 h 647700"/>
                    <a:gd name="connsiteX0" fmla="*/ 192704 w 474348"/>
                    <a:gd name="connsiteY0" fmla="*/ 42862 h 688181"/>
                    <a:gd name="connsiteX1" fmla="*/ 240986 w 474348"/>
                    <a:gd name="connsiteY1" fmla="*/ 0 h 688181"/>
                    <a:gd name="connsiteX2" fmla="*/ 281644 w 474348"/>
                    <a:gd name="connsiteY2" fmla="*/ 42862 h 688181"/>
                    <a:gd name="connsiteX3" fmla="*/ 474348 w 474348"/>
                    <a:gd name="connsiteY3" fmla="*/ 235566 h 688181"/>
                    <a:gd name="connsiteX4" fmla="*/ 474348 w 474348"/>
                    <a:gd name="connsiteY4" fmla="*/ 688181 h 688181"/>
                    <a:gd name="connsiteX5" fmla="*/ 474348 w 474348"/>
                    <a:gd name="connsiteY5" fmla="*/ 688181 h 688181"/>
                    <a:gd name="connsiteX6" fmla="*/ 248129 w 474348"/>
                    <a:gd name="connsiteY6" fmla="*/ 688181 h 688181"/>
                    <a:gd name="connsiteX7" fmla="*/ 0 w 474348"/>
                    <a:gd name="connsiteY7" fmla="*/ 688181 h 688181"/>
                    <a:gd name="connsiteX8" fmla="*/ 0 w 474348"/>
                    <a:gd name="connsiteY8" fmla="*/ 688181 h 688181"/>
                    <a:gd name="connsiteX9" fmla="*/ 0 w 474348"/>
                    <a:gd name="connsiteY9" fmla="*/ 235566 h 688181"/>
                    <a:gd name="connsiteX10" fmla="*/ 192704 w 474348"/>
                    <a:gd name="connsiteY10" fmla="*/ 42862 h 688181"/>
                    <a:gd name="connsiteX0" fmla="*/ 192704 w 474348"/>
                    <a:gd name="connsiteY0" fmla="*/ 23812 h 669131"/>
                    <a:gd name="connsiteX1" fmla="*/ 265690 w 474348"/>
                    <a:gd name="connsiteY1" fmla="*/ 0 h 669131"/>
                    <a:gd name="connsiteX2" fmla="*/ 281644 w 474348"/>
                    <a:gd name="connsiteY2" fmla="*/ 23812 h 669131"/>
                    <a:gd name="connsiteX3" fmla="*/ 474348 w 474348"/>
                    <a:gd name="connsiteY3" fmla="*/ 216516 h 669131"/>
                    <a:gd name="connsiteX4" fmla="*/ 474348 w 474348"/>
                    <a:gd name="connsiteY4" fmla="*/ 669131 h 669131"/>
                    <a:gd name="connsiteX5" fmla="*/ 474348 w 474348"/>
                    <a:gd name="connsiteY5" fmla="*/ 669131 h 669131"/>
                    <a:gd name="connsiteX6" fmla="*/ 248129 w 474348"/>
                    <a:gd name="connsiteY6" fmla="*/ 669131 h 669131"/>
                    <a:gd name="connsiteX7" fmla="*/ 0 w 474348"/>
                    <a:gd name="connsiteY7" fmla="*/ 669131 h 669131"/>
                    <a:gd name="connsiteX8" fmla="*/ 0 w 474348"/>
                    <a:gd name="connsiteY8" fmla="*/ 669131 h 669131"/>
                    <a:gd name="connsiteX9" fmla="*/ 0 w 474348"/>
                    <a:gd name="connsiteY9" fmla="*/ 216516 h 669131"/>
                    <a:gd name="connsiteX10" fmla="*/ 192704 w 474348"/>
                    <a:gd name="connsiteY10" fmla="*/ 23812 h 669131"/>
                    <a:gd name="connsiteX0" fmla="*/ 192704 w 474348"/>
                    <a:gd name="connsiteY0" fmla="*/ 23812 h 669131"/>
                    <a:gd name="connsiteX1" fmla="*/ 265690 w 474348"/>
                    <a:gd name="connsiteY1" fmla="*/ 0 h 669131"/>
                    <a:gd name="connsiteX2" fmla="*/ 309530 w 474348"/>
                    <a:gd name="connsiteY2" fmla="*/ 23110 h 669131"/>
                    <a:gd name="connsiteX3" fmla="*/ 474348 w 474348"/>
                    <a:gd name="connsiteY3" fmla="*/ 216516 h 669131"/>
                    <a:gd name="connsiteX4" fmla="*/ 474348 w 474348"/>
                    <a:gd name="connsiteY4" fmla="*/ 669131 h 669131"/>
                    <a:gd name="connsiteX5" fmla="*/ 474348 w 474348"/>
                    <a:gd name="connsiteY5" fmla="*/ 669131 h 669131"/>
                    <a:gd name="connsiteX6" fmla="*/ 248129 w 474348"/>
                    <a:gd name="connsiteY6" fmla="*/ 669131 h 669131"/>
                    <a:gd name="connsiteX7" fmla="*/ 0 w 474348"/>
                    <a:gd name="connsiteY7" fmla="*/ 669131 h 669131"/>
                    <a:gd name="connsiteX8" fmla="*/ 0 w 474348"/>
                    <a:gd name="connsiteY8" fmla="*/ 669131 h 669131"/>
                    <a:gd name="connsiteX9" fmla="*/ 0 w 474348"/>
                    <a:gd name="connsiteY9" fmla="*/ 216516 h 669131"/>
                    <a:gd name="connsiteX10" fmla="*/ 192704 w 474348"/>
                    <a:gd name="connsiteY10" fmla="*/ 23812 h 669131"/>
                    <a:gd name="connsiteX0" fmla="*/ 192704 w 474348"/>
                    <a:gd name="connsiteY0" fmla="*/ 23812 h 669131"/>
                    <a:gd name="connsiteX1" fmla="*/ 265690 w 474348"/>
                    <a:gd name="connsiteY1" fmla="*/ 0 h 669131"/>
                    <a:gd name="connsiteX2" fmla="*/ 309530 w 474348"/>
                    <a:gd name="connsiteY2" fmla="*/ 23110 h 669131"/>
                    <a:gd name="connsiteX3" fmla="*/ 474348 w 474348"/>
                    <a:gd name="connsiteY3" fmla="*/ 216516 h 669131"/>
                    <a:gd name="connsiteX4" fmla="*/ 474348 w 474348"/>
                    <a:gd name="connsiteY4" fmla="*/ 669131 h 669131"/>
                    <a:gd name="connsiteX5" fmla="*/ 474348 w 474348"/>
                    <a:gd name="connsiteY5" fmla="*/ 669131 h 669131"/>
                    <a:gd name="connsiteX6" fmla="*/ 248129 w 474348"/>
                    <a:gd name="connsiteY6" fmla="*/ 669131 h 669131"/>
                    <a:gd name="connsiteX7" fmla="*/ 0 w 474348"/>
                    <a:gd name="connsiteY7" fmla="*/ 669131 h 669131"/>
                    <a:gd name="connsiteX8" fmla="*/ 0 w 474348"/>
                    <a:gd name="connsiteY8" fmla="*/ 669131 h 669131"/>
                    <a:gd name="connsiteX9" fmla="*/ 0 w 474348"/>
                    <a:gd name="connsiteY9" fmla="*/ 216516 h 669131"/>
                    <a:gd name="connsiteX10" fmla="*/ 192704 w 474348"/>
                    <a:gd name="connsiteY10" fmla="*/ 23812 h 669131"/>
                    <a:gd name="connsiteX0" fmla="*/ 192704 w 474348"/>
                    <a:gd name="connsiteY0" fmla="*/ 23812 h 669131"/>
                    <a:gd name="connsiteX1" fmla="*/ 265690 w 474348"/>
                    <a:gd name="connsiteY1" fmla="*/ 0 h 669131"/>
                    <a:gd name="connsiteX2" fmla="*/ 309530 w 474348"/>
                    <a:gd name="connsiteY2" fmla="*/ 23110 h 669131"/>
                    <a:gd name="connsiteX3" fmla="*/ 474348 w 474348"/>
                    <a:gd name="connsiteY3" fmla="*/ 216516 h 669131"/>
                    <a:gd name="connsiteX4" fmla="*/ 474348 w 474348"/>
                    <a:gd name="connsiteY4" fmla="*/ 669131 h 669131"/>
                    <a:gd name="connsiteX5" fmla="*/ 474348 w 474348"/>
                    <a:gd name="connsiteY5" fmla="*/ 669131 h 669131"/>
                    <a:gd name="connsiteX6" fmla="*/ 248129 w 474348"/>
                    <a:gd name="connsiteY6" fmla="*/ 669131 h 669131"/>
                    <a:gd name="connsiteX7" fmla="*/ 0 w 474348"/>
                    <a:gd name="connsiteY7" fmla="*/ 669131 h 669131"/>
                    <a:gd name="connsiteX8" fmla="*/ 0 w 474348"/>
                    <a:gd name="connsiteY8" fmla="*/ 669131 h 669131"/>
                    <a:gd name="connsiteX9" fmla="*/ 0 w 474348"/>
                    <a:gd name="connsiteY9" fmla="*/ 216516 h 669131"/>
                    <a:gd name="connsiteX10" fmla="*/ 192704 w 474348"/>
                    <a:gd name="connsiteY10" fmla="*/ 23812 h 669131"/>
                    <a:gd name="connsiteX0" fmla="*/ 192704 w 474348"/>
                    <a:gd name="connsiteY0" fmla="*/ 23812 h 669131"/>
                    <a:gd name="connsiteX1" fmla="*/ 265690 w 474348"/>
                    <a:gd name="connsiteY1" fmla="*/ 0 h 669131"/>
                    <a:gd name="connsiteX2" fmla="*/ 309530 w 474348"/>
                    <a:gd name="connsiteY2" fmla="*/ 23110 h 669131"/>
                    <a:gd name="connsiteX3" fmla="*/ 474348 w 474348"/>
                    <a:gd name="connsiteY3" fmla="*/ 216516 h 669131"/>
                    <a:gd name="connsiteX4" fmla="*/ 474348 w 474348"/>
                    <a:gd name="connsiteY4" fmla="*/ 669131 h 669131"/>
                    <a:gd name="connsiteX5" fmla="*/ 474348 w 474348"/>
                    <a:gd name="connsiteY5" fmla="*/ 669131 h 669131"/>
                    <a:gd name="connsiteX6" fmla="*/ 248129 w 474348"/>
                    <a:gd name="connsiteY6" fmla="*/ 669131 h 669131"/>
                    <a:gd name="connsiteX7" fmla="*/ 0 w 474348"/>
                    <a:gd name="connsiteY7" fmla="*/ 669131 h 669131"/>
                    <a:gd name="connsiteX8" fmla="*/ 0 w 474348"/>
                    <a:gd name="connsiteY8" fmla="*/ 669131 h 669131"/>
                    <a:gd name="connsiteX9" fmla="*/ 0 w 474348"/>
                    <a:gd name="connsiteY9" fmla="*/ 216516 h 669131"/>
                    <a:gd name="connsiteX10" fmla="*/ 192704 w 474348"/>
                    <a:gd name="connsiteY10" fmla="*/ 23812 h 6691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74348" h="669131">
                      <a:moveTo>
                        <a:pt x="192704" y="23812"/>
                      </a:moveTo>
                      <a:lnTo>
                        <a:pt x="265690" y="0"/>
                      </a:lnTo>
                      <a:cubicBezTo>
                        <a:pt x="271008" y="7937"/>
                        <a:pt x="275989" y="2061"/>
                        <a:pt x="309530" y="23110"/>
                      </a:cubicBezTo>
                      <a:cubicBezTo>
                        <a:pt x="387382" y="59846"/>
                        <a:pt x="474348" y="110089"/>
                        <a:pt x="474348" y="216516"/>
                      </a:cubicBezTo>
                      <a:lnTo>
                        <a:pt x="474348" y="669131"/>
                      </a:lnTo>
                      <a:lnTo>
                        <a:pt x="474348" y="669131"/>
                      </a:lnTo>
                      <a:lnTo>
                        <a:pt x="248129" y="669131"/>
                      </a:lnTo>
                      <a:lnTo>
                        <a:pt x="0" y="669131"/>
                      </a:lnTo>
                      <a:lnTo>
                        <a:pt x="0" y="669131"/>
                      </a:lnTo>
                      <a:lnTo>
                        <a:pt x="0" y="216516"/>
                      </a:lnTo>
                      <a:cubicBezTo>
                        <a:pt x="0" y="110089"/>
                        <a:pt x="135350" y="45744"/>
                        <a:pt x="192704" y="23812"/>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42" name="Oval 141"/>
                <p:cNvSpPr/>
                <p:nvPr/>
              </p:nvSpPr>
              <p:spPr>
                <a:xfrm>
                  <a:off x="2740926" y="1513161"/>
                  <a:ext cx="629631" cy="629631"/>
                </a:xfrm>
                <a:prstGeom prst="ellipse">
                  <a:avLst/>
                </a:prstGeom>
                <a:solidFill>
                  <a:schemeClr val="bg1"/>
                </a:solidFill>
                <a:ln w="508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grpSp>
          <p:nvGrpSpPr>
            <p:cNvPr id="130" name="Group 129"/>
            <p:cNvGrpSpPr/>
            <p:nvPr/>
          </p:nvGrpSpPr>
          <p:grpSpPr>
            <a:xfrm flipH="1">
              <a:off x="873832" y="2512584"/>
              <a:ext cx="833455" cy="1293433"/>
              <a:chOff x="274646" y="-1004072"/>
              <a:chExt cx="5446648" cy="8452622"/>
            </a:xfrm>
            <a:effectLst>
              <a:outerShdw blurRad="76200" dir="13500000" sy="23000" kx="1200000" algn="br" rotWithShape="0">
                <a:prstClr val="black">
                  <a:alpha val="20000"/>
                </a:prstClr>
              </a:outerShdw>
            </a:effectLst>
          </p:grpSpPr>
          <p:sp>
            <p:nvSpPr>
              <p:cNvPr id="131" name="Isosceles Triangle 130"/>
              <p:cNvSpPr/>
              <p:nvPr/>
            </p:nvSpPr>
            <p:spPr>
              <a:xfrm>
                <a:off x="2789660" y="1551279"/>
                <a:ext cx="575648" cy="5897271"/>
              </a:xfrm>
              <a:prstGeom prst="triangle">
                <a:avLst>
                  <a:gd name="adj" fmla="val 5330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32" name="Group 131"/>
              <p:cNvGrpSpPr/>
              <p:nvPr/>
            </p:nvGrpSpPr>
            <p:grpSpPr>
              <a:xfrm>
                <a:off x="274646" y="-1004072"/>
                <a:ext cx="5446648" cy="3713114"/>
                <a:chOff x="274646" y="-1004072"/>
                <a:chExt cx="5446648" cy="3713114"/>
              </a:xfrm>
            </p:grpSpPr>
            <p:sp>
              <p:nvSpPr>
                <p:cNvPr id="133" name="Round Same Side Corner Rectangle 11"/>
                <p:cNvSpPr/>
                <p:nvPr/>
              </p:nvSpPr>
              <p:spPr>
                <a:xfrm rot="240000">
                  <a:off x="3037776" y="-1004072"/>
                  <a:ext cx="251846" cy="2632765"/>
                </a:xfrm>
                <a:custGeom>
                  <a:avLst/>
                  <a:gdLst>
                    <a:gd name="connsiteX0" fmla="*/ 192704 w 474348"/>
                    <a:gd name="connsiteY0" fmla="*/ 0 h 645319"/>
                    <a:gd name="connsiteX1" fmla="*/ 281644 w 474348"/>
                    <a:gd name="connsiteY1" fmla="*/ 0 h 645319"/>
                    <a:gd name="connsiteX2" fmla="*/ 474348 w 474348"/>
                    <a:gd name="connsiteY2" fmla="*/ 192704 h 645319"/>
                    <a:gd name="connsiteX3" fmla="*/ 474348 w 474348"/>
                    <a:gd name="connsiteY3" fmla="*/ 645319 h 645319"/>
                    <a:gd name="connsiteX4" fmla="*/ 474348 w 474348"/>
                    <a:gd name="connsiteY4" fmla="*/ 645319 h 645319"/>
                    <a:gd name="connsiteX5" fmla="*/ 0 w 474348"/>
                    <a:gd name="connsiteY5" fmla="*/ 645319 h 645319"/>
                    <a:gd name="connsiteX6" fmla="*/ 0 w 474348"/>
                    <a:gd name="connsiteY6" fmla="*/ 645319 h 645319"/>
                    <a:gd name="connsiteX7" fmla="*/ 0 w 474348"/>
                    <a:gd name="connsiteY7" fmla="*/ 192704 h 645319"/>
                    <a:gd name="connsiteX8" fmla="*/ 192704 w 474348"/>
                    <a:gd name="connsiteY8" fmla="*/ 0 h 645319"/>
                    <a:gd name="connsiteX0" fmla="*/ 192704 w 474348"/>
                    <a:gd name="connsiteY0" fmla="*/ 0 h 645319"/>
                    <a:gd name="connsiteX1" fmla="*/ 281644 w 474348"/>
                    <a:gd name="connsiteY1" fmla="*/ 0 h 645319"/>
                    <a:gd name="connsiteX2" fmla="*/ 474348 w 474348"/>
                    <a:gd name="connsiteY2" fmla="*/ 192704 h 645319"/>
                    <a:gd name="connsiteX3" fmla="*/ 474348 w 474348"/>
                    <a:gd name="connsiteY3" fmla="*/ 645319 h 645319"/>
                    <a:gd name="connsiteX4" fmla="*/ 474348 w 474348"/>
                    <a:gd name="connsiteY4" fmla="*/ 645319 h 645319"/>
                    <a:gd name="connsiteX5" fmla="*/ 248129 w 474348"/>
                    <a:gd name="connsiteY5" fmla="*/ 645319 h 645319"/>
                    <a:gd name="connsiteX6" fmla="*/ 0 w 474348"/>
                    <a:gd name="connsiteY6" fmla="*/ 645319 h 645319"/>
                    <a:gd name="connsiteX7" fmla="*/ 0 w 474348"/>
                    <a:gd name="connsiteY7" fmla="*/ 645319 h 645319"/>
                    <a:gd name="connsiteX8" fmla="*/ 0 w 474348"/>
                    <a:gd name="connsiteY8" fmla="*/ 192704 h 645319"/>
                    <a:gd name="connsiteX9" fmla="*/ 192704 w 474348"/>
                    <a:gd name="connsiteY9" fmla="*/ 0 h 645319"/>
                    <a:gd name="connsiteX0" fmla="*/ 192704 w 474348"/>
                    <a:gd name="connsiteY0" fmla="*/ 2381 h 647700"/>
                    <a:gd name="connsiteX1" fmla="*/ 240986 w 474348"/>
                    <a:gd name="connsiteY1" fmla="*/ 0 h 647700"/>
                    <a:gd name="connsiteX2" fmla="*/ 281644 w 474348"/>
                    <a:gd name="connsiteY2" fmla="*/ 2381 h 647700"/>
                    <a:gd name="connsiteX3" fmla="*/ 474348 w 474348"/>
                    <a:gd name="connsiteY3" fmla="*/ 195085 h 647700"/>
                    <a:gd name="connsiteX4" fmla="*/ 474348 w 474348"/>
                    <a:gd name="connsiteY4" fmla="*/ 647700 h 647700"/>
                    <a:gd name="connsiteX5" fmla="*/ 474348 w 474348"/>
                    <a:gd name="connsiteY5" fmla="*/ 647700 h 647700"/>
                    <a:gd name="connsiteX6" fmla="*/ 248129 w 474348"/>
                    <a:gd name="connsiteY6" fmla="*/ 647700 h 647700"/>
                    <a:gd name="connsiteX7" fmla="*/ 0 w 474348"/>
                    <a:gd name="connsiteY7" fmla="*/ 647700 h 647700"/>
                    <a:gd name="connsiteX8" fmla="*/ 0 w 474348"/>
                    <a:gd name="connsiteY8" fmla="*/ 647700 h 647700"/>
                    <a:gd name="connsiteX9" fmla="*/ 0 w 474348"/>
                    <a:gd name="connsiteY9" fmla="*/ 195085 h 647700"/>
                    <a:gd name="connsiteX10" fmla="*/ 192704 w 474348"/>
                    <a:gd name="connsiteY10" fmla="*/ 2381 h 647700"/>
                    <a:gd name="connsiteX0" fmla="*/ 192704 w 474348"/>
                    <a:gd name="connsiteY0" fmla="*/ 42862 h 688181"/>
                    <a:gd name="connsiteX1" fmla="*/ 240986 w 474348"/>
                    <a:gd name="connsiteY1" fmla="*/ 0 h 688181"/>
                    <a:gd name="connsiteX2" fmla="*/ 281644 w 474348"/>
                    <a:gd name="connsiteY2" fmla="*/ 42862 h 688181"/>
                    <a:gd name="connsiteX3" fmla="*/ 474348 w 474348"/>
                    <a:gd name="connsiteY3" fmla="*/ 235566 h 688181"/>
                    <a:gd name="connsiteX4" fmla="*/ 474348 w 474348"/>
                    <a:gd name="connsiteY4" fmla="*/ 688181 h 688181"/>
                    <a:gd name="connsiteX5" fmla="*/ 474348 w 474348"/>
                    <a:gd name="connsiteY5" fmla="*/ 688181 h 688181"/>
                    <a:gd name="connsiteX6" fmla="*/ 248129 w 474348"/>
                    <a:gd name="connsiteY6" fmla="*/ 688181 h 688181"/>
                    <a:gd name="connsiteX7" fmla="*/ 0 w 474348"/>
                    <a:gd name="connsiteY7" fmla="*/ 688181 h 688181"/>
                    <a:gd name="connsiteX8" fmla="*/ 0 w 474348"/>
                    <a:gd name="connsiteY8" fmla="*/ 688181 h 688181"/>
                    <a:gd name="connsiteX9" fmla="*/ 0 w 474348"/>
                    <a:gd name="connsiteY9" fmla="*/ 235566 h 688181"/>
                    <a:gd name="connsiteX10" fmla="*/ 192704 w 474348"/>
                    <a:gd name="connsiteY10" fmla="*/ 42862 h 688181"/>
                    <a:gd name="connsiteX0" fmla="*/ 192704 w 474348"/>
                    <a:gd name="connsiteY0" fmla="*/ 23812 h 669131"/>
                    <a:gd name="connsiteX1" fmla="*/ 265690 w 474348"/>
                    <a:gd name="connsiteY1" fmla="*/ 0 h 669131"/>
                    <a:gd name="connsiteX2" fmla="*/ 281644 w 474348"/>
                    <a:gd name="connsiteY2" fmla="*/ 23812 h 669131"/>
                    <a:gd name="connsiteX3" fmla="*/ 474348 w 474348"/>
                    <a:gd name="connsiteY3" fmla="*/ 216516 h 669131"/>
                    <a:gd name="connsiteX4" fmla="*/ 474348 w 474348"/>
                    <a:gd name="connsiteY4" fmla="*/ 669131 h 669131"/>
                    <a:gd name="connsiteX5" fmla="*/ 474348 w 474348"/>
                    <a:gd name="connsiteY5" fmla="*/ 669131 h 669131"/>
                    <a:gd name="connsiteX6" fmla="*/ 248129 w 474348"/>
                    <a:gd name="connsiteY6" fmla="*/ 669131 h 669131"/>
                    <a:gd name="connsiteX7" fmla="*/ 0 w 474348"/>
                    <a:gd name="connsiteY7" fmla="*/ 669131 h 669131"/>
                    <a:gd name="connsiteX8" fmla="*/ 0 w 474348"/>
                    <a:gd name="connsiteY8" fmla="*/ 669131 h 669131"/>
                    <a:gd name="connsiteX9" fmla="*/ 0 w 474348"/>
                    <a:gd name="connsiteY9" fmla="*/ 216516 h 669131"/>
                    <a:gd name="connsiteX10" fmla="*/ 192704 w 474348"/>
                    <a:gd name="connsiteY10" fmla="*/ 23812 h 669131"/>
                    <a:gd name="connsiteX0" fmla="*/ 192704 w 474348"/>
                    <a:gd name="connsiteY0" fmla="*/ 23812 h 669131"/>
                    <a:gd name="connsiteX1" fmla="*/ 265690 w 474348"/>
                    <a:gd name="connsiteY1" fmla="*/ 0 h 669131"/>
                    <a:gd name="connsiteX2" fmla="*/ 281644 w 474348"/>
                    <a:gd name="connsiteY2" fmla="*/ 23812 h 669131"/>
                    <a:gd name="connsiteX3" fmla="*/ 474348 w 474348"/>
                    <a:gd name="connsiteY3" fmla="*/ 216516 h 669131"/>
                    <a:gd name="connsiteX4" fmla="*/ 474348 w 474348"/>
                    <a:gd name="connsiteY4" fmla="*/ 669131 h 669131"/>
                    <a:gd name="connsiteX5" fmla="*/ 474348 w 474348"/>
                    <a:gd name="connsiteY5" fmla="*/ 669131 h 669131"/>
                    <a:gd name="connsiteX6" fmla="*/ 248129 w 474348"/>
                    <a:gd name="connsiteY6" fmla="*/ 669131 h 669131"/>
                    <a:gd name="connsiteX7" fmla="*/ 0 w 474348"/>
                    <a:gd name="connsiteY7" fmla="*/ 669131 h 669131"/>
                    <a:gd name="connsiteX8" fmla="*/ 0 w 474348"/>
                    <a:gd name="connsiteY8" fmla="*/ 669131 h 669131"/>
                    <a:gd name="connsiteX9" fmla="*/ 0 w 474348"/>
                    <a:gd name="connsiteY9" fmla="*/ 216516 h 669131"/>
                    <a:gd name="connsiteX10" fmla="*/ 192704 w 474348"/>
                    <a:gd name="connsiteY10" fmla="*/ 23812 h 669131"/>
                    <a:gd name="connsiteX0" fmla="*/ 192704 w 474348"/>
                    <a:gd name="connsiteY0" fmla="*/ 23812 h 669131"/>
                    <a:gd name="connsiteX1" fmla="*/ 265690 w 474348"/>
                    <a:gd name="connsiteY1" fmla="*/ 0 h 669131"/>
                    <a:gd name="connsiteX2" fmla="*/ 281644 w 474348"/>
                    <a:gd name="connsiteY2" fmla="*/ 23812 h 669131"/>
                    <a:gd name="connsiteX3" fmla="*/ 474348 w 474348"/>
                    <a:gd name="connsiteY3" fmla="*/ 216516 h 669131"/>
                    <a:gd name="connsiteX4" fmla="*/ 474348 w 474348"/>
                    <a:gd name="connsiteY4" fmla="*/ 669131 h 669131"/>
                    <a:gd name="connsiteX5" fmla="*/ 474348 w 474348"/>
                    <a:gd name="connsiteY5" fmla="*/ 669131 h 669131"/>
                    <a:gd name="connsiteX6" fmla="*/ 248129 w 474348"/>
                    <a:gd name="connsiteY6" fmla="*/ 669131 h 669131"/>
                    <a:gd name="connsiteX7" fmla="*/ 0 w 474348"/>
                    <a:gd name="connsiteY7" fmla="*/ 669131 h 669131"/>
                    <a:gd name="connsiteX8" fmla="*/ 0 w 474348"/>
                    <a:gd name="connsiteY8" fmla="*/ 669131 h 669131"/>
                    <a:gd name="connsiteX9" fmla="*/ 0 w 474348"/>
                    <a:gd name="connsiteY9" fmla="*/ 216516 h 669131"/>
                    <a:gd name="connsiteX10" fmla="*/ 192704 w 474348"/>
                    <a:gd name="connsiteY10" fmla="*/ 23812 h 669131"/>
                    <a:gd name="connsiteX0" fmla="*/ 192704 w 474348"/>
                    <a:gd name="connsiteY0" fmla="*/ 23812 h 669131"/>
                    <a:gd name="connsiteX1" fmla="*/ 265690 w 474348"/>
                    <a:gd name="connsiteY1" fmla="*/ 0 h 669131"/>
                    <a:gd name="connsiteX2" fmla="*/ 281644 w 474348"/>
                    <a:gd name="connsiteY2" fmla="*/ 23812 h 669131"/>
                    <a:gd name="connsiteX3" fmla="*/ 474348 w 474348"/>
                    <a:gd name="connsiteY3" fmla="*/ 216516 h 669131"/>
                    <a:gd name="connsiteX4" fmla="*/ 474348 w 474348"/>
                    <a:gd name="connsiteY4" fmla="*/ 669131 h 669131"/>
                    <a:gd name="connsiteX5" fmla="*/ 474348 w 474348"/>
                    <a:gd name="connsiteY5" fmla="*/ 669131 h 669131"/>
                    <a:gd name="connsiteX6" fmla="*/ 248129 w 474348"/>
                    <a:gd name="connsiteY6" fmla="*/ 669131 h 669131"/>
                    <a:gd name="connsiteX7" fmla="*/ 0 w 474348"/>
                    <a:gd name="connsiteY7" fmla="*/ 669131 h 669131"/>
                    <a:gd name="connsiteX8" fmla="*/ 0 w 474348"/>
                    <a:gd name="connsiteY8" fmla="*/ 669131 h 669131"/>
                    <a:gd name="connsiteX9" fmla="*/ 0 w 474348"/>
                    <a:gd name="connsiteY9" fmla="*/ 216516 h 669131"/>
                    <a:gd name="connsiteX10" fmla="*/ 192704 w 474348"/>
                    <a:gd name="connsiteY10" fmla="*/ 23812 h 669131"/>
                    <a:gd name="connsiteX0" fmla="*/ 192704 w 474348"/>
                    <a:gd name="connsiteY0" fmla="*/ 23812 h 669131"/>
                    <a:gd name="connsiteX1" fmla="*/ 265690 w 474348"/>
                    <a:gd name="connsiteY1" fmla="*/ 0 h 669131"/>
                    <a:gd name="connsiteX2" fmla="*/ 281644 w 474348"/>
                    <a:gd name="connsiteY2" fmla="*/ 23812 h 669131"/>
                    <a:gd name="connsiteX3" fmla="*/ 474348 w 474348"/>
                    <a:gd name="connsiteY3" fmla="*/ 216516 h 669131"/>
                    <a:gd name="connsiteX4" fmla="*/ 474348 w 474348"/>
                    <a:gd name="connsiteY4" fmla="*/ 669131 h 669131"/>
                    <a:gd name="connsiteX5" fmla="*/ 474348 w 474348"/>
                    <a:gd name="connsiteY5" fmla="*/ 669131 h 669131"/>
                    <a:gd name="connsiteX6" fmla="*/ 248129 w 474348"/>
                    <a:gd name="connsiteY6" fmla="*/ 669131 h 669131"/>
                    <a:gd name="connsiteX7" fmla="*/ 0 w 474348"/>
                    <a:gd name="connsiteY7" fmla="*/ 669131 h 669131"/>
                    <a:gd name="connsiteX8" fmla="*/ 0 w 474348"/>
                    <a:gd name="connsiteY8" fmla="*/ 669131 h 669131"/>
                    <a:gd name="connsiteX9" fmla="*/ 0 w 474348"/>
                    <a:gd name="connsiteY9" fmla="*/ 216516 h 669131"/>
                    <a:gd name="connsiteX10" fmla="*/ 192704 w 474348"/>
                    <a:gd name="connsiteY10" fmla="*/ 23812 h 669131"/>
                    <a:gd name="connsiteX0" fmla="*/ 192704 w 474348"/>
                    <a:gd name="connsiteY0" fmla="*/ 23812 h 669131"/>
                    <a:gd name="connsiteX1" fmla="*/ 265690 w 474348"/>
                    <a:gd name="connsiteY1" fmla="*/ 0 h 669131"/>
                    <a:gd name="connsiteX2" fmla="*/ 299854 w 474348"/>
                    <a:gd name="connsiteY2" fmla="*/ 24247 h 669131"/>
                    <a:gd name="connsiteX3" fmla="*/ 474348 w 474348"/>
                    <a:gd name="connsiteY3" fmla="*/ 216516 h 669131"/>
                    <a:gd name="connsiteX4" fmla="*/ 474348 w 474348"/>
                    <a:gd name="connsiteY4" fmla="*/ 669131 h 669131"/>
                    <a:gd name="connsiteX5" fmla="*/ 474348 w 474348"/>
                    <a:gd name="connsiteY5" fmla="*/ 669131 h 669131"/>
                    <a:gd name="connsiteX6" fmla="*/ 248129 w 474348"/>
                    <a:gd name="connsiteY6" fmla="*/ 669131 h 669131"/>
                    <a:gd name="connsiteX7" fmla="*/ 0 w 474348"/>
                    <a:gd name="connsiteY7" fmla="*/ 669131 h 669131"/>
                    <a:gd name="connsiteX8" fmla="*/ 0 w 474348"/>
                    <a:gd name="connsiteY8" fmla="*/ 669131 h 669131"/>
                    <a:gd name="connsiteX9" fmla="*/ 0 w 474348"/>
                    <a:gd name="connsiteY9" fmla="*/ 216516 h 669131"/>
                    <a:gd name="connsiteX10" fmla="*/ 192704 w 474348"/>
                    <a:gd name="connsiteY10" fmla="*/ 23812 h 669131"/>
                    <a:gd name="connsiteX0" fmla="*/ 192704 w 474348"/>
                    <a:gd name="connsiteY0" fmla="*/ 23812 h 669131"/>
                    <a:gd name="connsiteX1" fmla="*/ 265690 w 474348"/>
                    <a:gd name="connsiteY1" fmla="*/ 0 h 669131"/>
                    <a:gd name="connsiteX2" fmla="*/ 299854 w 474348"/>
                    <a:gd name="connsiteY2" fmla="*/ 24247 h 669131"/>
                    <a:gd name="connsiteX3" fmla="*/ 474348 w 474348"/>
                    <a:gd name="connsiteY3" fmla="*/ 216516 h 669131"/>
                    <a:gd name="connsiteX4" fmla="*/ 474348 w 474348"/>
                    <a:gd name="connsiteY4" fmla="*/ 669131 h 669131"/>
                    <a:gd name="connsiteX5" fmla="*/ 474348 w 474348"/>
                    <a:gd name="connsiteY5" fmla="*/ 669131 h 669131"/>
                    <a:gd name="connsiteX6" fmla="*/ 248129 w 474348"/>
                    <a:gd name="connsiteY6" fmla="*/ 669131 h 669131"/>
                    <a:gd name="connsiteX7" fmla="*/ 0 w 474348"/>
                    <a:gd name="connsiteY7" fmla="*/ 669131 h 669131"/>
                    <a:gd name="connsiteX8" fmla="*/ 0 w 474348"/>
                    <a:gd name="connsiteY8" fmla="*/ 669131 h 669131"/>
                    <a:gd name="connsiteX9" fmla="*/ 0 w 474348"/>
                    <a:gd name="connsiteY9" fmla="*/ 216516 h 669131"/>
                    <a:gd name="connsiteX10" fmla="*/ 192704 w 474348"/>
                    <a:gd name="connsiteY10" fmla="*/ 23812 h 669131"/>
                    <a:gd name="connsiteX0" fmla="*/ 192704 w 474348"/>
                    <a:gd name="connsiteY0" fmla="*/ 23812 h 669131"/>
                    <a:gd name="connsiteX1" fmla="*/ 265690 w 474348"/>
                    <a:gd name="connsiteY1" fmla="*/ 0 h 669131"/>
                    <a:gd name="connsiteX2" fmla="*/ 299854 w 474348"/>
                    <a:gd name="connsiteY2" fmla="*/ 24247 h 669131"/>
                    <a:gd name="connsiteX3" fmla="*/ 474348 w 474348"/>
                    <a:gd name="connsiteY3" fmla="*/ 216516 h 669131"/>
                    <a:gd name="connsiteX4" fmla="*/ 474348 w 474348"/>
                    <a:gd name="connsiteY4" fmla="*/ 669131 h 669131"/>
                    <a:gd name="connsiteX5" fmla="*/ 474348 w 474348"/>
                    <a:gd name="connsiteY5" fmla="*/ 669131 h 669131"/>
                    <a:gd name="connsiteX6" fmla="*/ 248129 w 474348"/>
                    <a:gd name="connsiteY6" fmla="*/ 669131 h 669131"/>
                    <a:gd name="connsiteX7" fmla="*/ 0 w 474348"/>
                    <a:gd name="connsiteY7" fmla="*/ 669131 h 669131"/>
                    <a:gd name="connsiteX8" fmla="*/ 0 w 474348"/>
                    <a:gd name="connsiteY8" fmla="*/ 669131 h 669131"/>
                    <a:gd name="connsiteX9" fmla="*/ 0 w 474348"/>
                    <a:gd name="connsiteY9" fmla="*/ 216516 h 669131"/>
                    <a:gd name="connsiteX10" fmla="*/ 192704 w 474348"/>
                    <a:gd name="connsiteY10" fmla="*/ 23812 h 669131"/>
                    <a:gd name="connsiteX0" fmla="*/ 192704 w 474348"/>
                    <a:gd name="connsiteY0" fmla="*/ 23812 h 669131"/>
                    <a:gd name="connsiteX1" fmla="*/ 265690 w 474348"/>
                    <a:gd name="connsiteY1" fmla="*/ 0 h 669131"/>
                    <a:gd name="connsiteX2" fmla="*/ 299854 w 474348"/>
                    <a:gd name="connsiteY2" fmla="*/ 24247 h 669131"/>
                    <a:gd name="connsiteX3" fmla="*/ 474348 w 474348"/>
                    <a:gd name="connsiteY3" fmla="*/ 216516 h 669131"/>
                    <a:gd name="connsiteX4" fmla="*/ 474348 w 474348"/>
                    <a:gd name="connsiteY4" fmla="*/ 669131 h 669131"/>
                    <a:gd name="connsiteX5" fmla="*/ 474348 w 474348"/>
                    <a:gd name="connsiteY5" fmla="*/ 669131 h 669131"/>
                    <a:gd name="connsiteX6" fmla="*/ 248129 w 474348"/>
                    <a:gd name="connsiteY6" fmla="*/ 669131 h 669131"/>
                    <a:gd name="connsiteX7" fmla="*/ 0 w 474348"/>
                    <a:gd name="connsiteY7" fmla="*/ 669131 h 669131"/>
                    <a:gd name="connsiteX8" fmla="*/ 0 w 474348"/>
                    <a:gd name="connsiteY8" fmla="*/ 669131 h 669131"/>
                    <a:gd name="connsiteX9" fmla="*/ 0 w 474348"/>
                    <a:gd name="connsiteY9" fmla="*/ 216516 h 669131"/>
                    <a:gd name="connsiteX10" fmla="*/ 192704 w 474348"/>
                    <a:gd name="connsiteY10" fmla="*/ 23812 h 669131"/>
                    <a:gd name="connsiteX0" fmla="*/ 192704 w 474348"/>
                    <a:gd name="connsiteY0" fmla="*/ 23812 h 669131"/>
                    <a:gd name="connsiteX1" fmla="*/ 265690 w 474348"/>
                    <a:gd name="connsiteY1" fmla="*/ 0 h 669131"/>
                    <a:gd name="connsiteX2" fmla="*/ 317751 w 474348"/>
                    <a:gd name="connsiteY2" fmla="*/ 24078 h 669131"/>
                    <a:gd name="connsiteX3" fmla="*/ 474348 w 474348"/>
                    <a:gd name="connsiteY3" fmla="*/ 216516 h 669131"/>
                    <a:gd name="connsiteX4" fmla="*/ 474348 w 474348"/>
                    <a:gd name="connsiteY4" fmla="*/ 669131 h 669131"/>
                    <a:gd name="connsiteX5" fmla="*/ 474348 w 474348"/>
                    <a:gd name="connsiteY5" fmla="*/ 669131 h 669131"/>
                    <a:gd name="connsiteX6" fmla="*/ 248129 w 474348"/>
                    <a:gd name="connsiteY6" fmla="*/ 669131 h 669131"/>
                    <a:gd name="connsiteX7" fmla="*/ 0 w 474348"/>
                    <a:gd name="connsiteY7" fmla="*/ 669131 h 669131"/>
                    <a:gd name="connsiteX8" fmla="*/ 0 w 474348"/>
                    <a:gd name="connsiteY8" fmla="*/ 669131 h 669131"/>
                    <a:gd name="connsiteX9" fmla="*/ 0 w 474348"/>
                    <a:gd name="connsiteY9" fmla="*/ 216516 h 669131"/>
                    <a:gd name="connsiteX10" fmla="*/ 192704 w 474348"/>
                    <a:gd name="connsiteY10" fmla="*/ 23812 h 669131"/>
                    <a:gd name="connsiteX0" fmla="*/ 192704 w 474348"/>
                    <a:gd name="connsiteY0" fmla="*/ 23812 h 669131"/>
                    <a:gd name="connsiteX1" fmla="*/ 265690 w 474348"/>
                    <a:gd name="connsiteY1" fmla="*/ 0 h 669131"/>
                    <a:gd name="connsiteX2" fmla="*/ 317751 w 474348"/>
                    <a:gd name="connsiteY2" fmla="*/ 24078 h 669131"/>
                    <a:gd name="connsiteX3" fmla="*/ 474348 w 474348"/>
                    <a:gd name="connsiteY3" fmla="*/ 216516 h 669131"/>
                    <a:gd name="connsiteX4" fmla="*/ 474348 w 474348"/>
                    <a:gd name="connsiteY4" fmla="*/ 669131 h 669131"/>
                    <a:gd name="connsiteX5" fmla="*/ 474348 w 474348"/>
                    <a:gd name="connsiteY5" fmla="*/ 669131 h 669131"/>
                    <a:gd name="connsiteX6" fmla="*/ 248129 w 474348"/>
                    <a:gd name="connsiteY6" fmla="*/ 669131 h 669131"/>
                    <a:gd name="connsiteX7" fmla="*/ 0 w 474348"/>
                    <a:gd name="connsiteY7" fmla="*/ 669131 h 669131"/>
                    <a:gd name="connsiteX8" fmla="*/ 0 w 474348"/>
                    <a:gd name="connsiteY8" fmla="*/ 669131 h 669131"/>
                    <a:gd name="connsiteX9" fmla="*/ 0 w 474348"/>
                    <a:gd name="connsiteY9" fmla="*/ 216516 h 669131"/>
                    <a:gd name="connsiteX10" fmla="*/ 192704 w 474348"/>
                    <a:gd name="connsiteY10" fmla="*/ 23812 h 6691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74348" h="669131">
                      <a:moveTo>
                        <a:pt x="192704" y="23812"/>
                      </a:moveTo>
                      <a:cubicBezTo>
                        <a:pt x="263527" y="1482"/>
                        <a:pt x="241361" y="7937"/>
                        <a:pt x="265690" y="0"/>
                      </a:cubicBezTo>
                      <a:cubicBezTo>
                        <a:pt x="271008" y="7937"/>
                        <a:pt x="263093" y="-988"/>
                        <a:pt x="317751" y="24078"/>
                      </a:cubicBezTo>
                      <a:cubicBezTo>
                        <a:pt x="369579" y="48860"/>
                        <a:pt x="474348" y="110089"/>
                        <a:pt x="474348" y="216516"/>
                      </a:cubicBezTo>
                      <a:lnTo>
                        <a:pt x="474348" y="669131"/>
                      </a:lnTo>
                      <a:lnTo>
                        <a:pt x="474348" y="669131"/>
                      </a:lnTo>
                      <a:lnTo>
                        <a:pt x="248129" y="669131"/>
                      </a:lnTo>
                      <a:lnTo>
                        <a:pt x="0" y="669131"/>
                      </a:lnTo>
                      <a:lnTo>
                        <a:pt x="0" y="669131"/>
                      </a:lnTo>
                      <a:lnTo>
                        <a:pt x="0" y="216516"/>
                      </a:lnTo>
                      <a:cubicBezTo>
                        <a:pt x="0" y="110089"/>
                        <a:pt x="141340" y="43314"/>
                        <a:pt x="192704" y="23812"/>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34" name="Round Same Side Corner Rectangle 11"/>
                <p:cNvSpPr/>
                <p:nvPr/>
              </p:nvSpPr>
              <p:spPr>
                <a:xfrm rot="15060000">
                  <a:off x="1454696" y="1026331"/>
                  <a:ext cx="251846" cy="2611946"/>
                </a:xfrm>
                <a:custGeom>
                  <a:avLst/>
                  <a:gdLst>
                    <a:gd name="connsiteX0" fmla="*/ 192704 w 474348"/>
                    <a:gd name="connsiteY0" fmla="*/ 0 h 645319"/>
                    <a:gd name="connsiteX1" fmla="*/ 281644 w 474348"/>
                    <a:gd name="connsiteY1" fmla="*/ 0 h 645319"/>
                    <a:gd name="connsiteX2" fmla="*/ 474348 w 474348"/>
                    <a:gd name="connsiteY2" fmla="*/ 192704 h 645319"/>
                    <a:gd name="connsiteX3" fmla="*/ 474348 w 474348"/>
                    <a:gd name="connsiteY3" fmla="*/ 645319 h 645319"/>
                    <a:gd name="connsiteX4" fmla="*/ 474348 w 474348"/>
                    <a:gd name="connsiteY4" fmla="*/ 645319 h 645319"/>
                    <a:gd name="connsiteX5" fmla="*/ 0 w 474348"/>
                    <a:gd name="connsiteY5" fmla="*/ 645319 h 645319"/>
                    <a:gd name="connsiteX6" fmla="*/ 0 w 474348"/>
                    <a:gd name="connsiteY6" fmla="*/ 645319 h 645319"/>
                    <a:gd name="connsiteX7" fmla="*/ 0 w 474348"/>
                    <a:gd name="connsiteY7" fmla="*/ 192704 h 645319"/>
                    <a:gd name="connsiteX8" fmla="*/ 192704 w 474348"/>
                    <a:gd name="connsiteY8" fmla="*/ 0 h 645319"/>
                    <a:gd name="connsiteX0" fmla="*/ 192704 w 474348"/>
                    <a:gd name="connsiteY0" fmla="*/ 0 h 645319"/>
                    <a:gd name="connsiteX1" fmla="*/ 281644 w 474348"/>
                    <a:gd name="connsiteY1" fmla="*/ 0 h 645319"/>
                    <a:gd name="connsiteX2" fmla="*/ 474348 w 474348"/>
                    <a:gd name="connsiteY2" fmla="*/ 192704 h 645319"/>
                    <a:gd name="connsiteX3" fmla="*/ 474348 w 474348"/>
                    <a:gd name="connsiteY3" fmla="*/ 645319 h 645319"/>
                    <a:gd name="connsiteX4" fmla="*/ 474348 w 474348"/>
                    <a:gd name="connsiteY4" fmla="*/ 645319 h 645319"/>
                    <a:gd name="connsiteX5" fmla="*/ 248129 w 474348"/>
                    <a:gd name="connsiteY5" fmla="*/ 645319 h 645319"/>
                    <a:gd name="connsiteX6" fmla="*/ 0 w 474348"/>
                    <a:gd name="connsiteY6" fmla="*/ 645319 h 645319"/>
                    <a:gd name="connsiteX7" fmla="*/ 0 w 474348"/>
                    <a:gd name="connsiteY7" fmla="*/ 645319 h 645319"/>
                    <a:gd name="connsiteX8" fmla="*/ 0 w 474348"/>
                    <a:gd name="connsiteY8" fmla="*/ 192704 h 645319"/>
                    <a:gd name="connsiteX9" fmla="*/ 192704 w 474348"/>
                    <a:gd name="connsiteY9" fmla="*/ 0 h 645319"/>
                    <a:gd name="connsiteX0" fmla="*/ 192704 w 474348"/>
                    <a:gd name="connsiteY0" fmla="*/ 2381 h 647700"/>
                    <a:gd name="connsiteX1" fmla="*/ 240986 w 474348"/>
                    <a:gd name="connsiteY1" fmla="*/ 0 h 647700"/>
                    <a:gd name="connsiteX2" fmla="*/ 281644 w 474348"/>
                    <a:gd name="connsiteY2" fmla="*/ 2381 h 647700"/>
                    <a:gd name="connsiteX3" fmla="*/ 474348 w 474348"/>
                    <a:gd name="connsiteY3" fmla="*/ 195085 h 647700"/>
                    <a:gd name="connsiteX4" fmla="*/ 474348 w 474348"/>
                    <a:gd name="connsiteY4" fmla="*/ 647700 h 647700"/>
                    <a:gd name="connsiteX5" fmla="*/ 474348 w 474348"/>
                    <a:gd name="connsiteY5" fmla="*/ 647700 h 647700"/>
                    <a:gd name="connsiteX6" fmla="*/ 248129 w 474348"/>
                    <a:gd name="connsiteY6" fmla="*/ 647700 h 647700"/>
                    <a:gd name="connsiteX7" fmla="*/ 0 w 474348"/>
                    <a:gd name="connsiteY7" fmla="*/ 647700 h 647700"/>
                    <a:gd name="connsiteX8" fmla="*/ 0 w 474348"/>
                    <a:gd name="connsiteY8" fmla="*/ 647700 h 647700"/>
                    <a:gd name="connsiteX9" fmla="*/ 0 w 474348"/>
                    <a:gd name="connsiteY9" fmla="*/ 195085 h 647700"/>
                    <a:gd name="connsiteX10" fmla="*/ 192704 w 474348"/>
                    <a:gd name="connsiteY10" fmla="*/ 2381 h 647700"/>
                    <a:gd name="connsiteX0" fmla="*/ 192704 w 474348"/>
                    <a:gd name="connsiteY0" fmla="*/ 42862 h 688181"/>
                    <a:gd name="connsiteX1" fmla="*/ 240986 w 474348"/>
                    <a:gd name="connsiteY1" fmla="*/ 0 h 688181"/>
                    <a:gd name="connsiteX2" fmla="*/ 281644 w 474348"/>
                    <a:gd name="connsiteY2" fmla="*/ 42862 h 688181"/>
                    <a:gd name="connsiteX3" fmla="*/ 474348 w 474348"/>
                    <a:gd name="connsiteY3" fmla="*/ 235566 h 688181"/>
                    <a:gd name="connsiteX4" fmla="*/ 474348 w 474348"/>
                    <a:gd name="connsiteY4" fmla="*/ 688181 h 688181"/>
                    <a:gd name="connsiteX5" fmla="*/ 474348 w 474348"/>
                    <a:gd name="connsiteY5" fmla="*/ 688181 h 688181"/>
                    <a:gd name="connsiteX6" fmla="*/ 248129 w 474348"/>
                    <a:gd name="connsiteY6" fmla="*/ 688181 h 688181"/>
                    <a:gd name="connsiteX7" fmla="*/ 0 w 474348"/>
                    <a:gd name="connsiteY7" fmla="*/ 688181 h 688181"/>
                    <a:gd name="connsiteX8" fmla="*/ 0 w 474348"/>
                    <a:gd name="connsiteY8" fmla="*/ 688181 h 688181"/>
                    <a:gd name="connsiteX9" fmla="*/ 0 w 474348"/>
                    <a:gd name="connsiteY9" fmla="*/ 235566 h 688181"/>
                    <a:gd name="connsiteX10" fmla="*/ 192704 w 474348"/>
                    <a:gd name="connsiteY10" fmla="*/ 42862 h 688181"/>
                    <a:gd name="connsiteX0" fmla="*/ 192704 w 474348"/>
                    <a:gd name="connsiteY0" fmla="*/ 23812 h 669131"/>
                    <a:gd name="connsiteX1" fmla="*/ 265690 w 474348"/>
                    <a:gd name="connsiteY1" fmla="*/ 0 h 669131"/>
                    <a:gd name="connsiteX2" fmla="*/ 281644 w 474348"/>
                    <a:gd name="connsiteY2" fmla="*/ 23812 h 669131"/>
                    <a:gd name="connsiteX3" fmla="*/ 474348 w 474348"/>
                    <a:gd name="connsiteY3" fmla="*/ 216516 h 669131"/>
                    <a:gd name="connsiteX4" fmla="*/ 474348 w 474348"/>
                    <a:gd name="connsiteY4" fmla="*/ 669131 h 669131"/>
                    <a:gd name="connsiteX5" fmla="*/ 474348 w 474348"/>
                    <a:gd name="connsiteY5" fmla="*/ 669131 h 669131"/>
                    <a:gd name="connsiteX6" fmla="*/ 248129 w 474348"/>
                    <a:gd name="connsiteY6" fmla="*/ 669131 h 669131"/>
                    <a:gd name="connsiteX7" fmla="*/ 0 w 474348"/>
                    <a:gd name="connsiteY7" fmla="*/ 669131 h 669131"/>
                    <a:gd name="connsiteX8" fmla="*/ 0 w 474348"/>
                    <a:gd name="connsiteY8" fmla="*/ 669131 h 669131"/>
                    <a:gd name="connsiteX9" fmla="*/ 0 w 474348"/>
                    <a:gd name="connsiteY9" fmla="*/ 216516 h 669131"/>
                    <a:gd name="connsiteX10" fmla="*/ 192704 w 474348"/>
                    <a:gd name="connsiteY10" fmla="*/ 23812 h 669131"/>
                    <a:gd name="connsiteX0" fmla="*/ 192704 w 474348"/>
                    <a:gd name="connsiteY0" fmla="*/ 23812 h 669131"/>
                    <a:gd name="connsiteX1" fmla="*/ 265690 w 474348"/>
                    <a:gd name="connsiteY1" fmla="*/ 0 h 669131"/>
                    <a:gd name="connsiteX2" fmla="*/ 281644 w 474348"/>
                    <a:gd name="connsiteY2" fmla="*/ 23812 h 669131"/>
                    <a:gd name="connsiteX3" fmla="*/ 474348 w 474348"/>
                    <a:gd name="connsiteY3" fmla="*/ 216516 h 669131"/>
                    <a:gd name="connsiteX4" fmla="*/ 474348 w 474348"/>
                    <a:gd name="connsiteY4" fmla="*/ 669131 h 669131"/>
                    <a:gd name="connsiteX5" fmla="*/ 474348 w 474348"/>
                    <a:gd name="connsiteY5" fmla="*/ 669131 h 669131"/>
                    <a:gd name="connsiteX6" fmla="*/ 248129 w 474348"/>
                    <a:gd name="connsiteY6" fmla="*/ 669131 h 669131"/>
                    <a:gd name="connsiteX7" fmla="*/ 0 w 474348"/>
                    <a:gd name="connsiteY7" fmla="*/ 669131 h 669131"/>
                    <a:gd name="connsiteX8" fmla="*/ 0 w 474348"/>
                    <a:gd name="connsiteY8" fmla="*/ 669131 h 669131"/>
                    <a:gd name="connsiteX9" fmla="*/ 0 w 474348"/>
                    <a:gd name="connsiteY9" fmla="*/ 216516 h 669131"/>
                    <a:gd name="connsiteX10" fmla="*/ 192704 w 474348"/>
                    <a:gd name="connsiteY10" fmla="*/ 23812 h 669131"/>
                    <a:gd name="connsiteX0" fmla="*/ 192704 w 474348"/>
                    <a:gd name="connsiteY0" fmla="*/ 23812 h 669131"/>
                    <a:gd name="connsiteX1" fmla="*/ 265690 w 474348"/>
                    <a:gd name="connsiteY1" fmla="*/ 0 h 669131"/>
                    <a:gd name="connsiteX2" fmla="*/ 281644 w 474348"/>
                    <a:gd name="connsiteY2" fmla="*/ 23812 h 669131"/>
                    <a:gd name="connsiteX3" fmla="*/ 474348 w 474348"/>
                    <a:gd name="connsiteY3" fmla="*/ 216516 h 669131"/>
                    <a:gd name="connsiteX4" fmla="*/ 474348 w 474348"/>
                    <a:gd name="connsiteY4" fmla="*/ 669131 h 669131"/>
                    <a:gd name="connsiteX5" fmla="*/ 474348 w 474348"/>
                    <a:gd name="connsiteY5" fmla="*/ 669131 h 669131"/>
                    <a:gd name="connsiteX6" fmla="*/ 248129 w 474348"/>
                    <a:gd name="connsiteY6" fmla="*/ 669131 h 669131"/>
                    <a:gd name="connsiteX7" fmla="*/ 0 w 474348"/>
                    <a:gd name="connsiteY7" fmla="*/ 669131 h 669131"/>
                    <a:gd name="connsiteX8" fmla="*/ 0 w 474348"/>
                    <a:gd name="connsiteY8" fmla="*/ 669131 h 669131"/>
                    <a:gd name="connsiteX9" fmla="*/ 0 w 474348"/>
                    <a:gd name="connsiteY9" fmla="*/ 216516 h 669131"/>
                    <a:gd name="connsiteX10" fmla="*/ 192704 w 474348"/>
                    <a:gd name="connsiteY10" fmla="*/ 23812 h 669131"/>
                    <a:gd name="connsiteX0" fmla="*/ 192704 w 474348"/>
                    <a:gd name="connsiteY0" fmla="*/ 23812 h 669131"/>
                    <a:gd name="connsiteX1" fmla="*/ 265690 w 474348"/>
                    <a:gd name="connsiteY1" fmla="*/ 0 h 669131"/>
                    <a:gd name="connsiteX2" fmla="*/ 314250 w 474348"/>
                    <a:gd name="connsiteY2" fmla="*/ 24047 h 669131"/>
                    <a:gd name="connsiteX3" fmla="*/ 474348 w 474348"/>
                    <a:gd name="connsiteY3" fmla="*/ 216516 h 669131"/>
                    <a:gd name="connsiteX4" fmla="*/ 474348 w 474348"/>
                    <a:gd name="connsiteY4" fmla="*/ 669131 h 669131"/>
                    <a:gd name="connsiteX5" fmla="*/ 474348 w 474348"/>
                    <a:gd name="connsiteY5" fmla="*/ 669131 h 669131"/>
                    <a:gd name="connsiteX6" fmla="*/ 248129 w 474348"/>
                    <a:gd name="connsiteY6" fmla="*/ 669131 h 669131"/>
                    <a:gd name="connsiteX7" fmla="*/ 0 w 474348"/>
                    <a:gd name="connsiteY7" fmla="*/ 669131 h 669131"/>
                    <a:gd name="connsiteX8" fmla="*/ 0 w 474348"/>
                    <a:gd name="connsiteY8" fmla="*/ 669131 h 669131"/>
                    <a:gd name="connsiteX9" fmla="*/ 0 w 474348"/>
                    <a:gd name="connsiteY9" fmla="*/ 216516 h 669131"/>
                    <a:gd name="connsiteX10" fmla="*/ 192704 w 474348"/>
                    <a:gd name="connsiteY10" fmla="*/ 23812 h 669131"/>
                    <a:gd name="connsiteX0" fmla="*/ 192704 w 474348"/>
                    <a:gd name="connsiteY0" fmla="*/ 23812 h 669131"/>
                    <a:gd name="connsiteX1" fmla="*/ 265690 w 474348"/>
                    <a:gd name="connsiteY1" fmla="*/ 0 h 669131"/>
                    <a:gd name="connsiteX2" fmla="*/ 314250 w 474348"/>
                    <a:gd name="connsiteY2" fmla="*/ 24047 h 669131"/>
                    <a:gd name="connsiteX3" fmla="*/ 474348 w 474348"/>
                    <a:gd name="connsiteY3" fmla="*/ 216516 h 669131"/>
                    <a:gd name="connsiteX4" fmla="*/ 474348 w 474348"/>
                    <a:gd name="connsiteY4" fmla="*/ 669131 h 669131"/>
                    <a:gd name="connsiteX5" fmla="*/ 474348 w 474348"/>
                    <a:gd name="connsiteY5" fmla="*/ 669131 h 669131"/>
                    <a:gd name="connsiteX6" fmla="*/ 248129 w 474348"/>
                    <a:gd name="connsiteY6" fmla="*/ 669131 h 669131"/>
                    <a:gd name="connsiteX7" fmla="*/ 0 w 474348"/>
                    <a:gd name="connsiteY7" fmla="*/ 669131 h 669131"/>
                    <a:gd name="connsiteX8" fmla="*/ 0 w 474348"/>
                    <a:gd name="connsiteY8" fmla="*/ 669131 h 669131"/>
                    <a:gd name="connsiteX9" fmla="*/ 0 w 474348"/>
                    <a:gd name="connsiteY9" fmla="*/ 216516 h 669131"/>
                    <a:gd name="connsiteX10" fmla="*/ 192704 w 474348"/>
                    <a:gd name="connsiteY10" fmla="*/ 23812 h 669131"/>
                    <a:gd name="connsiteX0" fmla="*/ 192704 w 474348"/>
                    <a:gd name="connsiteY0" fmla="*/ 23812 h 669131"/>
                    <a:gd name="connsiteX1" fmla="*/ 265690 w 474348"/>
                    <a:gd name="connsiteY1" fmla="*/ 0 h 669131"/>
                    <a:gd name="connsiteX2" fmla="*/ 314250 w 474348"/>
                    <a:gd name="connsiteY2" fmla="*/ 24047 h 669131"/>
                    <a:gd name="connsiteX3" fmla="*/ 474348 w 474348"/>
                    <a:gd name="connsiteY3" fmla="*/ 216516 h 669131"/>
                    <a:gd name="connsiteX4" fmla="*/ 474348 w 474348"/>
                    <a:gd name="connsiteY4" fmla="*/ 669131 h 669131"/>
                    <a:gd name="connsiteX5" fmla="*/ 474348 w 474348"/>
                    <a:gd name="connsiteY5" fmla="*/ 669131 h 669131"/>
                    <a:gd name="connsiteX6" fmla="*/ 248129 w 474348"/>
                    <a:gd name="connsiteY6" fmla="*/ 669131 h 669131"/>
                    <a:gd name="connsiteX7" fmla="*/ 0 w 474348"/>
                    <a:gd name="connsiteY7" fmla="*/ 669131 h 669131"/>
                    <a:gd name="connsiteX8" fmla="*/ 0 w 474348"/>
                    <a:gd name="connsiteY8" fmla="*/ 669131 h 669131"/>
                    <a:gd name="connsiteX9" fmla="*/ 0 w 474348"/>
                    <a:gd name="connsiteY9" fmla="*/ 216516 h 669131"/>
                    <a:gd name="connsiteX10" fmla="*/ 192704 w 474348"/>
                    <a:gd name="connsiteY10" fmla="*/ 23812 h 669131"/>
                    <a:gd name="connsiteX0" fmla="*/ 174282 w 474348"/>
                    <a:gd name="connsiteY0" fmla="*/ 23596 h 669131"/>
                    <a:gd name="connsiteX1" fmla="*/ 265690 w 474348"/>
                    <a:gd name="connsiteY1" fmla="*/ 0 h 669131"/>
                    <a:gd name="connsiteX2" fmla="*/ 314250 w 474348"/>
                    <a:gd name="connsiteY2" fmla="*/ 24047 h 669131"/>
                    <a:gd name="connsiteX3" fmla="*/ 474348 w 474348"/>
                    <a:gd name="connsiteY3" fmla="*/ 216516 h 669131"/>
                    <a:gd name="connsiteX4" fmla="*/ 474348 w 474348"/>
                    <a:gd name="connsiteY4" fmla="*/ 669131 h 669131"/>
                    <a:gd name="connsiteX5" fmla="*/ 474348 w 474348"/>
                    <a:gd name="connsiteY5" fmla="*/ 669131 h 669131"/>
                    <a:gd name="connsiteX6" fmla="*/ 248129 w 474348"/>
                    <a:gd name="connsiteY6" fmla="*/ 669131 h 669131"/>
                    <a:gd name="connsiteX7" fmla="*/ 0 w 474348"/>
                    <a:gd name="connsiteY7" fmla="*/ 669131 h 669131"/>
                    <a:gd name="connsiteX8" fmla="*/ 0 w 474348"/>
                    <a:gd name="connsiteY8" fmla="*/ 669131 h 669131"/>
                    <a:gd name="connsiteX9" fmla="*/ 0 w 474348"/>
                    <a:gd name="connsiteY9" fmla="*/ 216516 h 669131"/>
                    <a:gd name="connsiteX10" fmla="*/ 174282 w 474348"/>
                    <a:gd name="connsiteY10" fmla="*/ 23596 h 669131"/>
                    <a:gd name="connsiteX0" fmla="*/ 174282 w 474348"/>
                    <a:gd name="connsiteY0" fmla="*/ 24619 h 670154"/>
                    <a:gd name="connsiteX1" fmla="*/ 216121 w 474348"/>
                    <a:gd name="connsiteY1" fmla="*/ 0 h 670154"/>
                    <a:gd name="connsiteX2" fmla="*/ 314250 w 474348"/>
                    <a:gd name="connsiteY2" fmla="*/ 25070 h 670154"/>
                    <a:gd name="connsiteX3" fmla="*/ 474348 w 474348"/>
                    <a:gd name="connsiteY3" fmla="*/ 217539 h 670154"/>
                    <a:gd name="connsiteX4" fmla="*/ 474348 w 474348"/>
                    <a:gd name="connsiteY4" fmla="*/ 670154 h 670154"/>
                    <a:gd name="connsiteX5" fmla="*/ 474348 w 474348"/>
                    <a:gd name="connsiteY5" fmla="*/ 670154 h 670154"/>
                    <a:gd name="connsiteX6" fmla="*/ 248129 w 474348"/>
                    <a:gd name="connsiteY6" fmla="*/ 670154 h 670154"/>
                    <a:gd name="connsiteX7" fmla="*/ 0 w 474348"/>
                    <a:gd name="connsiteY7" fmla="*/ 670154 h 670154"/>
                    <a:gd name="connsiteX8" fmla="*/ 0 w 474348"/>
                    <a:gd name="connsiteY8" fmla="*/ 670154 h 670154"/>
                    <a:gd name="connsiteX9" fmla="*/ 0 w 474348"/>
                    <a:gd name="connsiteY9" fmla="*/ 217539 h 670154"/>
                    <a:gd name="connsiteX10" fmla="*/ 174282 w 474348"/>
                    <a:gd name="connsiteY10" fmla="*/ 24619 h 670154"/>
                    <a:gd name="connsiteX0" fmla="*/ 174282 w 474348"/>
                    <a:gd name="connsiteY0" fmla="*/ 24619 h 670154"/>
                    <a:gd name="connsiteX1" fmla="*/ 216121 w 474348"/>
                    <a:gd name="connsiteY1" fmla="*/ 0 h 670154"/>
                    <a:gd name="connsiteX2" fmla="*/ 314250 w 474348"/>
                    <a:gd name="connsiteY2" fmla="*/ 25070 h 670154"/>
                    <a:gd name="connsiteX3" fmla="*/ 474348 w 474348"/>
                    <a:gd name="connsiteY3" fmla="*/ 217539 h 670154"/>
                    <a:gd name="connsiteX4" fmla="*/ 474348 w 474348"/>
                    <a:gd name="connsiteY4" fmla="*/ 670154 h 670154"/>
                    <a:gd name="connsiteX5" fmla="*/ 474348 w 474348"/>
                    <a:gd name="connsiteY5" fmla="*/ 670154 h 670154"/>
                    <a:gd name="connsiteX6" fmla="*/ 248129 w 474348"/>
                    <a:gd name="connsiteY6" fmla="*/ 670154 h 670154"/>
                    <a:gd name="connsiteX7" fmla="*/ 0 w 474348"/>
                    <a:gd name="connsiteY7" fmla="*/ 670154 h 670154"/>
                    <a:gd name="connsiteX8" fmla="*/ 0 w 474348"/>
                    <a:gd name="connsiteY8" fmla="*/ 670154 h 670154"/>
                    <a:gd name="connsiteX9" fmla="*/ 0 w 474348"/>
                    <a:gd name="connsiteY9" fmla="*/ 217539 h 670154"/>
                    <a:gd name="connsiteX10" fmla="*/ 174282 w 474348"/>
                    <a:gd name="connsiteY10" fmla="*/ 24619 h 670154"/>
                    <a:gd name="connsiteX0" fmla="*/ 174282 w 474348"/>
                    <a:gd name="connsiteY0" fmla="*/ 24619 h 670154"/>
                    <a:gd name="connsiteX1" fmla="*/ 216121 w 474348"/>
                    <a:gd name="connsiteY1" fmla="*/ 0 h 670154"/>
                    <a:gd name="connsiteX2" fmla="*/ 314250 w 474348"/>
                    <a:gd name="connsiteY2" fmla="*/ 25070 h 670154"/>
                    <a:gd name="connsiteX3" fmla="*/ 474348 w 474348"/>
                    <a:gd name="connsiteY3" fmla="*/ 217539 h 670154"/>
                    <a:gd name="connsiteX4" fmla="*/ 474348 w 474348"/>
                    <a:gd name="connsiteY4" fmla="*/ 670154 h 670154"/>
                    <a:gd name="connsiteX5" fmla="*/ 474348 w 474348"/>
                    <a:gd name="connsiteY5" fmla="*/ 670154 h 670154"/>
                    <a:gd name="connsiteX6" fmla="*/ 248129 w 474348"/>
                    <a:gd name="connsiteY6" fmla="*/ 670154 h 670154"/>
                    <a:gd name="connsiteX7" fmla="*/ 0 w 474348"/>
                    <a:gd name="connsiteY7" fmla="*/ 670154 h 670154"/>
                    <a:gd name="connsiteX8" fmla="*/ 0 w 474348"/>
                    <a:gd name="connsiteY8" fmla="*/ 670154 h 670154"/>
                    <a:gd name="connsiteX9" fmla="*/ 0 w 474348"/>
                    <a:gd name="connsiteY9" fmla="*/ 217539 h 670154"/>
                    <a:gd name="connsiteX10" fmla="*/ 174282 w 474348"/>
                    <a:gd name="connsiteY10" fmla="*/ 24619 h 670154"/>
                    <a:gd name="connsiteX0" fmla="*/ 174282 w 474348"/>
                    <a:gd name="connsiteY0" fmla="*/ 24619 h 670154"/>
                    <a:gd name="connsiteX1" fmla="*/ 216121 w 474348"/>
                    <a:gd name="connsiteY1" fmla="*/ 0 h 670154"/>
                    <a:gd name="connsiteX2" fmla="*/ 314250 w 474348"/>
                    <a:gd name="connsiteY2" fmla="*/ 25070 h 670154"/>
                    <a:gd name="connsiteX3" fmla="*/ 474348 w 474348"/>
                    <a:gd name="connsiteY3" fmla="*/ 217539 h 670154"/>
                    <a:gd name="connsiteX4" fmla="*/ 474348 w 474348"/>
                    <a:gd name="connsiteY4" fmla="*/ 670154 h 670154"/>
                    <a:gd name="connsiteX5" fmla="*/ 474348 w 474348"/>
                    <a:gd name="connsiteY5" fmla="*/ 670154 h 670154"/>
                    <a:gd name="connsiteX6" fmla="*/ 248129 w 474348"/>
                    <a:gd name="connsiteY6" fmla="*/ 670154 h 670154"/>
                    <a:gd name="connsiteX7" fmla="*/ 0 w 474348"/>
                    <a:gd name="connsiteY7" fmla="*/ 670154 h 670154"/>
                    <a:gd name="connsiteX8" fmla="*/ 0 w 474348"/>
                    <a:gd name="connsiteY8" fmla="*/ 670154 h 670154"/>
                    <a:gd name="connsiteX9" fmla="*/ 0 w 474348"/>
                    <a:gd name="connsiteY9" fmla="*/ 217539 h 670154"/>
                    <a:gd name="connsiteX10" fmla="*/ 174282 w 474348"/>
                    <a:gd name="connsiteY10" fmla="*/ 24619 h 670154"/>
                    <a:gd name="connsiteX0" fmla="*/ 148557 w 474348"/>
                    <a:gd name="connsiteY0" fmla="*/ 27264 h 670154"/>
                    <a:gd name="connsiteX1" fmla="*/ 216121 w 474348"/>
                    <a:gd name="connsiteY1" fmla="*/ 0 h 670154"/>
                    <a:gd name="connsiteX2" fmla="*/ 314250 w 474348"/>
                    <a:gd name="connsiteY2" fmla="*/ 25070 h 670154"/>
                    <a:gd name="connsiteX3" fmla="*/ 474348 w 474348"/>
                    <a:gd name="connsiteY3" fmla="*/ 217539 h 670154"/>
                    <a:gd name="connsiteX4" fmla="*/ 474348 w 474348"/>
                    <a:gd name="connsiteY4" fmla="*/ 670154 h 670154"/>
                    <a:gd name="connsiteX5" fmla="*/ 474348 w 474348"/>
                    <a:gd name="connsiteY5" fmla="*/ 670154 h 670154"/>
                    <a:gd name="connsiteX6" fmla="*/ 248129 w 474348"/>
                    <a:gd name="connsiteY6" fmla="*/ 670154 h 670154"/>
                    <a:gd name="connsiteX7" fmla="*/ 0 w 474348"/>
                    <a:gd name="connsiteY7" fmla="*/ 670154 h 670154"/>
                    <a:gd name="connsiteX8" fmla="*/ 0 w 474348"/>
                    <a:gd name="connsiteY8" fmla="*/ 670154 h 670154"/>
                    <a:gd name="connsiteX9" fmla="*/ 0 w 474348"/>
                    <a:gd name="connsiteY9" fmla="*/ 217539 h 670154"/>
                    <a:gd name="connsiteX10" fmla="*/ 148557 w 474348"/>
                    <a:gd name="connsiteY10" fmla="*/ 27264 h 670154"/>
                    <a:gd name="connsiteX0" fmla="*/ 148557 w 474348"/>
                    <a:gd name="connsiteY0" fmla="*/ 20950 h 663840"/>
                    <a:gd name="connsiteX1" fmla="*/ 214238 w 474348"/>
                    <a:gd name="connsiteY1" fmla="*/ 0 h 663840"/>
                    <a:gd name="connsiteX2" fmla="*/ 314250 w 474348"/>
                    <a:gd name="connsiteY2" fmla="*/ 18756 h 663840"/>
                    <a:gd name="connsiteX3" fmla="*/ 474348 w 474348"/>
                    <a:gd name="connsiteY3" fmla="*/ 211225 h 663840"/>
                    <a:gd name="connsiteX4" fmla="*/ 474348 w 474348"/>
                    <a:gd name="connsiteY4" fmla="*/ 663840 h 663840"/>
                    <a:gd name="connsiteX5" fmla="*/ 474348 w 474348"/>
                    <a:gd name="connsiteY5" fmla="*/ 663840 h 663840"/>
                    <a:gd name="connsiteX6" fmla="*/ 248129 w 474348"/>
                    <a:gd name="connsiteY6" fmla="*/ 663840 h 663840"/>
                    <a:gd name="connsiteX7" fmla="*/ 0 w 474348"/>
                    <a:gd name="connsiteY7" fmla="*/ 663840 h 663840"/>
                    <a:gd name="connsiteX8" fmla="*/ 0 w 474348"/>
                    <a:gd name="connsiteY8" fmla="*/ 663840 h 663840"/>
                    <a:gd name="connsiteX9" fmla="*/ 0 w 474348"/>
                    <a:gd name="connsiteY9" fmla="*/ 211225 h 663840"/>
                    <a:gd name="connsiteX10" fmla="*/ 148557 w 474348"/>
                    <a:gd name="connsiteY10" fmla="*/ 20950 h 663840"/>
                    <a:gd name="connsiteX0" fmla="*/ 148557 w 474348"/>
                    <a:gd name="connsiteY0" fmla="*/ 20950 h 663840"/>
                    <a:gd name="connsiteX1" fmla="*/ 214238 w 474348"/>
                    <a:gd name="connsiteY1" fmla="*/ 0 h 663840"/>
                    <a:gd name="connsiteX2" fmla="*/ 314250 w 474348"/>
                    <a:gd name="connsiteY2" fmla="*/ 18756 h 663840"/>
                    <a:gd name="connsiteX3" fmla="*/ 474348 w 474348"/>
                    <a:gd name="connsiteY3" fmla="*/ 211225 h 663840"/>
                    <a:gd name="connsiteX4" fmla="*/ 474348 w 474348"/>
                    <a:gd name="connsiteY4" fmla="*/ 663840 h 663840"/>
                    <a:gd name="connsiteX5" fmla="*/ 474348 w 474348"/>
                    <a:gd name="connsiteY5" fmla="*/ 663840 h 663840"/>
                    <a:gd name="connsiteX6" fmla="*/ 248129 w 474348"/>
                    <a:gd name="connsiteY6" fmla="*/ 663840 h 663840"/>
                    <a:gd name="connsiteX7" fmla="*/ 0 w 474348"/>
                    <a:gd name="connsiteY7" fmla="*/ 663840 h 663840"/>
                    <a:gd name="connsiteX8" fmla="*/ 0 w 474348"/>
                    <a:gd name="connsiteY8" fmla="*/ 663840 h 663840"/>
                    <a:gd name="connsiteX9" fmla="*/ 0 w 474348"/>
                    <a:gd name="connsiteY9" fmla="*/ 211225 h 663840"/>
                    <a:gd name="connsiteX10" fmla="*/ 148557 w 474348"/>
                    <a:gd name="connsiteY10" fmla="*/ 20950 h 663840"/>
                    <a:gd name="connsiteX0" fmla="*/ 148557 w 474348"/>
                    <a:gd name="connsiteY0" fmla="*/ 20950 h 663840"/>
                    <a:gd name="connsiteX1" fmla="*/ 214238 w 474348"/>
                    <a:gd name="connsiteY1" fmla="*/ 0 h 663840"/>
                    <a:gd name="connsiteX2" fmla="*/ 314250 w 474348"/>
                    <a:gd name="connsiteY2" fmla="*/ 18756 h 663840"/>
                    <a:gd name="connsiteX3" fmla="*/ 474348 w 474348"/>
                    <a:gd name="connsiteY3" fmla="*/ 211225 h 663840"/>
                    <a:gd name="connsiteX4" fmla="*/ 474348 w 474348"/>
                    <a:gd name="connsiteY4" fmla="*/ 663840 h 663840"/>
                    <a:gd name="connsiteX5" fmla="*/ 474348 w 474348"/>
                    <a:gd name="connsiteY5" fmla="*/ 663840 h 663840"/>
                    <a:gd name="connsiteX6" fmla="*/ 248129 w 474348"/>
                    <a:gd name="connsiteY6" fmla="*/ 663840 h 663840"/>
                    <a:gd name="connsiteX7" fmla="*/ 0 w 474348"/>
                    <a:gd name="connsiteY7" fmla="*/ 663840 h 663840"/>
                    <a:gd name="connsiteX8" fmla="*/ 0 w 474348"/>
                    <a:gd name="connsiteY8" fmla="*/ 663840 h 663840"/>
                    <a:gd name="connsiteX9" fmla="*/ 0 w 474348"/>
                    <a:gd name="connsiteY9" fmla="*/ 211225 h 663840"/>
                    <a:gd name="connsiteX10" fmla="*/ 148557 w 474348"/>
                    <a:gd name="connsiteY10" fmla="*/ 20950 h 663840"/>
                    <a:gd name="connsiteX0" fmla="*/ 144178 w 474348"/>
                    <a:gd name="connsiteY0" fmla="*/ 22667 h 663840"/>
                    <a:gd name="connsiteX1" fmla="*/ 214238 w 474348"/>
                    <a:gd name="connsiteY1" fmla="*/ 0 h 663840"/>
                    <a:gd name="connsiteX2" fmla="*/ 314250 w 474348"/>
                    <a:gd name="connsiteY2" fmla="*/ 18756 h 663840"/>
                    <a:gd name="connsiteX3" fmla="*/ 474348 w 474348"/>
                    <a:gd name="connsiteY3" fmla="*/ 211225 h 663840"/>
                    <a:gd name="connsiteX4" fmla="*/ 474348 w 474348"/>
                    <a:gd name="connsiteY4" fmla="*/ 663840 h 663840"/>
                    <a:gd name="connsiteX5" fmla="*/ 474348 w 474348"/>
                    <a:gd name="connsiteY5" fmla="*/ 663840 h 663840"/>
                    <a:gd name="connsiteX6" fmla="*/ 248129 w 474348"/>
                    <a:gd name="connsiteY6" fmla="*/ 663840 h 663840"/>
                    <a:gd name="connsiteX7" fmla="*/ 0 w 474348"/>
                    <a:gd name="connsiteY7" fmla="*/ 663840 h 663840"/>
                    <a:gd name="connsiteX8" fmla="*/ 0 w 474348"/>
                    <a:gd name="connsiteY8" fmla="*/ 663840 h 663840"/>
                    <a:gd name="connsiteX9" fmla="*/ 0 w 474348"/>
                    <a:gd name="connsiteY9" fmla="*/ 211225 h 663840"/>
                    <a:gd name="connsiteX10" fmla="*/ 144178 w 474348"/>
                    <a:gd name="connsiteY10" fmla="*/ 22667 h 663840"/>
                    <a:gd name="connsiteX0" fmla="*/ 144178 w 474348"/>
                    <a:gd name="connsiteY0" fmla="*/ 22667 h 663840"/>
                    <a:gd name="connsiteX1" fmla="*/ 214238 w 474348"/>
                    <a:gd name="connsiteY1" fmla="*/ 0 h 663840"/>
                    <a:gd name="connsiteX2" fmla="*/ 314250 w 474348"/>
                    <a:gd name="connsiteY2" fmla="*/ 18756 h 663840"/>
                    <a:gd name="connsiteX3" fmla="*/ 474348 w 474348"/>
                    <a:gd name="connsiteY3" fmla="*/ 211225 h 663840"/>
                    <a:gd name="connsiteX4" fmla="*/ 474348 w 474348"/>
                    <a:gd name="connsiteY4" fmla="*/ 663840 h 663840"/>
                    <a:gd name="connsiteX5" fmla="*/ 474348 w 474348"/>
                    <a:gd name="connsiteY5" fmla="*/ 663840 h 663840"/>
                    <a:gd name="connsiteX6" fmla="*/ 248129 w 474348"/>
                    <a:gd name="connsiteY6" fmla="*/ 663840 h 663840"/>
                    <a:gd name="connsiteX7" fmla="*/ 0 w 474348"/>
                    <a:gd name="connsiteY7" fmla="*/ 663840 h 663840"/>
                    <a:gd name="connsiteX8" fmla="*/ 0 w 474348"/>
                    <a:gd name="connsiteY8" fmla="*/ 663840 h 663840"/>
                    <a:gd name="connsiteX9" fmla="*/ 0 w 474348"/>
                    <a:gd name="connsiteY9" fmla="*/ 211225 h 663840"/>
                    <a:gd name="connsiteX10" fmla="*/ 144178 w 474348"/>
                    <a:gd name="connsiteY10" fmla="*/ 22667 h 663840"/>
                    <a:gd name="connsiteX0" fmla="*/ 144178 w 474348"/>
                    <a:gd name="connsiteY0" fmla="*/ 22667 h 663840"/>
                    <a:gd name="connsiteX1" fmla="*/ 214238 w 474348"/>
                    <a:gd name="connsiteY1" fmla="*/ 0 h 663840"/>
                    <a:gd name="connsiteX2" fmla="*/ 314250 w 474348"/>
                    <a:gd name="connsiteY2" fmla="*/ 18756 h 663840"/>
                    <a:gd name="connsiteX3" fmla="*/ 474348 w 474348"/>
                    <a:gd name="connsiteY3" fmla="*/ 211225 h 663840"/>
                    <a:gd name="connsiteX4" fmla="*/ 474348 w 474348"/>
                    <a:gd name="connsiteY4" fmla="*/ 663840 h 663840"/>
                    <a:gd name="connsiteX5" fmla="*/ 474348 w 474348"/>
                    <a:gd name="connsiteY5" fmla="*/ 663840 h 663840"/>
                    <a:gd name="connsiteX6" fmla="*/ 248129 w 474348"/>
                    <a:gd name="connsiteY6" fmla="*/ 663840 h 663840"/>
                    <a:gd name="connsiteX7" fmla="*/ 0 w 474348"/>
                    <a:gd name="connsiteY7" fmla="*/ 663840 h 663840"/>
                    <a:gd name="connsiteX8" fmla="*/ 0 w 474348"/>
                    <a:gd name="connsiteY8" fmla="*/ 663840 h 663840"/>
                    <a:gd name="connsiteX9" fmla="*/ 0 w 474348"/>
                    <a:gd name="connsiteY9" fmla="*/ 211225 h 663840"/>
                    <a:gd name="connsiteX10" fmla="*/ 144178 w 474348"/>
                    <a:gd name="connsiteY10" fmla="*/ 22667 h 663840"/>
                    <a:gd name="connsiteX0" fmla="*/ 144178 w 474348"/>
                    <a:gd name="connsiteY0" fmla="*/ 22667 h 663840"/>
                    <a:gd name="connsiteX1" fmla="*/ 214238 w 474348"/>
                    <a:gd name="connsiteY1" fmla="*/ 0 h 663840"/>
                    <a:gd name="connsiteX2" fmla="*/ 314250 w 474348"/>
                    <a:gd name="connsiteY2" fmla="*/ 18756 h 663840"/>
                    <a:gd name="connsiteX3" fmla="*/ 474348 w 474348"/>
                    <a:gd name="connsiteY3" fmla="*/ 211225 h 663840"/>
                    <a:gd name="connsiteX4" fmla="*/ 474348 w 474348"/>
                    <a:gd name="connsiteY4" fmla="*/ 663840 h 663840"/>
                    <a:gd name="connsiteX5" fmla="*/ 474348 w 474348"/>
                    <a:gd name="connsiteY5" fmla="*/ 663840 h 663840"/>
                    <a:gd name="connsiteX6" fmla="*/ 248129 w 474348"/>
                    <a:gd name="connsiteY6" fmla="*/ 663840 h 663840"/>
                    <a:gd name="connsiteX7" fmla="*/ 0 w 474348"/>
                    <a:gd name="connsiteY7" fmla="*/ 663840 h 663840"/>
                    <a:gd name="connsiteX8" fmla="*/ 0 w 474348"/>
                    <a:gd name="connsiteY8" fmla="*/ 663840 h 663840"/>
                    <a:gd name="connsiteX9" fmla="*/ 0 w 474348"/>
                    <a:gd name="connsiteY9" fmla="*/ 211225 h 663840"/>
                    <a:gd name="connsiteX10" fmla="*/ 144178 w 474348"/>
                    <a:gd name="connsiteY10" fmla="*/ 22667 h 6638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74348" h="663840">
                      <a:moveTo>
                        <a:pt x="144178" y="22667"/>
                      </a:moveTo>
                      <a:cubicBezTo>
                        <a:pt x="211732" y="-970"/>
                        <a:pt x="181869" y="7990"/>
                        <a:pt x="214238" y="0"/>
                      </a:cubicBezTo>
                      <a:cubicBezTo>
                        <a:pt x="259321" y="7224"/>
                        <a:pt x="221757" y="369"/>
                        <a:pt x="314250" y="18756"/>
                      </a:cubicBezTo>
                      <a:cubicBezTo>
                        <a:pt x="399877" y="51074"/>
                        <a:pt x="474348" y="104798"/>
                        <a:pt x="474348" y="211225"/>
                      </a:cubicBezTo>
                      <a:lnTo>
                        <a:pt x="474348" y="663840"/>
                      </a:lnTo>
                      <a:lnTo>
                        <a:pt x="474348" y="663840"/>
                      </a:lnTo>
                      <a:lnTo>
                        <a:pt x="248129" y="663840"/>
                      </a:lnTo>
                      <a:lnTo>
                        <a:pt x="0" y="663840"/>
                      </a:lnTo>
                      <a:lnTo>
                        <a:pt x="0" y="663840"/>
                      </a:lnTo>
                      <a:lnTo>
                        <a:pt x="0" y="211225"/>
                      </a:lnTo>
                      <a:cubicBezTo>
                        <a:pt x="0" y="104798"/>
                        <a:pt x="80700" y="56026"/>
                        <a:pt x="144178" y="22667"/>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35" name="Round Same Side Corner Rectangle 11"/>
                <p:cNvSpPr/>
                <p:nvPr/>
              </p:nvSpPr>
              <p:spPr>
                <a:xfrm rot="7140000">
                  <a:off x="4278989" y="1266737"/>
                  <a:ext cx="251846" cy="2632764"/>
                </a:xfrm>
                <a:custGeom>
                  <a:avLst/>
                  <a:gdLst>
                    <a:gd name="connsiteX0" fmla="*/ 192704 w 474348"/>
                    <a:gd name="connsiteY0" fmla="*/ 0 h 645319"/>
                    <a:gd name="connsiteX1" fmla="*/ 281644 w 474348"/>
                    <a:gd name="connsiteY1" fmla="*/ 0 h 645319"/>
                    <a:gd name="connsiteX2" fmla="*/ 474348 w 474348"/>
                    <a:gd name="connsiteY2" fmla="*/ 192704 h 645319"/>
                    <a:gd name="connsiteX3" fmla="*/ 474348 w 474348"/>
                    <a:gd name="connsiteY3" fmla="*/ 645319 h 645319"/>
                    <a:gd name="connsiteX4" fmla="*/ 474348 w 474348"/>
                    <a:gd name="connsiteY4" fmla="*/ 645319 h 645319"/>
                    <a:gd name="connsiteX5" fmla="*/ 0 w 474348"/>
                    <a:gd name="connsiteY5" fmla="*/ 645319 h 645319"/>
                    <a:gd name="connsiteX6" fmla="*/ 0 w 474348"/>
                    <a:gd name="connsiteY6" fmla="*/ 645319 h 645319"/>
                    <a:gd name="connsiteX7" fmla="*/ 0 w 474348"/>
                    <a:gd name="connsiteY7" fmla="*/ 192704 h 645319"/>
                    <a:gd name="connsiteX8" fmla="*/ 192704 w 474348"/>
                    <a:gd name="connsiteY8" fmla="*/ 0 h 645319"/>
                    <a:gd name="connsiteX0" fmla="*/ 192704 w 474348"/>
                    <a:gd name="connsiteY0" fmla="*/ 0 h 645319"/>
                    <a:gd name="connsiteX1" fmla="*/ 281644 w 474348"/>
                    <a:gd name="connsiteY1" fmla="*/ 0 h 645319"/>
                    <a:gd name="connsiteX2" fmla="*/ 474348 w 474348"/>
                    <a:gd name="connsiteY2" fmla="*/ 192704 h 645319"/>
                    <a:gd name="connsiteX3" fmla="*/ 474348 w 474348"/>
                    <a:gd name="connsiteY3" fmla="*/ 645319 h 645319"/>
                    <a:gd name="connsiteX4" fmla="*/ 474348 w 474348"/>
                    <a:gd name="connsiteY4" fmla="*/ 645319 h 645319"/>
                    <a:gd name="connsiteX5" fmla="*/ 248129 w 474348"/>
                    <a:gd name="connsiteY5" fmla="*/ 645319 h 645319"/>
                    <a:gd name="connsiteX6" fmla="*/ 0 w 474348"/>
                    <a:gd name="connsiteY6" fmla="*/ 645319 h 645319"/>
                    <a:gd name="connsiteX7" fmla="*/ 0 w 474348"/>
                    <a:gd name="connsiteY7" fmla="*/ 645319 h 645319"/>
                    <a:gd name="connsiteX8" fmla="*/ 0 w 474348"/>
                    <a:gd name="connsiteY8" fmla="*/ 192704 h 645319"/>
                    <a:gd name="connsiteX9" fmla="*/ 192704 w 474348"/>
                    <a:gd name="connsiteY9" fmla="*/ 0 h 645319"/>
                    <a:gd name="connsiteX0" fmla="*/ 192704 w 474348"/>
                    <a:gd name="connsiteY0" fmla="*/ 2381 h 647700"/>
                    <a:gd name="connsiteX1" fmla="*/ 240986 w 474348"/>
                    <a:gd name="connsiteY1" fmla="*/ 0 h 647700"/>
                    <a:gd name="connsiteX2" fmla="*/ 281644 w 474348"/>
                    <a:gd name="connsiteY2" fmla="*/ 2381 h 647700"/>
                    <a:gd name="connsiteX3" fmla="*/ 474348 w 474348"/>
                    <a:gd name="connsiteY3" fmla="*/ 195085 h 647700"/>
                    <a:gd name="connsiteX4" fmla="*/ 474348 w 474348"/>
                    <a:gd name="connsiteY4" fmla="*/ 647700 h 647700"/>
                    <a:gd name="connsiteX5" fmla="*/ 474348 w 474348"/>
                    <a:gd name="connsiteY5" fmla="*/ 647700 h 647700"/>
                    <a:gd name="connsiteX6" fmla="*/ 248129 w 474348"/>
                    <a:gd name="connsiteY6" fmla="*/ 647700 h 647700"/>
                    <a:gd name="connsiteX7" fmla="*/ 0 w 474348"/>
                    <a:gd name="connsiteY7" fmla="*/ 647700 h 647700"/>
                    <a:gd name="connsiteX8" fmla="*/ 0 w 474348"/>
                    <a:gd name="connsiteY8" fmla="*/ 647700 h 647700"/>
                    <a:gd name="connsiteX9" fmla="*/ 0 w 474348"/>
                    <a:gd name="connsiteY9" fmla="*/ 195085 h 647700"/>
                    <a:gd name="connsiteX10" fmla="*/ 192704 w 474348"/>
                    <a:gd name="connsiteY10" fmla="*/ 2381 h 647700"/>
                    <a:gd name="connsiteX0" fmla="*/ 192704 w 474348"/>
                    <a:gd name="connsiteY0" fmla="*/ 42862 h 688181"/>
                    <a:gd name="connsiteX1" fmla="*/ 240986 w 474348"/>
                    <a:gd name="connsiteY1" fmla="*/ 0 h 688181"/>
                    <a:gd name="connsiteX2" fmla="*/ 281644 w 474348"/>
                    <a:gd name="connsiteY2" fmla="*/ 42862 h 688181"/>
                    <a:gd name="connsiteX3" fmla="*/ 474348 w 474348"/>
                    <a:gd name="connsiteY3" fmla="*/ 235566 h 688181"/>
                    <a:gd name="connsiteX4" fmla="*/ 474348 w 474348"/>
                    <a:gd name="connsiteY4" fmla="*/ 688181 h 688181"/>
                    <a:gd name="connsiteX5" fmla="*/ 474348 w 474348"/>
                    <a:gd name="connsiteY5" fmla="*/ 688181 h 688181"/>
                    <a:gd name="connsiteX6" fmla="*/ 248129 w 474348"/>
                    <a:gd name="connsiteY6" fmla="*/ 688181 h 688181"/>
                    <a:gd name="connsiteX7" fmla="*/ 0 w 474348"/>
                    <a:gd name="connsiteY7" fmla="*/ 688181 h 688181"/>
                    <a:gd name="connsiteX8" fmla="*/ 0 w 474348"/>
                    <a:gd name="connsiteY8" fmla="*/ 688181 h 688181"/>
                    <a:gd name="connsiteX9" fmla="*/ 0 w 474348"/>
                    <a:gd name="connsiteY9" fmla="*/ 235566 h 688181"/>
                    <a:gd name="connsiteX10" fmla="*/ 192704 w 474348"/>
                    <a:gd name="connsiteY10" fmla="*/ 42862 h 688181"/>
                    <a:gd name="connsiteX0" fmla="*/ 192704 w 474348"/>
                    <a:gd name="connsiteY0" fmla="*/ 23812 h 669131"/>
                    <a:gd name="connsiteX1" fmla="*/ 265690 w 474348"/>
                    <a:gd name="connsiteY1" fmla="*/ 0 h 669131"/>
                    <a:gd name="connsiteX2" fmla="*/ 281644 w 474348"/>
                    <a:gd name="connsiteY2" fmla="*/ 23812 h 669131"/>
                    <a:gd name="connsiteX3" fmla="*/ 474348 w 474348"/>
                    <a:gd name="connsiteY3" fmla="*/ 216516 h 669131"/>
                    <a:gd name="connsiteX4" fmla="*/ 474348 w 474348"/>
                    <a:gd name="connsiteY4" fmla="*/ 669131 h 669131"/>
                    <a:gd name="connsiteX5" fmla="*/ 474348 w 474348"/>
                    <a:gd name="connsiteY5" fmla="*/ 669131 h 669131"/>
                    <a:gd name="connsiteX6" fmla="*/ 248129 w 474348"/>
                    <a:gd name="connsiteY6" fmla="*/ 669131 h 669131"/>
                    <a:gd name="connsiteX7" fmla="*/ 0 w 474348"/>
                    <a:gd name="connsiteY7" fmla="*/ 669131 h 669131"/>
                    <a:gd name="connsiteX8" fmla="*/ 0 w 474348"/>
                    <a:gd name="connsiteY8" fmla="*/ 669131 h 669131"/>
                    <a:gd name="connsiteX9" fmla="*/ 0 w 474348"/>
                    <a:gd name="connsiteY9" fmla="*/ 216516 h 669131"/>
                    <a:gd name="connsiteX10" fmla="*/ 192704 w 474348"/>
                    <a:gd name="connsiteY10" fmla="*/ 23812 h 669131"/>
                    <a:gd name="connsiteX0" fmla="*/ 192704 w 474348"/>
                    <a:gd name="connsiteY0" fmla="*/ 23812 h 669131"/>
                    <a:gd name="connsiteX1" fmla="*/ 265690 w 474348"/>
                    <a:gd name="connsiteY1" fmla="*/ 0 h 669131"/>
                    <a:gd name="connsiteX2" fmla="*/ 309530 w 474348"/>
                    <a:gd name="connsiteY2" fmla="*/ 23110 h 669131"/>
                    <a:gd name="connsiteX3" fmla="*/ 474348 w 474348"/>
                    <a:gd name="connsiteY3" fmla="*/ 216516 h 669131"/>
                    <a:gd name="connsiteX4" fmla="*/ 474348 w 474348"/>
                    <a:gd name="connsiteY4" fmla="*/ 669131 h 669131"/>
                    <a:gd name="connsiteX5" fmla="*/ 474348 w 474348"/>
                    <a:gd name="connsiteY5" fmla="*/ 669131 h 669131"/>
                    <a:gd name="connsiteX6" fmla="*/ 248129 w 474348"/>
                    <a:gd name="connsiteY6" fmla="*/ 669131 h 669131"/>
                    <a:gd name="connsiteX7" fmla="*/ 0 w 474348"/>
                    <a:gd name="connsiteY7" fmla="*/ 669131 h 669131"/>
                    <a:gd name="connsiteX8" fmla="*/ 0 w 474348"/>
                    <a:gd name="connsiteY8" fmla="*/ 669131 h 669131"/>
                    <a:gd name="connsiteX9" fmla="*/ 0 w 474348"/>
                    <a:gd name="connsiteY9" fmla="*/ 216516 h 669131"/>
                    <a:gd name="connsiteX10" fmla="*/ 192704 w 474348"/>
                    <a:gd name="connsiteY10" fmla="*/ 23812 h 669131"/>
                    <a:gd name="connsiteX0" fmla="*/ 192704 w 474348"/>
                    <a:gd name="connsiteY0" fmla="*/ 23812 h 669131"/>
                    <a:gd name="connsiteX1" fmla="*/ 265690 w 474348"/>
                    <a:gd name="connsiteY1" fmla="*/ 0 h 669131"/>
                    <a:gd name="connsiteX2" fmla="*/ 309530 w 474348"/>
                    <a:gd name="connsiteY2" fmla="*/ 23110 h 669131"/>
                    <a:gd name="connsiteX3" fmla="*/ 474348 w 474348"/>
                    <a:gd name="connsiteY3" fmla="*/ 216516 h 669131"/>
                    <a:gd name="connsiteX4" fmla="*/ 474348 w 474348"/>
                    <a:gd name="connsiteY4" fmla="*/ 669131 h 669131"/>
                    <a:gd name="connsiteX5" fmla="*/ 474348 w 474348"/>
                    <a:gd name="connsiteY5" fmla="*/ 669131 h 669131"/>
                    <a:gd name="connsiteX6" fmla="*/ 248129 w 474348"/>
                    <a:gd name="connsiteY6" fmla="*/ 669131 h 669131"/>
                    <a:gd name="connsiteX7" fmla="*/ 0 w 474348"/>
                    <a:gd name="connsiteY7" fmla="*/ 669131 h 669131"/>
                    <a:gd name="connsiteX8" fmla="*/ 0 w 474348"/>
                    <a:gd name="connsiteY8" fmla="*/ 669131 h 669131"/>
                    <a:gd name="connsiteX9" fmla="*/ 0 w 474348"/>
                    <a:gd name="connsiteY9" fmla="*/ 216516 h 669131"/>
                    <a:gd name="connsiteX10" fmla="*/ 192704 w 474348"/>
                    <a:gd name="connsiteY10" fmla="*/ 23812 h 669131"/>
                    <a:gd name="connsiteX0" fmla="*/ 192704 w 474348"/>
                    <a:gd name="connsiteY0" fmla="*/ 23812 h 669131"/>
                    <a:gd name="connsiteX1" fmla="*/ 265690 w 474348"/>
                    <a:gd name="connsiteY1" fmla="*/ 0 h 669131"/>
                    <a:gd name="connsiteX2" fmla="*/ 309530 w 474348"/>
                    <a:gd name="connsiteY2" fmla="*/ 23110 h 669131"/>
                    <a:gd name="connsiteX3" fmla="*/ 474348 w 474348"/>
                    <a:gd name="connsiteY3" fmla="*/ 216516 h 669131"/>
                    <a:gd name="connsiteX4" fmla="*/ 474348 w 474348"/>
                    <a:gd name="connsiteY4" fmla="*/ 669131 h 669131"/>
                    <a:gd name="connsiteX5" fmla="*/ 474348 w 474348"/>
                    <a:gd name="connsiteY5" fmla="*/ 669131 h 669131"/>
                    <a:gd name="connsiteX6" fmla="*/ 248129 w 474348"/>
                    <a:gd name="connsiteY6" fmla="*/ 669131 h 669131"/>
                    <a:gd name="connsiteX7" fmla="*/ 0 w 474348"/>
                    <a:gd name="connsiteY7" fmla="*/ 669131 h 669131"/>
                    <a:gd name="connsiteX8" fmla="*/ 0 w 474348"/>
                    <a:gd name="connsiteY8" fmla="*/ 669131 h 669131"/>
                    <a:gd name="connsiteX9" fmla="*/ 0 w 474348"/>
                    <a:gd name="connsiteY9" fmla="*/ 216516 h 669131"/>
                    <a:gd name="connsiteX10" fmla="*/ 192704 w 474348"/>
                    <a:gd name="connsiteY10" fmla="*/ 23812 h 669131"/>
                    <a:gd name="connsiteX0" fmla="*/ 192704 w 474348"/>
                    <a:gd name="connsiteY0" fmla="*/ 23812 h 669131"/>
                    <a:gd name="connsiteX1" fmla="*/ 265690 w 474348"/>
                    <a:gd name="connsiteY1" fmla="*/ 0 h 669131"/>
                    <a:gd name="connsiteX2" fmla="*/ 309530 w 474348"/>
                    <a:gd name="connsiteY2" fmla="*/ 23110 h 669131"/>
                    <a:gd name="connsiteX3" fmla="*/ 474348 w 474348"/>
                    <a:gd name="connsiteY3" fmla="*/ 216516 h 669131"/>
                    <a:gd name="connsiteX4" fmla="*/ 474348 w 474348"/>
                    <a:gd name="connsiteY4" fmla="*/ 669131 h 669131"/>
                    <a:gd name="connsiteX5" fmla="*/ 474348 w 474348"/>
                    <a:gd name="connsiteY5" fmla="*/ 669131 h 669131"/>
                    <a:gd name="connsiteX6" fmla="*/ 248129 w 474348"/>
                    <a:gd name="connsiteY6" fmla="*/ 669131 h 669131"/>
                    <a:gd name="connsiteX7" fmla="*/ 0 w 474348"/>
                    <a:gd name="connsiteY7" fmla="*/ 669131 h 669131"/>
                    <a:gd name="connsiteX8" fmla="*/ 0 w 474348"/>
                    <a:gd name="connsiteY8" fmla="*/ 669131 h 669131"/>
                    <a:gd name="connsiteX9" fmla="*/ 0 w 474348"/>
                    <a:gd name="connsiteY9" fmla="*/ 216516 h 669131"/>
                    <a:gd name="connsiteX10" fmla="*/ 192704 w 474348"/>
                    <a:gd name="connsiteY10" fmla="*/ 23812 h 6691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74348" h="669131">
                      <a:moveTo>
                        <a:pt x="192704" y="23812"/>
                      </a:moveTo>
                      <a:lnTo>
                        <a:pt x="265690" y="0"/>
                      </a:lnTo>
                      <a:cubicBezTo>
                        <a:pt x="271008" y="7937"/>
                        <a:pt x="275989" y="2061"/>
                        <a:pt x="309530" y="23110"/>
                      </a:cubicBezTo>
                      <a:cubicBezTo>
                        <a:pt x="387382" y="59846"/>
                        <a:pt x="474348" y="110089"/>
                        <a:pt x="474348" y="216516"/>
                      </a:cubicBezTo>
                      <a:lnTo>
                        <a:pt x="474348" y="669131"/>
                      </a:lnTo>
                      <a:lnTo>
                        <a:pt x="474348" y="669131"/>
                      </a:lnTo>
                      <a:lnTo>
                        <a:pt x="248129" y="669131"/>
                      </a:lnTo>
                      <a:lnTo>
                        <a:pt x="0" y="669131"/>
                      </a:lnTo>
                      <a:lnTo>
                        <a:pt x="0" y="669131"/>
                      </a:lnTo>
                      <a:lnTo>
                        <a:pt x="0" y="216516"/>
                      </a:lnTo>
                      <a:cubicBezTo>
                        <a:pt x="0" y="110089"/>
                        <a:pt x="135350" y="45744"/>
                        <a:pt x="192704" y="23812"/>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36" name="Oval 135"/>
                <p:cNvSpPr/>
                <p:nvPr/>
              </p:nvSpPr>
              <p:spPr>
                <a:xfrm>
                  <a:off x="2740926" y="1513161"/>
                  <a:ext cx="629631" cy="629631"/>
                </a:xfrm>
                <a:prstGeom prst="ellipse">
                  <a:avLst/>
                </a:prstGeom>
                <a:solidFill>
                  <a:schemeClr val="bg1"/>
                </a:solidFill>
                <a:ln w="508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grpSp>
      <p:sp>
        <p:nvSpPr>
          <p:cNvPr id="14" name="Freeform 13"/>
          <p:cNvSpPr/>
          <p:nvPr/>
        </p:nvSpPr>
        <p:spPr>
          <a:xfrm flipH="1">
            <a:off x="-12700" y="3505200"/>
            <a:ext cx="9169400" cy="1651000"/>
          </a:xfrm>
          <a:custGeom>
            <a:avLst/>
            <a:gdLst>
              <a:gd name="connsiteX0" fmla="*/ 12700 w 9169400"/>
              <a:gd name="connsiteY0" fmla="*/ 571500 h 1651000"/>
              <a:gd name="connsiteX1" fmla="*/ 622300 w 9169400"/>
              <a:gd name="connsiteY1" fmla="*/ 431800 h 1651000"/>
              <a:gd name="connsiteX2" fmla="*/ 1143000 w 9169400"/>
              <a:gd name="connsiteY2" fmla="*/ 279400 h 1651000"/>
              <a:gd name="connsiteX3" fmla="*/ 1701800 w 9169400"/>
              <a:gd name="connsiteY3" fmla="*/ 228600 h 1651000"/>
              <a:gd name="connsiteX4" fmla="*/ 2794000 w 9169400"/>
              <a:gd name="connsiteY4" fmla="*/ 355600 h 1651000"/>
              <a:gd name="connsiteX5" fmla="*/ 3873500 w 9169400"/>
              <a:gd name="connsiteY5" fmla="*/ 469900 h 1651000"/>
              <a:gd name="connsiteX6" fmla="*/ 5067300 w 9169400"/>
              <a:gd name="connsiteY6" fmla="*/ 622300 h 1651000"/>
              <a:gd name="connsiteX7" fmla="*/ 6261100 w 9169400"/>
              <a:gd name="connsiteY7" fmla="*/ 558800 h 1651000"/>
              <a:gd name="connsiteX8" fmla="*/ 7086600 w 9169400"/>
              <a:gd name="connsiteY8" fmla="*/ 177800 h 1651000"/>
              <a:gd name="connsiteX9" fmla="*/ 9156700 w 9169400"/>
              <a:gd name="connsiteY9" fmla="*/ 0 h 1651000"/>
              <a:gd name="connsiteX10" fmla="*/ 9169400 w 9169400"/>
              <a:gd name="connsiteY10" fmla="*/ 1651000 h 1651000"/>
              <a:gd name="connsiteX11" fmla="*/ 0 w 9169400"/>
              <a:gd name="connsiteY11" fmla="*/ 1651000 h 1651000"/>
              <a:gd name="connsiteX12" fmla="*/ 12700 w 9169400"/>
              <a:gd name="connsiteY12" fmla="*/ 571500 h 1651000"/>
              <a:gd name="connsiteX0" fmla="*/ 12700 w 9169400"/>
              <a:gd name="connsiteY0" fmla="*/ 571500 h 1651000"/>
              <a:gd name="connsiteX1" fmla="*/ 622300 w 9169400"/>
              <a:gd name="connsiteY1" fmla="*/ 431800 h 1651000"/>
              <a:gd name="connsiteX2" fmla="*/ 1143000 w 9169400"/>
              <a:gd name="connsiteY2" fmla="*/ 279400 h 1651000"/>
              <a:gd name="connsiteX3" fmla="*/ 1701800 w 9169400"/>
              <a:gd name="connsiteY3" fmla="*/ 228600 h 1651000"/>
              <a:gd name="connsiteX4" fmla="*/ 2794000 w 9169400"/>
              <a:gd name="connsiteY4" fmla="*/ 355600 h 1651000"/>
              <a:gd name="connsiteX5" fmla="*/ 3873500 w 9169400"/>
              <a:gd name="connsiteY5" fmla="*/ 469900 h 1651000"/>
              <a:gd name="connsiteX6" fmla="*/ 5067300 w 9169400"/>
              <a:gd name="connsiteY6" fmla="*/ 622300 h 1651000"/>
              <a:gd name="connsiteX7" fmla="*/ 6261100 w 9169400"/>
              <a:gd name="connsiteY7" fmla="*/ 558800 h 1651000"/>
              <a:gd name="connsiteX8" fmla="*/ 7086600 w 9169400"/>
              <a:gd name="connsiteY8" fmla="*/ 177800 h 1651000"/>
              <a:gd name="connsiteX9" fmla="*/ 9156700 w 9169400"/>
              <a:gd name="connsiteY9" fmla="*/ 0 h 1651000"/>
              <a:gd name="connsiteX10" fmla="*/ 9169400 w 9169400"/>
              <a:gd name="connsiteY10" fmla="*/ 1651000 h 1651000"/>
              <a:gd name="connsiteX11" fmla="*/ 0 w 9169400"/>
              <a:gd name="connsiteY11" fmla="*/ 1651000 h 1651000"/>
              <a:gd name="connsiteX12" fmla="*/ 12700 w 9169400"/>
              <a:gd name="connsiteY12" fmla="*/ 571500 h 1651000"/>
              <a:gd name="connsiteX0" fmla="*/ 12700 w 9169400"/>
              <a:gd name="connsiteY0" fmla="*/ 571500 h 1651000"/>
              <a:gd name="connsiteX1" fmla="*/ 622300 w 9169400"/>
              <a:gd name="connsiteY1" fmla="*/ 431800 h 1651000"/>
              <a:gd name="connsiteX2" fmla="*/ 1143000 w 9169400"/>
              <a:gd name="connsiteY2" fmla="*/ 279400 h 1651000"/>
              <a:gd name="connsiteX3" fmla="*/ 1701800 w 9169400"/>
              <a:gd name="connsiteY3" fmla="*/ 228600 h 1651000"/>
              <a:gd name="connsiteX4" fmla="*/ 2794000 w 9169400"/>
              <a:gd name="connsiteY4" fmla="*/ 355600 h 1651000"/>
              <a:gd name="connsiteX5" fmla="*/ 3873500 w 9169400"/>
              <a:gd name="connsiteY5" fmla="*/ 469900 h 1651000"/>
              <a:gd name="connsiteX6" fmla="*/ 5067300 w 9169400"/>
              <a:gd name="connsiteY6" fmla="*/ 622300 h 1651000"/>
              <a:gd name="connsiteX7" fmla="*/ 6261100 w 9169400"/>
              <a:gd name="connsiteY7" fmla="*/ 558800 h 1651000"/>
              <a:gd name="connsiteX8" fmla="*/ 7086600 w 9169400"/>
              <a:gd name="connsiteY8" fmla="*/ 177800 h 1651000"/>
              <a:gd name="connsiteX9" fmla="*/ 9156700 w 9169400"/>
              <a:gd name="connsiteY9" fmla="*/ 0 h 1651000"/>
              <a:gd name="connsiteX10" fmla="*/ 9169400 w 9169400"/>
              <a:gd name="connsiteY10" fmla="*/ 1651000 h 1651000"/>
              <a:gd name="connsiteX11" fmla="*/ 0 w 9169400"/>
              <a:gd name="connsiteY11" fmla="*/ 1651000 h 1651000"/>
              <a:gd name="connsiteX12" fmla="*/ 12700 w 9169400"/>
              <a:gd name="connsiteY12" fmla="*/ 571500 h 1651000"/>
              <a:gd name="connsiteX0" fmla="*/ 12700 w 9169400"/>
              <a:gd name="connsiteY0" fmla="*/ 571500 h 1651000"/>
              <a:gd name="connsiteX1" fmla="*/ 622300 w 9169400"/>
              <a:gd name="connsiteY1" fmla="*/ 431800 h 1651000"/>
              <a:gd name="connsiteX2" fmla="*/ 1143000 w 9169400"/>
              <a:gd name="connsiteY2" fmla="*/ 279400 h 1651000"/>
              <a:gd name="connsiteX3" fmla="*/ 1701800 w 9169400"/>
              <a:gd name="connsiteY3" fmla="*/ 228600 h 1651000"/>
              <a:gd name="connsiteX4" fmla="*/ 2794000 w 9169400"/>
              <a:gd name="connsiteY4" fmla="*/ 355600 h 1651000"/>
              <a:gd name="connsiteX5" fmla="*/ 3873500 w 9169400"/>
              <a:gd name="connsiteY5" fmla="*/ 469900 h 1651000"/>
              <a:gd name="connsiteX6" fmla="*/ 5067300 w 9169400"/>
              <a:gd name="connsiteY6" fmla="*/ 622300 h 1651000"/>
              <a:gd name="connsiteX7" fmla="*/ 6261100 w 9169400"/>
              <a:gd name="connsiteY7" fmla="*/ 558800 h 1651000"/>
              <a:gd name="connsiteX8" fmla="*/ 7086600 w 9169400"/>
              <a:gd name="connsiteY8" fmla="*/ 177800 h 1651000"/>
              <a:gd name="connsiteX9" fmla="*/ 9156700 w 9169400"/>
              <a:gd name="connsiteY9" fmla="*/ 0 h 1651000"/>
              <a:gd name="connsiteX10" fmla="*/ 9169400 w 9169400"/>
              <a:gd name="connsiteY10" fmla="*/ 1651000 h 1651000"/>
              <a:gd name="connsiteX11" fmla="*/ 0 w 9169400"/>
              <a:gd name="connsiteY11" fmla="*/ 1651000 h 1651000"/>
              <a:gd name="connsiteX12" fmla="*/ 12700 w 9169400"/>
              <a:gd name="connsiteY12" fmla="*/ 571500 h 1651000"/>
              <a:gd name="connsiteX0" fmla="*/ 12700 w 9169400"/>
              <a:gd name="connsiteY0" fmla="*/ 571500 h 1651000"/>
              <a:gd name="connsiteX1" fmla="*/ 622300 w 9169400"/>
              <a:gd name="connsiteY1" fmla="*/ 431800 h 1651000"/>
              <a:gd name="connsiteX2" fmla="*/ 1143000 w 9169400"/>
              <a:gd name="connsiteY2" fmla="*/ 279400 h 1651000"/>
              <a:gd name="connsiteX3" fmla="*/ 1701800 w 9169400"/>
              <a:gd name="connsiteY3" fmla="*/ 228600 h 1651000"/>
              <a:gd name="connsiteX4" fmla="*/ 2794000 w 9169400"/>
              <a:gd name="connsiteY4" fmla="*/ 355600 h 1651000"/>
              <a:gd name="connsiteX5" fmla="*/ 3873500 w 9169400"/>
              <a:gd name="connsiteY5" fmla="*/ 469900 h 1651000"/>
              <a:gd name="connsiteX6" fmla="*/ 5067300 w 9169400"/>
              <a:gd name="connsiteY6" fmla="*/ 622300 h 1651000"/>
              <a:gd name="connsiteX7" fmla="*/ 6261100 w 9169400"/>
              <a:gd name="connsiteY7" fmla="*/ 558800 h 1651000"/>
              <a:gd name="connsiteX8" fmla="*/ 7086600 w 9169400"/>
              <a:gd name="connsiteY8" fmla="*/ 177800 h 1651000"/>
              <a:gd name="connsiteX9" fmla="*/ 9156700 w 9169400"/>
              <a:gd name="connsiteY9" fmla="*/ 0 h 1651000"/>
              <a:gd name="connsiteX10" fmla="*/ 9169400 w 9169400"/>
              <a:gd name="connsiteY10" fmla="*/ 1651000 h 1651000"/>
              <a:gd name="connsiteX11" fmla="*/ 0 w 9169400"/>
              <a:gd name="connsiteY11" fmla="*/ 1651000 h 1651000"/>
              <a:gd name="connsiteX12" fmla="*/ 12700 w 9169400"/>
              <a:gd name="connsiteY12" fmla="*/ 571500 h 1651000"/>
              <a:gd name="connsiteX0" fmla="*/ 12700 w 9169400"/>
              <a:gd name="connsiteY0" fmla="*/ 571500 h 1651000"/>
              <a:gd name="connsiteX1" fmla="*/ 622300 w 9169400"/>
              <a:gd name="connsiteY1" fmla="*/ 431800 h 1651000"/>
              <a:gd name="connsiteX2" fmla="*/ 1143000 w 9169400"/>
              <a:gd name="connsiteY2" fmla="*/ 279400 h 1651000"/>
              <a:gd name="connsiteX3" fmla="*/ 1701800 w 9169400"/>
              <a:gd name="connsiteY3" fmla="*/ 228600 h 1651000"/>
              <a:gd name="connsiteX4" fmla="*/ 2794000 w 9169400"/>
              <a:gd name="connsiteY4" fmla="*/ 355600 h 1651000"/>
              <a:gd name="connsiteX5" fmla="*/ 3873500 w 9169400"/>
              <a:gd name="connsiteY5" fmla="*/ 469900 h 1651000"/>
              <a:gd name="connsiteX6" fmla="*/ 5067300 w 9169400"/>
              <a:gd name="connsiteY6" fmla="*/ 622300 h 1651000"/>
              <a:gd name="connsiteX7" fmla="*/ 6261100 w 9169400"/>
              <a:gd name="connsiteY7" fmla="*/ 558800 h 1651000"/>
              <a:gd name="connsiteX8" fmla="*/ 7086600 w 9169400"/>
              <a:gd name="connsiteY8" fmla="*/ 177800 h 1651000"/>
              <a:gd name="connsiteX9" fmla="*/ 9156700 w 9169400"/>
              <a:gd name="connsiteY9" fmla="*/ 0 h 1651000"/>
              <a:gd name="connsiteX10" fmla="*/ 9169400 w 9169400"/>
              <a:gd name="connsiteY10" fmla="*/ 1651000 h 1651000"/>
              <a:gd name="connsiteX11" fmla="*/ 0 w 9169400"/>
              <a:gd name="connsiteY11" fmla="*/ 1651000 h 1651000"/>
              <a:gd name="connsiteX12" fmla="*/ 12700 w 9169400"/>
              <a:gd name="connsiteY12" fmla="*/ 571500 h 1651000"/>
              <a:gd name="connsiteX0" fmla="*/ 12700 w 9169400"/>
              <a:gd name="connsiteY0" fmla="*/ 571500 h 1651000"/>
              <a:gd name="connsiteX1" fmla="*/ 622300 w 9169400"/>
              <a:gd name="connsiteY1" fmla="*/ 431800 h 1651000"/>
              <a:gd name="connsiteX2" fmla="*/ 1143000 w 9169400"/>
              <a:gd name="connsiteY2" fmla="*/ 279400 h 1651000"/>
              <a:gd name="connsiteX3" fmla="*/ 1701800 w 9169400"/>
              <a:gd name="connsiteY3" fmla="*/ 228600 h 1651000"/>
              <a:gd name="connsiteX4" fmla="*/ 2794000 w 9169400"/>
              <a:gd name="connsiteY4" fmla="*/ 355600 h 1651000"/>
              <a:gd name="connsiteX5" fmla="*/ 3873500 w 9169400"/>
              <a:gd name="connsiteY5" fmla="*/ 469900 h 1651000"/>
              <a:gd name="connsiteX6" fmla="*/ 5067300 w 9169400"/>
              <a:gd name="connsiteY6" fmla="*/ 622300 h 1651000"/>
              <a:gd name="connsiteX7" fmla="*/ 6261100 w 9169400"/>
              <a:gd name="connsiteY7" fmla="*/ 558800 h 1651000"/>
              <a:gd name="connsiteX8" fmla="*/ 7086600 w 9169400"/>
              <a:gd name="connsiteY8" fmla="*/ 177800 h 1651000"/>
              <a:gd name="connsiteX9" fmla="*/ 9156700 w 9169400"/>
              <a:gd name="connsiteY9" fmla="*/ 0 h 1651000"/>
              <a:gd name="connsiteX10" fmla="*/ 9169400 w 9169400"/>
              <a:gd name="connsiteY10" fmla="*/ 1651000 h 1651000"/>
              <a:gd name="connsiteX11" fmla="*/ 0 w 9169400"/>
              <a:gd name="connsiteY11" fmla="*/ 1651000 h 1651000"/>
              <a:gd name="connsiteX12" fmla="*/ 12700 w 9169400"/>
              <a:gd name="connsiteY12" fmla="*/ 571500 h 1651000"/>
              <a:gd name="connsiteX0" fmla="*/ 12700 w 9169400"/>
              <a:gd name="connsiteY0" fmla="*/ 571500 h 1651000"/>
              <a:gd name="connsiteX1" fmla="*/ 622300 w 9169400"/>
              <a:gd name="connsiteY1" fmla="*/ 431800 h 1651000"/>
              <a:gd name="connsiteX2" fmla="*/ 1143000 w 9169400"/>
              <a:gd name="connsiteY2" fmla="*/ 279400 h 1651000"/>
              <a:gd name="connsiteX3" fmla="*/ 1701800 w 9169400"/>
              <a:gd name="connsiteY3" fmla="*/ 228600 h 1651000"/>
              <a:gd name="connsiteX4" fmla="*/ 2794000 w 9169400"/>
              <a:gd name="connsiteY4" fmla="*/ 355600 h 1651000"/>
              <a:gd name="connsiteX5" fmla="*/ 3873500 w 9169400"/>
              <a:gd name="connsiteY5" fmla="*/ 469900 h 1651000"/>
              <a:gd name="connsiteX6" fmla="*/ 5067300 w 9169400"/>
              <a:gd name="connsiteY6" fmla="*/ 622300 h 1651000"/>
              <a:gd name="connsiteX7" fmla="*/ 6261100 w 9169400"/>
              <a:gd name="connsiteY7" fmla="*/ 558800 h 1651000"/>
              <a:gd name="connsiteX8" fmla="*/ 7086600 w 9169400"/>
              <a:gd name="connsiteY8" fmla="*/ 177800 h 1651000"/>
              <a:gd name="connsiteX9" fmla="*/ 9156700 w 9169400"/>
              <a:gd name="connsiteY9" fmla="*/ 0 h 1651000"/>
              <a:gd name="connsiteX10" fmla="*/ 9169400 w 9169400"/>
              <a:gd name="connsiteY10" fmla="*/ 1651000 h 1651000"/>
              <a:gd name="connsiteX11" fmla="*/ 0 w 9169400"/>
              <a:gd name="connsiteY11" fmla="*/ 1651000 h 1651000"/>
              <a:gd name="connsiteX12" fmla="*/ 12700 w 9169400"/>
              <a:gd name="connsiteY12" fmla="*/ 571500 h 1651000"/>
              <a:gd name="connsiteX0" fmla="*/ 12700 w 9169400"/>
              <a:gd name="connsiteY0" fmla="*/ 571500 h 1651000"/>
              <a:gd name="connsiteX1" fmla="*/ 622300 w 9169400"/>
              <a:gd name="connsiteY1" fmla="*/ 431800 h 1651000"/>
              <a:gd name="connsiteX2" fmla="*/ 1143000 w 9169400"/>
              <a:gd name="connsiteY2" fmla="*/ 279400 h 1651000"/>
              <a:gd name="connsiteX3" fmla="*/ 1701800 w 9169400"/>
              <a:gd name="connsiteY3" fmla="*/ 228600 h 1651000"/>
              <a:gd name="connsiteX4" fmla="*/ 2794000 w 9169400"/>
              <a:gd name="connsiteY4" fmla="*/ 355600 h 1651000"/>
              <a:gd name="connsiteX5" fmla="*/ 3873500 w 9169400"/>
              <a:gd name="connsiteY5" fmla="*/ 469900 h 1651000"/>
              <a:gd name="connsiteX6" fmla="*/ 5067300 w 9169400"/>
              <a:gd name="connsiteY6" fmla="*/ 622300 h 1651000"/>
              <a:gd name="connsiteX7" fmla="*/ 6261100 w 9169400"/>
              <a:gd name="connsiteY7" fmla="*/ 558800 h 1651000"/>
              <a:gd name="connsiteX8" fmla="*/ 7086600 w 9169400"/>
              <a:gd name="connsiteY8" fmla="*/ 177800 h 1651000"/>
              <a:gd name="connsiteX9" fmla="*/ 9156700 w 9169400"/>
              <a:gd name="connsiteY9" fmla="*/ 0 h 1651000"/>
              <a:gd name="connsiteX10" fmla="*/ 9169400 w 9169400"/>
              <a:gd name="connsiteY10" fmla="*/ 1651000 h 1651000"/>
              <a:gd name="connsiteX11" fmla="*/ 0 w 9169400"/>
              <a:gd name="connsiteY11" fmla="*/ 1651000 h 1651000"/>
              <a:gd name="connsiteX12" fmla="*/ 12700 w 9169400"/>
              <a:gd name="connsiteY12" fmla="*/ 571500 h 1651000"/>
              <a:gd name="connsiteX0" fmla="*/ 12700 w 9169400"/>
              <a:gd name="connsiteY0" fmla="*/ 571500 h 1651000"/>
              <a:gd name="connsiteX1" fmla="*/ 622300 w 9169400"/>
              <a:gd name="connsiteY1" fmla="*/ 431800 h 1651000"/>
              <a:gd name="connsiteX2" fmla="*/ 1701800 w 9169400"/>
              <a:gd name="connsiteY2" fmla="*/ 228600 h 1651000"/>
              <a:gd name="connsiteX3" fmla="*/ 2794000 w 9169400"/>
              <a:gd name="connsiteY3" fmla="*/ 355600 h 1651000"/>
              <a:gd name="connsiteX4" fmla="*/ 3873500 w 9169400"/>
              <a:gd name="connsiteY4" fmla="*/ 469900 h 1651000"/>
              <a:gd name="connsiteX5" fmla="*/ 5067300 w 9169400"/>
              <a:gd name="connsiteY5" fmla="*/ 622300 h 1651000"/>
              <a:gd name="connsiteX6" fmla="*/ 6261100 w 9169400"/>
              <a:gd name="connsiteY6" fmla="*/ 558800 h 1651000"/>
              <a:gd name="connsiteX7" fmla="*/ 7086600 w 9169400"/>
              <a:gd name="connsiteY7" fmla="*/ 177800 h 1651000"/>
              <a:gd name="connsiteX8" fmla="*/ 9156700 w 9169400"/>
              <a:gd name="connsiteY8" fmla="*/ 0 h 1651000"/>
              <a:gd name="connsiteX9" fmla="*/ 9169400 w 9169400"/>
              <a:gd name="connsiteY9" fmla="*/ 1651000 h 1651000"/>
              <a:gd name="connsiteX10" fmla="*/ 0 w 9169400"/>
              <a:gd name="connsiteY10" fmla="*/ 1651000 h 1651000"/>
              <a:gd name="connsiteX11" fmla="*/ 12700 w 9169400"/>
              <a:gd name="connsiteY11" fmla="*/ 571500 h 1651000"/>
              <a:gd name="connsiteX0" fmla="*/ 12700 w 9169400"/>
              <a:gd name="connsiteY0" fmla="*/ 571500 h 1651000"/>
              <a:gd name="connsiteX1" fmla="*/ 863600 w 9169400"/>
              <a:gd name="connsiteY1" fmla="*/ 342900 h 1651000"/>
              <a:gd name="connsiteX2" fmla="*/ 1701800 w 9169400"/>
              <a:gd name="connsiteY2" fmla="*/ 228600 h 1651000"/>
              <a:gd name="connsiteX3" fmla="*/ 2794000 w 9169400"/>
              <a:gd name="connsiteY3" fmla="*/ 355600 h 1651000"/>
              <a:gd name="connsiteX4" fmla="*/ 3873500 w 9169400"/>
              <a:gd name="connsiteY4" fmla="*/ 469900 h 1651000"/>
              <a:gd name="connsiteX5" fmla="*/ 5067300 w 9169400"/>
              <a:gd name="connsiteY5" fmla="*/ 622300 h 1651000"/>
              <a:gd name="connsiteX6" fmla="*/ 6261100 w 9169400"/>
              <a:gd name="connsiteY6" fmla="*/ 558800 h 1651000"/>
              <a:gd name="connsiteX7" fmla="*/ 7086600 w 9169400"/>
              <a:gd name="connsiteY7" fmla="*/ 177800 h 1651000"/>
              <a:gd name="connsiteX8" fmla="*/ 9156700 w 9169400"/>
              <a:gd name="connsiteY8" fmla="*/ 0 h 1651000"/>
              <a:gd name="connsiteX9" fmla="*/ 9169400 w 9169400"/>
              <a:gd name="connsiteY9" fmla="*/ 1651000 h 1651000"/>
              <a:gd name="connsiteX10" fmla="*/ 0 w 9169400"/>
              <a:gd name="connsiteY10" fmla="*/ 1651000 h 1651000"/>
              <a:gd name="connsiteX11" fmla="*/ 12700 w 9169400"/>
              <a:gd name="connsiteY11" fmla="*/ 571500 h 1651000"/>
              <a:gd name="connsiteX0" fmla="*/ 12700 w 9169400"/>
              <a:gd name="connsiteY0" fmla="*/ 571500 h 1651000"/>
              <a:gd name="connsiteX1" fmla="*/ 863600 w 9169400"/>
              <a:gd name="connsiteY1" fmla="*/ 342900 h 1651000"/>
              <a:gd name="connsiteX2" fmla="*/ 1701800 w 9169400"/>
              <a:gd name="connsiteY2" fmla="*/ 228600 h 1651000"/>
              <a:gd name="connsiteX3" fmla="*/ 2794000 w 9169400"/>
              <a:gd name="connsiteY3" fmla="*/ 355600 h 1651000"/>
              <a:gd name="connsiteX4" fmla="*/ 3873500 w 9169400"/>
              <a:gd name="connsiteY4" fmla="*/ 469900 h 1651000"/>
              <a:gd name="connsiteX5" fmla="*/ 5067300 w 9169400"/>
              <a:gd name="connsiteY5" fmla="*/ 622300 h 1651000"/>
              <a:gd name="connsiteX6" fmla="*/ 6261100 w 9169400"/>
              <a:gd name="connsiteY6" fmla="*/ 558800 h 1651000"/>
              <a:gd name="connsiteX7" fmla="*/ 7086600 w 9169400"/>
              <a:gd name="connsiteY7" fmla="*/ 177800 h 1651000"/>
              <a:gd name="connsiteX8" fmla="*/ 9156700 w 9169400"/>
              <a:gd name="connsiteY8" fmla="*/ 0 h 1651000"/>
              <a:gd name="connsiteX9" fmla="*/ 9169400 w 9169400"/>
              <a:gd name="connsiteY9" fmla="*/ 1651000 h 1651000"/>
              <a:gd name="connsiteX10" fmla="*/ 0 w 9169400"/>
              <a:gd name="connsiteY10" fmla="*/ 1651000 h 1651000"/>
              <a:gd name="connsiteX11" fmla="*/ 12700 w 9169400"/>
              <a:gd name="connsiteY11" fmla="*/ 571500 h 1651000"/>
              <a:gd name="connsiteX0" fmla="*/ 12700 w 9169400"/>
              <a:gd name="connsiteY0" fmla="*/ 571500 h 1651000"/>
              <a:gd name="connsiteX1" fmla="*/ 863600 w 9169400"/>
              <a:gd name="connsiteY1" fmla="*/ 342900 h 1651000"/>
              <a:gd name="connsiteX2" fmla="*/ 1701800 w 9169400"/>
              <a:gd name="connsiteY2" fmla="*/ 228600 h 1651000"/>
              <a:gd name="connsiteX3" fmla="*/ 2794000 w 9169400"/>
              <a:gd name="connsiteY3" fmla="*/ 355600 h 1651000"/>
              <a:gd name="connsiteX4" fmla="*/ 3873500 w 9169400"/>
              <a:gd name="connsiteY4" fmla="*/ 469900 h 1651000"/>
              <a:gd name="connsiteX5" fmla="*/ 5067300 w 9169400"/>
              <a:gd name="connsiteY5" fmla="*/ 622300 h 1651000"/>
              <a:gd name="connsiteX6" fmla="*/ 6197600 w 9169400"/>
              <a:gd name="connsiteY6" fmla="*/ 482600 h 1651000"/>
              <a:gd name="connsiteX7" fmla="*/ 7086600 w 9169400"/>
              <a:gd name="connsiteY7" fmla="*/ 177800 h 1651000"/>
              <a:gd name="connsiteX8" fmla="*/ 9156700 w 9169400"/>
              <a:gd name="connsiteY8" fmla="*/ 0 h 1651000"/>
              <a:gd name="connsiteX9" fmla="*/ 9169400 w 9169400"/>
              <a:gd name="connsiteY9" fmla="*/ 1651000 h 1651000"/>
              <a:gd name="connsiteX10" fmla="*/ 0 w 9169400"/>
              <a:gd name="connsiteY10" fmla="*/ 1651000 h 1651000"/>
              <a:gd name="connsiteX11" fmla="*/ 12700 w 9169400"/>
              <a:gd name="connsiteY11" fmla="*/ 571500 h 1651000"/>
              <a:gd name="connsiteX0" fmla="*/ 12700 w 9169400"/>
              <a:gd name="connsiteY0" fmla="*/ 571500 h 1651000"/>
              <a:gd name="connsiteX1" fmla="*/ 863600 w 9169400"/>
              <a:gd name="connsiteY1" fmla="*/ 342900 h 1651000"/>
              <a:gd name="connsiteX2" fmla="*/ 1701800 w 9169400"/>
              <a:gd name="connsiteY2" fmla="*/ 228600 h 1651000"/>
              <a:gd name="connsiteX3" fmla="*/ 2794000 w 9169400"/>
              <a:gd name="connsiteY3" fmla="*/ 355600 h 1651000"/>
              <a:gd name="connsiteX4" fmla="*/ 3873500 w 9169400"/>
              <a:gd name="connsiteY4" fmla="*/ 469900 h 1651000"/>
              <a:gd name="connsiteX5" fmla="*/ 5067300 w 9169400"/>
              <a:gd name="connsiteY5" fmla="*/ 622300 h 1651000"/>
              <a:gd name="connsiteX6" fmla="*/ 6197600 w 9169400"/>
              <a:gd name="connsiteY6" fmla="*/ 482600 h 1651000"/>
              <a:gd name="connsiteX7" fmla="*/ 7785100 w 9169400"/>
              <a:gd name="connsiteY7" fmla="*/ 63500 h 1651000"/>
              <a:gd name="connsiteX8" fmla="*/ 9156700 w 9169400"/>
              <a:gd name="connsiteY8" fmla="*/ 0 h 1651000"/>
              <a:gd name="connsiteX9" fmla="*/ 9169400 w 9169400"/>
              <a:gd name="connsiteY9" fmla="*/ 1651000 h 1651000"/>
              <a:gd name="connsiteX10" fmla="*/ 0 w 9169400"/>
              <a:gd name="connsiteY10" fmla="*/ 1651000 h 1651000"/>
              <a:gd name="connsiteX11" fmla="*/ 12700 w 9169400"/>
              <a:gd name="connsiteY11" fmla="*/ 571500 h 1651000"/>
              <a:gd name="connsiteX0" fmla="*/ 12700 w 9169400"/>
              <a:gd name="connsiteY0" fmla="*/ 571500 h 1651000"/>
              <a:gd name="connsiteX1" fmla="*/ 863600 w 9169400"/>
              <a:gd name="connsiteY1" fmla="*/ 342900 h 1651000"/>
              <a:gd name="connsiteX2" fmla="*/ 1701800 w 9169400"/>
              <a:gd name="connsiteY2" fmla="*/ 228600 h 1651000"/>
              <a:gd name="connsiteX3" fmla="*/ 2794000 w 9169400"/>
              <a:gd name="connsiteY3" fmla="*/ 355600 h 1651000"/>
              <a:gd name="connsiteX4" fmla="*/ 3873500 w 9169400"/>
              <a:gd name="connsiteY4" fmla="*/ 469900 h 1651000"/>
              <a:gd name="connsiteX5" fmla="*/ 5067300 w 9169400"/>
              <a:gd name="connsiteY5" fmla="*/ 622300 h 1651000"/>
              <a:gd name="connsiteX6" fmla="*/ 6197600 w 9169400"/>
              <a:gd name="connsiteY6" fmla="*/ 482600 h 1651000"/>
              <a:gd name="connsiteX7" fmla="*/ 7785100 w 9169400"/>
              <a:gd name="connsiteY7" fmla="*/ 63500 h 1651000"/>
              <a:gd name="connsiteX8" fmla="*/ 9156700 w 9169400"/>
              <a:gd name="connsiteY8" fmla="*/ 0 h 1651000"/>
              <a:gd name="connsiteX9" fmla="*/ 9169400 w 9169400"/>
              <a:gd name="connsiteY9" fmla="*/ 1651000 h 1651000"/>
              <a:gd name="connsiteX10" fmla="*/ 0 w 9169400"/>
              <a:gd name="connsiteY10" fmla="*/ 1651000 h 1651000"/>
              <a:gd name="connsiteX11" fmla="*/ 12700 w 9169400"/>
              <a:gd name="connsiteY11" fmla="*/ 571500 h 1651000"/>
              <a:gd name="connsiteX0" fmla="*/ 12700 w 9169400"/>
              <a:gd name="connsiteY0" fmla="*/ 571500 h 1651000"/>
              <a:gd name="connsiteX1" fmla="*/ 863600 w 9169400"/>
              <a:gd name="connsiteY1" fmla="*/ 342900 h 1651000"/>
              <a:gd name="connsiteX2" fmla="*/ 1701800 w 9169400"/>
              <a:gd name="connsiteY2" fmla="*/ 228600 h 1651000"/>
              <a:gd name="connsiteX3" fmla="*/ 2794000 w 9169400"/>
              <a:gd name="connsiteY3" fmla="*/ 355600 h 1651000"/>
              <a:gd name="connsiteX4" fmla="*/ 3873500 w 9169400"/>
              <a:gd name="connsiteY4" fmla="*/ 469900 h 1651000"/>
              <a:gd name="connsiteX5" fmla="*/ 5067300 w 9169400"/>
              <a:gd name="connsiteY5" fmla="*/ 622300 h 1651000"/>
              <a:gd name="connsiteX6" fmla="*/ 6197600 w 9169400"/>
              <a:gd name="connsiteY6" fmla="*/ 482600 h 1651000"/>
              <a:gd name="connsiteX7" fmla="*/ 7785100 w 9169400"/>
              <a:gd name="connsiteY7" fmla="*/ 63500 h 1651000"/>
              <a:gd name="connsiteX8" fmla="*/ 9156700 w 9169400"/>
              <a:gd name="connsiteY8" fmla="*/ 0 h 1651000"/>
              <a:gd name="connsiteX9" fmla="*/ 9169400 w 9169400"/>
              <a:gd name="connsiteY9" fmla="*/ 1651000 h 1651000"/>
              <a:gd name="connsiteX10" fmla="*/ 0 w 9169400"/>
              <a:gd name="connsiteY10" fmla="*/ 1651000 h 1651000"/>
              <a:gd name="connsiteX11" fmla="*/ 12700 w 9169400"/>
              <a:gd name="connsiteY11" fmla="*/ 571500 h 1651000"/>
              <a:gd name="connsiteX0" fmla="*/ 12700 w 9169400"/>
              <a:gd name="connsiteY0" fmla="*/ 571500 h 1651000"/>
              <a:gd name="connsiteX1" fmla="*/ 863600 w 9169400"/>
              <a:gd name="connsiteY1" fmla="*/ 342900 h 1651000"/>
              <a:gd name="connsiteX2" fmla="*/ 1879600 w 9169400"/>
              <a:gd name="connsiteY2" fmla="*/ 215900 h 1651000"/>
              <a:gd name="connsiteX3" fmla="*/ 2794000 w 9169400"/>
              <a:gd name="connsiteY3" fmla="*/ 355600 h 1651000"/>
              <a:gd name="connsiteX4" fmla="*/ 3873500 w 9169400"/>
              <a:gd name="connsiteY4" fmla="*/ 469900 h 1651000"/>
              <a:gd name="connsiteX5" fmla="*/ 5067300 w 9169400"/>
              <a:gd name="connsiteY5" fmla="*/ 622300 h 1651000"/>
              <a:gd name="connsiteX6" fmla="*/ 6197600 w 9169400"/>
              <a:gd name="connsiteY6" fmla="*/ 482600 h 1651000"/>
              <a:gd name="connsiteX7" fmla="*/ 7785100 w 9169400"/>
              <a:gd name="connsiteY7" fmla="*/ 63500 h 1651000"/>
              <a:gd name="connsiteX8" fmla="*/ 9156700 w 9169400"/>
              <a:gd name="connsiteY8" fmla="*/ 0 h 1651000"/>
              <a:gd name="connsiteX9" fmla="*/ 9169400 w 9169400"/>
              <a:gd name="connsiteY9" fmla="*/ 1651000 h 1651000"/>
              <a:gd name="connsiteX10" fmla="*/ 0 w 9169400"/>
              <a:gd name="connsiteY10" fmla="*/ 1651000 h 1651000"/>
              <a:gd name="connsiteX11" fmla="*/ 12700 w 9169400"/>
              <a:gd name="connsiteY11" fmla="*/ 571500 h 1651000"/>
              <a:gd name="connsiteX0" fmla="*/ 12700 w 9169400"/>
              <a:gd name="connsiteY0" fmla="*/ 571500 h 1651000"/>
              <a:gd name="connsiteX1" fmla="*/ 863600 w 9169400"/>
              <a:gd name="connsiteY1" fmla="*/ 342900 h 1651000"/>
              <a:gd name="connsiteX2" fmla="*/ 2794000 w 9169400"/>
              <a:gd name="connsiteY2" fmla="*/ 355600 h 1651000"/>
              <a:gd name="connsiteX3" fmla="*/ 3873500 w 9169400"/>
              <a:gd name="connsiteY3" fmla="*/ 469900 h 1651000"/>
              <a:gd name="connsiteX4" fmla="*/ 5067300 w 9169400"/>
              <a:gd name="connsiteY4" fmla="*/ 622300 h 1651000"/>
              <a:gd name="connsiteX5" fmla="*/ 6197600 w 9169400"/>
              <a:gd name="connsiteY5" fmla="*/ 482600 h 1651000"/>
              <a:gd name="connsiteX6" fmla="*/ 7785100 w 9169400"/>
              <a:gd name="connsiteY6" fmla="*/ 63500 h 1651000"/>
              <a:gd name="connsiteX7" fmla="*/ 9156700 w 9169400"/>
              <a:gd name="connsiteY7" fmla="*/ 0 h 1651000"/>
              <a:gd name="connsiteX8" fmla="*/ 9169400 w 9169400"/>
              <a:gd name="connsiteY8" fmla="*/ 1651000 h 1651000"/>
              <a:gd name="connsiteX9" fmla="*/ 0 w 9169400"/>
              <a:gd name="connsiteY9" fmla="*/ 1651000 h 1651000"/>
              <a:gd name="connsiteX10" fmla="*/ 12700 w 9169400"/>
              <a:gd name="connsiteY10" fmla="*/ 571500 h 1651000"/>
              <a:gd name="connsiteX0" fmla="*/ 12700 w 9169400"/>
              <a:gd name="connsiteY0" fmla="*/ 571500 h 1651000"/>
              <a:gd name="connsiteX1" fmla="*/ 863600 w 9169400"/>
              <a:gd name="connsiteY1" fmla="*/ 342900 h 1651000"/>
              <a:gd name="connsiteX2" fmla="*/ 2565400 w 9169400"/>
              <a:gd name="connsiteY2" fmla="*/ 317500 h 1651000"/>
              <a:gd name="connsiteX3" fmla="*/ 3873500 w 9169400"/>
              <a:gd name="connsiteY3" fmla="*/ 469900 h 1651000"/>
              <a:gd name="connsiteX4" fmla="*/ 5067300 w 9169400"/>
              <a:gd name="connsiteY4" fmla="*/ 622300 h 1651000"/>
              <a:gd name="connsiteX5" fmla="*/ 6197600 w 9169400"/>
              <a:gd name="connsiteY5" fmla="*/ 482600 h 1651000"/>
              <a:gd name="connsiteX6" fmla="*/ 7785100 w 9169400"/>
              <a:gd name="connsiteY6" fmla="*/ 63500 h 1651000"/>
              <a:gd name="connsiteX7" fmla="*/ 9156700 w 9169400"/>
              <a:gd name="connsiteY7" fmla="*/ 0 h 1651000"/>
              <a:gd name="connsiteX8" fmla="*/ 9169400 w 9169400"/>
              <a:gd name="connsiteY8" fmla="*/ 1651000 h 1651000"/>
              <a:gd name="connsiteX9" fmla="*/ 0 w 9169400"/>
              <a:gd name="connsiteY9" fmla="*/ 1651000 h 1651000"/>
              <a:gd name="connsiteX10" fmla="*/ 12700 w 9169400"/>
              <a:gd name="connsiteY10" fmla="*/ 571500 h 1651000"/>
              <a:gd name="connsiteX0" fmla="*/ 12700 w 9169400"/>
              <a:gd name="connsiteY0" fmla="*/ 571500 h 1651000"/>
              <a:gd name="connsiteX1" fmla="*/ 863600 w 9169400"/>
              <a:gd name="connsiteY1" fmla="*/ 342900 h 1651000"/>
              <a:gd name="connsiteX2" fmla="*/ 2565400 w 9169400"/>
              <a:gd name="connsiteY2" fmla="*/ 317500 h 1651000"/>
              <a:gd name="connsiteX3" fmla="*/ 3873500 w 9169400"/>
              <a:gd name="connsiteY3" fmla="*/ 469900 h 1651000"/>
              <a:gd name="connsiteX4" fmla="*/ 5067300 w 9169400"/>
              <a:gd name="connsiteY4" fmla="*/ 622300 h 1651000"/>
              <a:gd name="connsiteX5" fmla="*/ 6197600 w 9169400"/>
              <a:gd name="connsiteY5" fmla="*/ 482600 h 1651000"/>
              <a:gd name="connsiteX6" fmla="*/ 7785100 w 9169400"/>
              <a:gd name="connsiteY6" fmla="*/ 63500 h 1651000"/>
              <a:gd name="connsiteX7" fmla="*/ 9156700 w 9169400"/>
              <a:gd name="connsiteY7" fmla="*/ 0 h 1651000"/>
              <a:gd name="connsiteX8" fmla="*/ 9169400 w 9169400"/>
              <a:gd name="connsiteY8" fmla="*/ 1651000 h 1651000"/>
              <a:gd name="connsiteX9" fmla="*/ 0 w 9169400"/>
              <a:gd name="connsiteY9" fmla="*/ 1651000 h 1651000"/>
              <a:gd name="connsiteX10" fmla="*/ 12700 w 9169400"/>
              <a:gd name="connsiteY10" fmla="*/ 571500 h 1651000"/>
              <a:gd name="connsiteX0" fmla="*/ 12700 w 9169400"/>
              <a:gd name="connsiteY0" fmla="*/ 571500 h 1651000"/>
              <a:gd name="connsiteX1" fmla="*/ 1143000 w 9169400"/>
              <a:gd name="connsiteY1" fmla="*/ 431800 h 1651000"/>
              <a:gd name="connsiteX2" fmla="*/ 2565400 w 9169400"/>
              <a:gd name="connsiteY2" fmla="*/ 317500 h 1651000"/>
              <a:gd name="connsiteX3" fmla="*/ 3873500 w 9169400"/>
              <a:gd name="connsiteY3" fmla="*/ 469900 h 1651000"/>
              <a:gd name="connsiteX4" fmla="*/ 5067300 w 9169400"/>
              <a:gd name="connsiteY4" fmla="*/ 622300 h 1651000"/>
              <a:gd name="connsiteX5" fmla="*/ 6197600 w 9169400"/>
              <a:gd name="connsiteY5" fmla="*/ 482600 h 1651000"/>
              <a:gd name="connsiteX6" fmla="*/ 7785100 w 9169400"/>
              <a:gd name="connsiteY6" fmla="*/ 63500 h 1651000"/>
              <a:gd name="connsiteX7" fmla="*/ 9156700 w 9169400"/>
              <a:gd name="connsiteY7" fmla="*/ 0 h 1651000"/>
              <a:gd name="connsiteX8" fmla="*/ 9169400 w 9169400"/>
              <a:gd name="connsiteY8" fmla="*/ 1651000 h 1651000"/>
              <a:gd name="connsiteX9" fmla="*/ 0 w 9169400"/>
              <a:gd name="connsiteY9" fmla="*/ 1651000 h 1651000"/>
              <a:gd name="connsiteX10" fmla="*/ 12700 w 9169400"/>
              <a:gd name="connsiteY10" fmla="*/ 571500 h 1651000"/>
              <a:gd name="connsiteX0" fmla="*/ 12700 w 9169400"/>
              <a:gd name="connsiteY0" fmla="*/ 571500 h 1651000"/>
              <a:gd name="connsiteX1" fmla="*/ 1143000 w 9169400"/>
              <a:gd name="connsiteY1" fmla="*/ 431800 h 1651000"/>
              <a:gd name="connsiteX2" fmla="*/ 2565400 w 9169400"/>
              <a:gd name="connsiteY2" fmla="*/ 317500 h 1651000"/>
              <a:gd name="connsiteX3" fmla="*/ 3873500 w 9169400"/>
              <a:gd name="connsiteY3" fmla="*/ 469900 h 1651000"/>
              <a:gd name="connsiteX4" fmla="*/ 5067300 w 9169400"/>
              <a:gd name="connsiteY4" fmla="*/ 622300 h 1651000"/>
              <a:gd name="connsiteX5" fmla="*/ 6197600 w 9169400"/>
              <a:gd name="connsiteY5" fmla="*/ 482600 h 1651000"/>
              <a:gd name="connsiteX6" fmla="*/ 7785100 w 9169400"/>
              <a:gd name="connsiteY6" fmla="*/ 63500 h 1651000"/>
              <a:gd name="connsiteX7" fmla="*/ 9156700 w 9169400"/>
              <a:gd name="connsiteY7" fmla="*/ 0 h 1651000"/>
              <a:gd name="connsiteX8" fmla="*/ 9169400 w 9169400"/>
              <a:gd name="connsiteY8" fmla="*/ 1651000 h 1651000"/>
              <a:gd name="connsiteX9" fmla="*/ 0 w 9169400"/>
              <a:gd name="connsiteY9" fmla="*/ 1651000 h 1651000"/>
              <a:gd name="connsiteX10" fmla="*/ 12700 w 9169400"/>
              <a:gd name="connsiteY10" fmla="*/ 571500 h 1651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169400" h="1651000">
                <a:moveTo>
                  <a:pt x="12700" y="571500"/>
                </a:moveTo>
                <a:cubicBezTo>
                  <a:pt x="662517" y="469900"/>
                  <a:pt x="717550" y="474133"/>
                  <a:pt x="1143000" y="431800"/>
                </a:cubicBezTo>
                <a:cubicBezTo>
                  <a:pt x="1568450" y="389467"/>
                  <a:pt x="2110317" y="311150"/>
                  <a:pt x="2565400" y="317500"/>
                </a:cubicBezTo>
                <a:cubicBezTo>
                  <a:pt x="3020483" y="323850"/>
                  <a:pt x="3456517" y="419100"/>
                  <a:pt x="3873500" y="469900"/>
                </a:cubicBezTo>
                <a:cubicBezTo>
                  <a:pt x="4290483" y="520700"/>
                  <a:pt x="4679950" y="620183"/>
                  <a:pt x="5067300" y="622300"/>
                </a:cubicBezTo>
                <a:cubicBezTo>
                  <a:pt x="5454650" y="624417"/>
                  <a:pt x="5744633" y="575733"/>
                  <a:pt x="6197600" y="482600"/>
                </a:cubicBezTo>
                <a:cubicBezTo>
                  <a:pt x="6650567" y="389467"/>
                  <a:pt x="7253817" y="131233"/>
                  <a:pt x="7785100" y="63500"/>
                </a:cubicBezTo>
                <a:cubicBezTo>
                  <a:pt x="8316383" y="-4233"/>
                  <a:pt x="8453967" y="21167"/>
                  <a:pt x="9156700" y="0"/>
                </a:cubicBezTo>
                <a:cubicBezTo>
                  <a:pt x="9160933" y="550333"/>
                  <a:pt x="9165167" y="1100667"/>
                  <a:pt x="9169400" y="1651000"/>
                </a:cubicBezTo>
                <a:lnTo>
                  <a:pt x="0" y="1651000"/>
                </a:lnTo>
                <a:lnTo>
                  <a:pt x="12700" y="571500"/>
                </a:lnTo>
                <a:close/>
              </a:path>
            </a:pathLst>
          </a:cu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3" name="Sun 92"/>
          <p:cNvSpPr/>
          <p:nvPr/>
        </p:nvSpPr>
        <p:spPr>
          <a:xfrm>
            <a:off x="6400800" y="133350"/>
            <a:ext cx="1219200" cy="1219200"/>
          </a:xfrm>
          <a:prstGeom prst="sun">
            <a:avLst>
              <a:gd name="adj" fmla="val 32500"/>
            </a:avLst>
          </a:prstGeom>
          <a:solidFill>
            <a:srgbClr val="FFFF0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94" name="Cloud 93"/>
          <p:cNvSpPr/>
          <p:nvPr/>
        </p:nvSpPr>
        <p:spPr>
          <a:xfrm>
            <a:off x="5410200" y="742950"/>
            <a:ext cx="1447800" cy="914400"/>
          </a:xfrm>
          <a:prstGeom prst="cloud">
            <a:avLst/>
          </a:prstGeom>
          <a:solidFill>
            <a:schemeClr val="bg1"/>
          </a:solidFill>
          <a:ln>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Left-Right Arrow 1"/>
          <p:cNvSpPr/>
          <p:nvPr/>
        </p:nvSpPr>
        <p:spPr>
          <a:xfrm>
            <a:off x="3505200" y="2075562"/>
            <a:ext cx="2099432" cy="869992"/>
          </a:xfrm>
          <a:custGeom>
            <a:avLst/>
            <a:gdLst>
              <a:gd name="connsiteX0" fmla="*/ 0 w 1216152"/>
              <a:gd name="connsiteY0" fmla="*/ 242316 h 484632"/>
              <a:gd name="connsiteX1" fmla="*/ 242316 w 1216152"/>
              <a:gd name="connsiteY1" fmla="*/ 0 h 484632"/>
              <a:gd name="connsiteX2" fmla="*/ 242316 w 1216152"/>
              <a:gd name="connsiteY2" fmla="*/ 121158 h 484632"/>
              <a:gd name="connsiteX3" fmla="*/ 973836 w 1216152"/>
              <a:gd name="connsiteY3" fmla="*/ 121158 h 484632"/>
              <a:gd name="connsiteX4" fmla="*/ 973836 w 1216152"/>
              <a:gd name="connsiteY4" fmla="*/ 0 h 484632"/>
              <a:gd name="connsiteX5" fmla="*/ 1216152 w 1216152"/>
              <a:gd name="connsiteY5" fmla="*/ 242316 h 484632"/>
              <a:gd name="connsiteX6" fmla="*/ 973836 w 1216152"/>
              <a:gd name="connsiteY6" fmla="*/ 484632 h 484632"/>
              <a:gd name="connsiteX7" fmla="*/ 973836 w 1216152"/>
              <a:gd name="connsiteY7" fmla="*/ 363474 h 484632"/>
              <a:gd name="connsiteX8" fmla="*/ 242316 w 1216152"/>
              <a:gd name="connsiteY8" fmla="*/ 363474 h 484632"/>
              <a:gd name="connsiteX9" fmla="*/ 242316 w 1216152"/>
              <a:gd name="connsiteY9" fmla="*/ 484632 h 484632"/>
              <a:gd name="connsiteX10" fmla="*/ 0 w 1216152"/>
              <a:gd name="connsiteY10" fmla="*/ 242316 h 484632"/>
              <a:gd name="connsiteX0" fmla="*/ 0 w 1216152"/>
              <a:gd name="connsiteY0" fmla="*/ 242316 h 484632"/>
              <a:gd name="connsiteX1" fmla="*/ 242316 w 1216152"/>
              <a:gd name="connsiteY1" fmla="*/ 0 h 484632"/>
              <a:gd name="connsiteX2" fmla="*/ 242316 w 1216152"/>
              <a:gd name="connsiteY2" fmla="*/ 121158 h 484632"/>
              <a:gd name="connsiteX3" fmla="*/ 973836 w 1216152"/>
              <a:gd name="connsiteY3" fmla="*/ 121158 h 484632"/>
              <a:gd name="connsiteX4" fmla="*/ 973836 w 1216152"/>
              <a:gd name="connsiteY4" fmla="*/ 0 h 484632"/>
              <a:gd name="connsiteX5" fmla="*/ 1216152 w 1216152"/>
              <a:gd name="connsiteY5" fmla="*/ 242316 h 484632"/>
              <a:gd name="connsiteX6" fmla="*/ 973836 w 1216152"/>
              <a:gd name="connsiteY6" fmla="*/ 484632 h 484632"/>
              <a:gd name="connsiteX7" fmla="*/ 973836 w 1216152"/>
              <a:gd name="connsiteY7" fmla="*/ 363474 h 484632"/>
              <a:gd name="connsiteX8" fmla="*/ 600075 w 1216152"/>
              <a:gd name="connsiteY8" fmla="*/ 363438 h 484632"/>
              <a:gd name="connsiteX9" fmla="*/ 242316 w 1216152"/>
              <a:gd name="connsiteY9" fmla="*/ 363474 h 484632"/>
              <a:gd name="connsiteX10" fmla="*/ 242316 w 1216152"/>
              <a:gd name="connsiteY10" fmla="*/ 484632 h 484632"/>
              <a:gd name="connsiteX11" fmla="*/ 0 w 1216152"/>
              <a:gd name="connsiteY11" fmla="*/ 242316 h 484632"/>
              <a:gd name="connsiteX0" fmla="*/ 0 w 1216152"/>
              <a:gd name="connsiteY0" fmla="*/ 242316 h 484632"/>
              <a:gd name="connsiteX1" fmla="*/ 242316 w 1216152"/>
              <a:gd name="connsiteY1" fmla="*/ 0 h 484632"/>
              <a:gd name="connsiteX2" fmla="*/ 242316 w 1216152"/>
              <a:gd name="connsiteY2" fmla="*/ 121158 h 484632"/>
              <a:gd name="connsiteX3" fmla="*/ 606425 w 1216152"/>
              <a:gd name="connsiteY3" fmla="*/ 118963 h 484632"/>
              <a:gd name="connsiteX4" fmla="*/ 973836 w 1216152"/>
              <a:gd name="connsiteY4" fmla="*/ 121158 h 484632"/>
              <a:gd name="connsiteX5" fmla="*/ 973836 w 1216152"/>
              <a:gd name="connsiteY5" fmla="*/ 0 h 484632"/>
              <a:gd name="connsiteX6" fmla="*/ 1216152 w 1216152"/>
              <a:gd name="connsiteY6" fmla="*/ 242316 h 484632"/>
              <a:gd name="connsiteX7" fmla="*/ 973836 w 1216152"/>
              <a:gd name="connsiteY7" fmla="*/ 484632 h 484632"/>
              <a:gd name="connsiteX8" fmla="*/ 973836 w 1216152"/>
              <a:gd name="connsiteY8" fmla="*/ 363474 h 484632"/>
              <a:gd name="connsiteX9" fmla="*/ 600075 w 1216152"/>
              <a:gd name="connsiteY9" fmla="*/ 363438 h 484632"/>
              <a:gd name="connsiteX10" fmla="*/ 242316 w 1216152"/>
              <a:gd name="connsiteY10" fmla="*/ 363474 h 484632"/>
              <a:gd name="connsiteX11" fmla="*/ 242316 w 1216152"/>
              <a:gd name="connsiteY11" fmla="*/ 484632 h 484632"/>
              <a:gd name="connsiteX12" fmla="*/ 0 w 1216152"/>
              <a:gd name="connsiteY12" fmla="*/ 242316 h 484632"/>
              <a:gd name="connsiteX0" fmla="*/ 0 w 1216152"/>
              <a:gd name="connsiteY0" fmla="*/ 242316 h 484632"/>
              <a:gd name="connsiteX1" fmla="*/ 242316 w 1216152"/>
              <a:gd name="connsiteY1" fmla="*/ 0 h 484632"/>
              <a:gd name="connsiteX2" fmla="*/ 242316 w 1216152"/>
              <a:gd name="connsiteY2" fmla="*/ 121158 h 484632"/>
              <a:gd name="connsiteX3" fmla="*/ 606425 w 1216152"/>
              <a:gd name="connsiteY3" fmla="*/ 17363 h 484632"/>
              <a:gd name="connsiteX4" fmla="*/ 973836 w 1216152"/>
              <a:gd name="connsiteY4" fmla="*/ 121158 h 484632"/>
              <a:gd name="connsiteX5" fmla="*/ 973836 w 1216152"/>
              <a:gd name="connsiteY5" fmla="*/ 0 h 484632"/>
              <a:gd name="connsiteX6" fmla="*/ 1216152 w 1216152"/>
              <a:gd name="connsiteY6" fmla="*/ 242316 h 484632"/>
              <a:gd name="connsiteX7" fmla="*/ 973836 w 1216152"/>
              <a:gd name="connsiteY7" fmla="*/ 484632 h 484632"/>
              <a:gd name="connsiteX8" fmla="*/ 973836 w 1216152"/>
              <a:gd name="connsiteY8" fmla="*/ 363474 h 484632"/>
              <a:gd name="connsiteX9" fmla="*/ 600075 w 1216152"/>
              <a:gd name="connsiteY9" fmla="*/ 363438 h 484632"/>
              <a:gd name="connsiteX10" fmla="*/ 242316 w 1216152"/>
              <a:gd name="connsiteY10" fmla="*/ 363474 h 484632"/>
              <a:gd name="connsiteX11" fmla="*/ 242316 w 1216152"/>
              <a:gd name="connsiteY11" fmla="*/ 484632 h 484632"/>
              <a:gd name="connsiteX12" fmla="*/ 0 w 1216152"/>
              <a:gd name="connsiteY12" fmla="*/ 242316 h 484632"/>
              <a:gd name="connsiteX0" fmla="*/ 0 w 1216152"/>
              <a:gd name="connsiteY0" fmla="*/ 242316 h 484632"/>
              <a:gd name="connsiteX1" fmla="*/ 242316 w 1216152"/>
              <a:gd name="connsiteY1" fmla="*/ 0 h 484632"/>
              <a:gd name="connsiteX2" fmla="*/ 242316 w 1216152"/>
              <a:gd name="connsiteY2" fmla="*/ 121158 h 484632"/>
              <a:gd name="connsiteX3" fmla="*/ 606425 w 1216152"/>
              <a:gd name="connsiteY3" fmla="*/ 17363 h 484632"/>
              <a:gd name="connsiteX4" fmla="*/ 973836 w 1216152"/>
              <a:gd name="connsiteY4" fmla="*/ 121158 h 484632"/>
              <a:gd name="connsiteX5" fmla="*/ 973836 w 1216152"/>
              <a:gd name="connsiteY5" fmla="*/ 0 h 484632"/>
              <a:gd name="connsiteX6" fmla="*/ 1216152 w 1216152"/>
              <a:gd name="connsiteY6" fmla="*/ 242316 h 484632"/>
              <a:gd name="connsiteX7" fmla="*/ 973836 w 1216152"/>
              <a:gd name="connsiteY7" fmla="*/ 484632 h 484632"/>
              <a:gd name="connsiteX8" fmla="*/ 973836 w 1216152"/>
              <a:gd name="connsiteY8" fmla="*/ 363474 h 484632"/>
              <a:gd name="connsiteX9" fmla="*/ 600075 w 1216152"/>
              <a:gd name="connsiteY9" fmla="*/ 363438 h 484632"/>
              <a:gd name="connsiteX10" fmla="*/ 242316 w 1216152"/>
              <a:gd name="connsiteY10" fmla="*/ 363474 h 484632"/>
              <a:gd name="connsiteX11" fmla="*/ 242316 w 1216152"/>
              <a:gd name="connsiteY11" fmla="*/ 484632 h 484632"/>
              <a:gd name="connsiteX12" fmla="*/ 0 w 1216152"/>
              <a:gd name="connsiteY12" fmla="*/ 242316 h 484632"/>
              <a:gd name="connsiteX0" fmla="*/ 0 w 1216152"/>
              <a:gd name="connsiteY0" fmla="*/ 242316 h 484632"/>
              <a:gd name="connsiteX1" fmla="*/ 242316 w 1216152"/>
              <a:gd name="connsiteY1" fmla="*/ 0 h 484632"/>
              <a:gd name="connsiteX2" fmla="*/ 242316 w 1216152"/>
              <a:gd name="connsiteY2" fmla="*/ 121158 h 484632"/>
              <a:gd name="connsiteX3" fmla="*/ 606425 w 1216152"/>
              <a:gd name="connsiteY3" fmla="*/ 17363 h 484632"/>
              <a:gd name="connsiteX4" fmla="*/ 973836 w 1216152"/>
              <a:gd name="connsiteY4" fmla="*/ 121158 h 484632"/>
              <a:gd name="connsiteX5" fmla="*/ 973836 w 1216152"/>
              <a:gd name="connsiteY5" fmla="*/ 0 h 484632"/>
              <a:gd name="connsiteX6" fmla="*/ 1216152 w 1216152"/>
              <a:gd name="connsiteY6" fmla="*/ 242316 h 484632"/>
              <a:gd name="connsiteX7" fmla="*/ 973836 w 1216152"/>
              <a:gd name="connsiteY7" fmla="*/ 484632 h 484632"/>
              <a:gd name="connsiteX8" fmla="*/ 973836 w 1216152"/>
              <a:gd name="connsiteY8" fmla="*/ 363474 h 484632"/>
              <a:gd name="connsiteX9" fmla="*/ 600075 w 1216152"/>
              <a:gd name="connsiteY9" fmla="*/ 277713 h 484632"/>
              <a:gd name="connsiteX10" fmla="*/ 242316 w 1216152"/>
              <a:gd name="connsiteY10" fmla="*/ 363474 h 484632"/>
              <a:gd name="connsiteX11" fmla="*/ 242316 w 1216152"/>
              <a:gd name="connsiteY11" fmla="*/ 484632 h 484632"/>
              <a:gd name="connsiteX12" fmla="*/ 0 w 1216152"/>
              <a:gd name="connsiteY12" fmla="*/ 242316 h 484632"/>
              <a:gd name="connsiteX0" fmla="*/ 0 w 1216152"/>
              <a:gd name="connsiteY0" fmla="*/ 242316 h 484632"/>
              <a:gd name="connsiteX1" fmla="*/ 242316 w 1216152"/>
              <a:gd name="connsiteY1" fmla="*/ 0 h 484632"/>
              <a:gd name="connsiteX2" fmla="*/ 242316 w 1216152"/>
              <a:gd name="connsiteY2" fmla="*/ 121158 h 484632"/>
              <a:gd name="connsiteX3" fmla="*/ 606425 w 1216152"/>
              <a:gd name="connsiteY3" fmla="*/ 17363 h 484632"/>
              <a:gd name="connsiteX4" fmla="*/ 973836 w 1216152"/>
              <a:gd name="connsiteY4" fmla="*/ 121158 h 484632"/>
              <a:gd name="connsiteX5" fmla="*/ 973836 w 1216152"/>
              <a:gd name="connsiteY5" fmla="*/ 0 h 484632"/>
              <a:gd name="connsiteX6" fmla="*/ 1216152 w 1216152"/>
              <a:gd name="connsiteY6" fmla="*/ 242316 h 484632"/>
              <a:gd name="connsiteX7" fmla="*/ 973836 w 1216152"/>
              <a:gd name="connsiteY7" fmla="*/ 484632 h 484632"/>
              <a:gd name="connsiteX8" fmla="*/ 973836 w 1216152"/>
              <a:gd name="connsiteY8" fmla="*/ 363474 h 484632"/>
              <a:gd name="connsiteX9" fmla="*/ 600075 w 1216152"/>
              <a:gd name="connsiteY9" fmla="*/ 277713 h 484632"/>
              <a:gd name="connsiteX10" fmla="*/ 242316 w 1216152"/>
              <a:gd name="connsiteY10" fmla="*/ 363474 h 484632"/>
              <a:gd name="connsiteX11" fmla="*/ 242316 w 1216152"/>
              <a:gd name="connsiteY11" fmla="*/ 484632 h 484632"/>
              <a:gd name="connsiteX12" fmla="*/ 0 w 1216152"/>
              <a:gd name="connsiteY12" fmla="*/ 242316 h 484632"/>
              <a:gd name="connsiteX0" fmla="*/ 0 w 1216152"/>
              <a:gd name="connsiteY0" fmla="*/ 242316 h 484632"/>
              <a:gd name="connsiteX1" fmla="*/ 242316 w 1216152"/>
              <a:gd name="connsiteY1" fmla="*/ 0 h 484632"/>
              <a:gd name="connsiteX2" fmla="*/ 242316 w 1216152"/>
              <a:gd name="connsiteY2" fmla="*/ 121158 h 484632"/>
              <a:gd name="connsiteX3" fmla="*/ 606425 w 1216152"/>
              <a:gd name="connsiteY3" fmla="*/ 17363 h 484632"/>
              <a:gd name="connsiteX4" fmla="*/ 973836 w 1216152"/>
              <a:gd name="connsiteY4" fmla="*/ 121158 h 484632"/>
              <a:gd name="connsiteX5" fmla="*/ 973836 w 1216152"/>
              <a:gd name="connsiteY5" fmla="*/ 0 h 484632"/>
              <a:gd name="connsiteX6" fmla="*/ 1216152 w 1216152"/>
              <a:gd name="connsiteY6" fmla="*/ 242316 h 484632"/>
              <a:gd name="connsiteX7" fmla="*/ 973836 w 1216152"/>
              <a:gd name="connsiteY7" fmla="*/ 484632 h 484632"/>
              <a:gd name="connsiteX8" fmla="*/ 973836 w 1216152"/>
              <a:gd name="connsiteY8" fmla="*/ 363474 h 484632"/>
              <a:gd name="connsiteX9" fmla="*/ 596900 w 1216152"/>
              <a:gd name="connsiteY9" fmla="*/ 255488 h 484632"/>
              <a:gd name="connsiteX10" fmla="*/ 242316 w 1216152"/>
              <a:gd name="connsiteY10" fmla="*/ 363474 h 484632"/>
              <a:gd name="connsiteX11" fmla="*/ 242316 w 1216152"/>
              <a:gd name="connsiteY11" fmla="*/ 484632 h 484632"/>
              <a:gd name="connsiteX12" fmla="*/ 0 w 1216152"/>
              <a:gd name="connsiteY12" fmla="*/ 242316 h 484632"/>
              <a:gd name="connsiteX0" fmla="*/ 0 w 1216152"/>
              <a:gd name="connsiteY0" fmla="*/ 242316 h 484632"/>
              <a:gd name="connsiteX1" fmla="*/ 242316 w 1216152"/>
              <a:gd name="connsiteY1" fmla="*/ 0 h 484632"/>
              <a:gd name="connsiteX2" fmla="*/ 242316 w 1216152"/>
              <a:gd name="connsiteY2" fmla="*/ 121158 h 484632"/>
              <a:gd name="connsiteX3" fmla="*/ 596900 w 1216152"/>
              <a:gd name="connsiteY3" fmla="*/ 1488 h 484632"/>
              <a:gd name="connsiteX4" fmla="*/ 973836 w 1216152"/>
              <a:gd name="connsiteY4" fmla="*/ 121158 h 484632"/>
              <a:gd name="connsiteX5" fmla="*/ 973836 w 1216152"/>
              <a:gd name="connsiteY5" fmla="*/ 0 h 484632"/>
              <a:gd name="connsiteX6" fmla="*/ 1216152 w 1216152"/>
              <a:gd name="connsiteY6" fmla="*/ 242316 h 484632"/>
              <a:gd name="connsiteX7" fmla="*/ 973836 w 1216152"/>
              <a:gd name="connsiteY7" fmla="*/ 484632 h 484632"/>
              <a:gd name="connsiteX8" fmla="*/ 973836 w 1216152"/>
              <a:gd name="connsiteY8" fmla="*/ 363474 h 484632"/>
              <a:gd name="connsiteX9" fmla="*/ 596900 w 1216152"/>
              <a:gd name="connsiteY9" fmla="*/ 255488 h 484632"/>
              <a:gd name="connsiteX10" fmla="*/ 242316 w 1216152"/>
              <a:gd name="connsiteY10" fmla="*/ 363474 h 484632"/>
              <a:gd name="connsiteX11" fmla="*/ 242316 w 1216152"/>
              <a:gd name="connsiteY11" fmla="*/ 484632 h 484632"/>
              <a:gd name="connsiteX12" fmla="*/ 0 w 1216152"/>
              <a:gd name="connsiteY12" fmla="*/ 242316 h 484632"/>
              <a:gd name="connsiteX0" fmla="*/ 0 w 1216152"/>
              <a:gd name="connsiteY0" fmla="*/ 242316 h 484632"/>
              <a:gd name="connsiteX1" fmla="*/ 242316 w 1216152"/>
              <a:gd name="connsiteY1" fmla="*/ 0 h 484632"/>
              <a:gd name="connsiteX2" fmla="*/ 242316 w 1216152"/>
              <a:gd name="connsiteY2" fmla="*/ 121158 h 484632"/>
              <a:gd name="connsiteX3" fmla="*/ 596900 w 1216152"/>
              <a:gd name="connsiteY3" fmla="*/ 1488 h 484632"/>
              <a:gd name="connsiteX4" fmla="*/ 973836 w 1216152"/>
              <a:gd name="connsiteY4" fmla="*/ 121158 h 484632"/>
              <a:gd name="connsiteX5" fmla="*/ 973836 w 1216152"/>
              <a:gd name="connsiteY5" fmla="*/ 0 h 484632"/>
              <a:gd name="connsiteX6" fmla="*/ 1216152 w 1216152"/>
              <a:gd name="connsiteY6" fmla="*/ 242316 h 484632"/>
              <a:gd name="connsiteX7" fmla="*/ 951611 w 1216152"/>
              <a:gd name="connsiteY7" fmla="*/ 484632 h 484632"/>
              <a:gd name="connsiteX8" fmla="*/ 973836 w 1216152"/>
              <a:gd name="connsiteY8" fmla="*/ 363474 h 484632"/>
              <a:gd name="connsiteX9" fmla="*/ 596900 w 1216152"/>
              <a:gd name="connsiteY9" fmla="*/ 255488 h 484632"/>
              <a:gd name="connsiteX10" fmla="*/ 242316 w 1216152"/>
              <a:gd name="connsiteY10" fmla="*/ 363474 h 484632"/>
              <a:gd name="connsiteX11" fmla="*/ 242316 w 1216152"/>
              <a:gd name="connsiteY11" fmla="*/ 484632 h 484632"/>
              <a:gd name="connsiteX12" fmla="*/ 0 w 1216152"/>
              <a:gd name="connsiteY12" fmla="*/ 242316 h 484632"/>
              <a:gd name="connsiteX0" fmla="*/ 0 w 1190752"/>
              <a:gd name="connsiteY0" fmla="*/ 242316 h 484632"/>
              <a:gd name="connsiteX1" fmla="*/ 242316 w 1190752"/>
              <a:gd name="connsiteY1" fmla="*/ 0 h 484632"/>
              <a:gd name="connsiteX2" fmla="*/ 242316 w 1190752"/>
              <a:gd name="connsiteY2" fmla="*/ 121158 h 484632"/>
              <a:gd name="connsiteX3" fmla="*/ 596900 w 1190752"/>
              <a:gd name="connsiteY3" fmla="*/ 1488 h 484632"/>
              <a:gd name="connsiteX4" fmla="*/ 973836 w 1190752"/>
              <a:gd name="connsiteY4" fmla="*/ 121158 h 484632"/>
              <a:gd name="connsiteX5" fmla="*/ 973836 w 1190752"/>
              <a:gd name="connsiteY5" fmla="*/ 0 h 484632"/>
              <a:gd name="connsiteX6" fmla="*/ 1190752 w 1190752"/>
              <a:gd name="connsiteY6" fmla="*/ 347091 h 484632"/>
              <a:gd name="connsiteX7" fmla="*/ 951611 w 1190752"/>
              <a:gd name="connsiteY7" fmla="*/ 484632 h 484632"/>
              <a:gd name="connsiteX8" fmla="*/ 973836 w 1190752"/>
              <a:gd name="connsiteY8" fmla="*/ 363474 h 484632"/>
              <a:gd name="connsiteX9" fmla="*/ 596900 w 1190752"/>
              <a:gd name="connsiteY9" fmla="*/ 255488 h 484632"/>
              <a:gd name="connsiteX10" fmla="*/ 242316 w 1190752"/>
              <a:gd name="connsiteY10" fmla="*/ 363474 h 484632"/>
              <a:gd name="connsiteX11" fmla="*/ 242316 w 1190752"/>
              <a:gd name="connsiteY11" fmla="*/ 484632 h 484632"/>
              <a:gd name="connsiteX12" fmla="*/ 0 w 1190752"/>
              <a:gd name="connsiteY12" fmla="*/ 242316 h 484632"/>
              <a:gd name="connsiteX0" fmla="*/ 0 w 1190752"/>
              <a:gd name="connsiteY0" fmla="*/ 242316 h 484632"/>
              <a:gd name="connsiteX1" fmla="*/ 242316 w 1190752"/>
              <a:gd name="connsiteY1" fmla="*/ 0 h 484632"/>
              <a:gd name="connsiteX2" fmla="*/ 242316 w 1190752"/>
              <a:gd name="connsiteY2" fmla="*/ 121158 h 484632"/>
              <a:gd name="connsiteX3" fmla="*/ 596900 w 1190752"/>
              <a:gd name="connsiteY3" fmla="*/ 1488 h 484632"/>
              <a:gd name="connsiteX4" fmla="*/ 973836 w 1190752"/>
              <a:gd name="connsiteY4" fmla="*/ 121158 h 484632"/>
              <a:gd name="connsiteX5" fmla="*/ 1119886 w 1190752"/>
              <a:gd name="connsiteY5" fmla="*/ 98425 h 484632"/>
              <a:gd name="connsiteX6" fmla="*/ 1190752 w 1190752"/>
              <a:gd name="connsiteY6" fmla="*/ 347091 h 484632"/>
              <a:gd name="connsiteX7" fmla="*/ 951611 w 1190752"/>
              <a:gd name="connsiteY7" fmla="*/ 484632 h 484632"/>
              <a:gd name="connsiteX8" fmla="*/ 973836 w 1190752"/>
              <a:gd name="connsiteY8" fmla="*/ 363474 h 484632"/>
              <a:gd name="connsiteX9" fmla="*/ 596900 w 1190752"/>
              <a:gd name="connsiteY9" fmla="*/ 255488 h 484632"/>
              <a:gd name="connsiteX10" fmla="*/ 242316 w 1190752"/>
              <a:gd name="connsiteY10" fmla="*/ 363474 h 484632"/>
              <a:gd name="connsiteX11" fmla="*/ 242316 w 1190752"/>
              <a:gd name="connsiteY11" fmla="*/ 484632 h 484632"/>
              <a:gd name="connsiteX12" fmla="*/ 0 w 1190752"/>
              <a:gd name="connsiteY12" fmla="*/ 242316 h 484632"/>
              <a:gd name="connsiteX0" fmla="*/ 0 w 1190752"/>
              <a:gd name="connsiteY0" fmla="*/ 242316 h 484632"/>
              <a:gd name="connsiteX1" fmla="*/ 242316 w 1190752"/>
              <a:gd name="connsiteY1" fmla="*/ 0 h 484632"/>
              <a:gd name="connsiteX2" fmla="*/ 242316 w 1190752"/>
              <a:gd name="connsiteY2" fmla="*/ 121158 h 484632"/>
              <a:gd name="connsiteX3" fmla="*/ 596900 w 1190752"/>
              <a:gd name="connsiteY3" fmla="*/ 1488 h 484632"/>
              <a:gd name="connsiteX4" fmla="*/ 1021461 w 1190752"/>
              <a:gd name="connsiteY4" fmla="*/ 149733 h 484632"/>
              <a:gd name="connsiteX5" fmla="*/ 1119886 w 1190752"/>
              <a:gd name="connsiteY5" fmla="*/ 98425 h 484632"/>
              <a:gd name="connsiteX6" fmla="*/ 1190752 w 1190752"/>
              <a:gd name="connsiteY6" fmla="*/ 347091 h 484632"/>
              <a:gd name="connsiteX7" fmla="*/ 951611 w 1190752"/>
              <a:gd name="connsiteY7" fmla="*/ 484632 h 484632"/>
              <a:gd name="connsiteX8" fmla="*/ 973836 w 1190752"/>
              <a:gd name="connsiteY8" fmla="*/ 363474 h 484632"/>
              <a:gd name="connsiteX9" fmla="*/ 596900 w 1190752"/>
              <a:gd name="connsiteY9" fmla="*/ 255488 h 484632"/>
              <a:gd name="connsiteX10" fmla="*/ 242316 w 1190752"/>
              <a:gd name="connsiteY10" fmla="*/ 363474 h 484632"/>
              <a:gd name="connsiteX11" fmla="*/ 242316 w 1190752"/>
              <a:gd name="connsiteY11" fmla="*/ 484632 h 484632"/>
              <a:gd name="connsiteX12" fmla="*/ 0 w 1190752"/>
              <a:gd name="connsiteY12" fmla="*/ 242316 h 484632"/>
              <a:gd name="connsiteX0" fmla="*/ 0 w 1190752"/>
              <a:gd name="connsiteY0" fmla="*/ 242316 h 484632"/>
              <a:gd name="connsiteX1" fmla="*/ 242316 w 1190752"/>
              <a:gd name="connsiteY1" fmla="*/ 0 h 484632"/>
              <a:gd name="connsiteX2" fmla="*/ 242316 w 1190752"/>
              <a:gd name="connsiteY2" fmla="*/ 121158 h 484632"/>
              <a:gd name="connsiteX3" fmla="*/ 596900 w 1190752"/>
              <a:gd name="connsiteY3" fmla="*/ 1488 h 484632"/>
              <a:gd name="connsiteX4" fmla="*/ 1021461 w 1190752"/>
              <a:gd name="connsiteY4" fmla="*/ 149733 h 484632"/>
              <a:gd name="connsiteX5" fmla="*/ 1084961 w 1190752"/>
              <a:gd name="connsiteY5" fmla="*/ 50800 h 484632"/>
              <a:gd name="connsiteX6" fmla="*/ 1190752 w 1190752"/>
              <a:gd name="connsiteY6" fmla="*/ 347091 h 484632"/>
              <a:gd name="connsiteX7" fmla="*/ 951611 w 1190752"/>
              <a:gd name="connsiteY7" fmla="*/ 484632 h 484632"/>
              <a:gd name="connsiteX8" fmla="*/ 973836 w 1190752"/>
              <a:gd name="connsiteY8" fmla="*/ 363474 h 484632"/>
              <a:gd name="connsiteX9" fmla="*/ 596900 w 1190752"/>
              <a:gd name="connsiteY9" fmla="*/ 255488 h 484632"/>
              <a:gd name="connsiteX10" fmla="*/ 242316 w 1190752"/>
              <a:gd name="connsiteY10" fmla="*/ 363474 h 484632"/>
              <a:gd name="connsiteX11" fmla="*/ 242316 w 1190752"/>
              <a:gd name="connsiteY11" fmla="*/ 484632 h 484632"/>
              <a:gd name="connsiteX12" fmla="*/ 0 w 1190752"/>
              <a:gd name="connsiteY12" fmla="*/ 242316 h 484632"/>
              <a:gd name="connsiteX0" fmla="*/ 0 w 1152652"/>
              <a:gd name="connsiteY0" fmla="*/ 328041 h 484632"/>
              <a:gd name="connsiteX1" fmla="*/ 204216 w 1152652"/>
              <a:gd name="connsiteY1" fmla="*/ 0 h 484632"/>
              <a:gd name="connsiteX2" fmla="*/ 204216 w 1152652"/>
              <a:gd name="connsiteY2" fmla="*/ 121158 h 484632"/>
              <a:gd name="connsiteX3" fmla="*/ 558800 w 1152652"/>
              <a:gd name="connsiteY3" fmla="*/ 1488 h 484632"/>
              <a:gd name="connsiteX4" fmla="*/ 983361 w 1152652"/>
              <a:gd name="connsiteY4" fmla="*/ 149733 h 484632"/>
              <a:gd name="connsiteX5" fmla="*/ 1046861 w 1152652"/>
              <a:gd name="connsiteY5" fmla="*/ 50800 h 484632"/>
              <a:gd name="connsiteX6" fmla="*/ 1152652 w 1152652"/>
              <a:gd name="connsiteY6" fmla="*/ 347091 h 484632"/>
              <a:gd name="connsiteX7" fmla="*/ 913511 w 1152652"/>
              <a:gd name="connsiteY7" fmla="*/ 484632 h 484632"/>
              <a:gd name="connsiteX8" fmla="*/ 935736 w 1152652"/>
              <a:gd name="connsiteY8" fmla="*/ 363474 h 484632"/>
              <a:gd name="connsiteX9" fmla="*/ 558800 w 1152652"/>
              <a:gd name="connsiteY9" fmla="*/ 255488 h 484632"/>
              <a:gd name="connsiteX10" fmla="*/ 204216 w 1152652"/>
              <a:gd name="connsiteY10" fmla="*/ 363474 h 484632"/>
              <a:gd name="connsiteX11" fmla="*/ 204216 w 1152652"/>
              <a:gd name="connsiteY11" fmla="*/ 484632 h 484632"/>
              <a:gd name="connsiteX12" fmla="*/ 0 w 1152652"/>
              <a:gd name="connsiteY12" fmla="*/ 328041 h 484632"/>
              <a:gd name="connsiteX0" fmla="*/ 0 w 1152652"/>
              <a:gd name="connsiteY0" fmla="*/ 326684 h 483275"/>
              <a:gd name="connsiteX1" fmla="*/ 93091 w 1152652"/>
              <a:gd name="connsiteY1" fmla="*/ 62143 h 483275"/>
              <a:gd name="connsiteX2" fmla="*/ 204216 w 1152652"/>
              <a:gd name="connsiteY2" fmla="*/ 119801 h 483275"/>
              <a:gd name="connsiteX3" fmla="*/ 558800 w 1152652"/>
              <a:gd name="connsiteY3" fmla="*/ 131 h 483275"/>
              <a:gd name="connsiteX4" fmla="*/ 983361 w 1152652"/>
              <a:gd name="connsiteY4" fmla="*/ 148376 h 483275"/>
              <a:gd name="connsiteX5" fmla="*/ 1046861 w 1152652"/>
              <a:gd name="connsiteY5" fmla="*/ 49443 h 483275"/>
              <a:gd name="connsiteX6" fmla="*/ 1152652 w 1152652"/>
              <a:gd name="connsiteY6" fmla="*/ 345734 h 483275"/>
              <a:gd name="connsiteX7" fmla="*/ 913511 w 1152652"/>
              <a:gd name="connsiteY7" fmla="*/ 483275 h 483275"/>
              <a:gd name="connsiteX8" fmla="*/ 935736 w 1152652"/>
              <a:gd name="connsiteY8" fmla="*/ 362117 h 483275"/>
              <a:gd name="connsiteX9" fmla="*/ 558800 w 1152652"/>
              <a:gd name="connsiteY9" fmla="*/ 254131 h 483275"/>
              <a:gd name="connsiteX10" fmla="*/ 204216 w 1152652"/>
              <a:gd name="connsiteY10" fmla="*/ 362117 h 483275"/>
              <a:gd name="connsiteX11" fmla="*/ 204216 w 1152652"/>
              <a:gd name="connsiteY11" fmla="*/ 483275 h 483275"/>
              <a:gd name="connsiteX12" fmla="*/ 0 w 1152652"/>
              <a:gd name="connsiteY12" fmla="*/ 326684 h 483275"/>
              <a:gd name="connsiteX0" fmla="*/ 0 w 1152652"/>
              <a:gd name="connsiteY0" fmla="*/ 326575 h 483166"/>
              <a:gd name="connsiteX1" fmla="*/ 93091 w 1152652"/>
              <a:gd name="connsiteY1" fmla="*/ 62034 h 483166"/>
              <a:gd name="connsiteX2" fmla="*/ 162941 w 1152652"/>
              <a:gd name="connsiteY2" fmla="*/ 160967 h 483166"/>
              <a:gd name="connsiteX3" fmla="*/ 558800 w 1152652"/>
              <a:gd name="connsiteY3" fmla="*/ 22 h 483166"/>
              <a:gd name="connsiteX4" fmla="*/ 983361 w 1152652"/>
              <a:gd name="connsiteY4" fmla="*/ 148267 h 483166"/>
              <a:gd name="connsiteX5" fmla="*/ 1046861 w 1152652"/>
              <a:gd name="connsiteY5" fmla="*/ 49334 h 483166"/>
              <a:gd name="connsiteX6" fmla="*/ 1152652 w 1152652"/>
              <a:gd name="connsiteY6" fmla="*/ 345625 h 483166"/>
              <a:gd name="connsiteX7" fmla="*/ 913511 w 1152652"/>
              <a:gd name="connsiteY7" fmla="*/ 483166 h 483166"/>
              <a:gd name="connsiteX8" fmla="*/ 935736 w 1152652"/>
              <a:gd name="connsiteY8" fmla="*/ 362008 h 483166"/>
              <a:gd name="connsiteX9" fmla="*/ 558800 w 1152652"/>
              <a:gd name="connsiteY9" fmla="*/ 254022 h 483166"/>
              <a:gd name="connsiteX10" fmla="*/ 204216 w 1152652"/>
              <a:gd name="connsiteY10" fmla="*/ 362008 h 483166"/>
              <a:gd name="connsiteX11" fmla="*/ 204216 w 1152652"/>
              <a:gd name="connsiteY11" fmla="*/ 483166 h 483166"/>
              <a:gd name="connsiteX12" fmla="*/ 0 w 1152652"/>
              <a:gd name="connsiteY12" fmla="*/ 326575 h 483166"/>
              <a:gd name="connsiteX0" fmla="*/ 0 w 1181227"/>
              <a:gd name="connsiteY0" fmla="*/ 361500 h 483166"/>
              <a:gd name="connsiteX1" fmla="*/ 121666 w 1181227"/>
              <a:gd name="connsiteY1" fmla="*/ 62034 h 483166"/>
              <a:gd name="connsiteX2" fmla="*/ 191516 w 1181227"/>
              <a:gd name="connsiteY2" fmla="*/ 160967 h 483166"/>
              <a:gd name="connsiteX3" fmla="*/ 587375 w 1181227"/>
              <a:gd name="connsiteY3" fmla="*/ 22 h 483166"/>
              <a:gd name="connsiteX4" fmla="*/ 1011936 w 1181227"/>
              <a:gd name="connsiteY4" fmla="*/ 148267 h 483166"/>
              <a:gd name="connsiteX5" fmla="*/ 1075436 w 1181227"/>
              <a:gd name="connsiteY5" fmla="*/ 49334 h 483166"/>
              <a:gd name="connsiteX6" fmla="*/ 1181227 w 1181227"/>
              <a:gd name="connsiteY6" fmla="*/ 345625 h 483166"/>
              <a:gd name="connsiteX7" fmla="*/ 942086 w 1181227"/>
              <a:gd name="connsiteY7" fmla="*/ 483166 h 483166"/>
              <a:gd name="connsiteX8" fmla="*/ 964311 w 1181227"/>
              <a:gd name="connsiteY8" fmla="*/ 362008 h 483166"/>
              <a:gd name="connsiteX9" fmla="*/ 587375 w 1181227"/>
              <a:gd name="connsiteY9" fmla="*/ 254022 h 483166"/>
              <a:gd name="connsiteX10" fmla="*/ 232791 w 1181227"/>
              <a:gd name="connsiteY10" fmla="*/ 362008 h 483166"/>
              <a:gd name="connsiteX11" fmla="*/ 232791 w 1181227"/>
              <a:gd name="connsiteY11" fmla="*/ 483166 h 483166"/>
              <a:gd name="connsiteX12" fmla="*/ 0 w 1181227"/>
              <a:gd name="connsiteY12" fmla="*/ 361500 h 483166"/>
              <a:gd name="connsiteX0" fmla="*/ 0 w 1181227"/>
              <a:gd name="connsiteY0" fmla="*/ 361500 h 483166"/>
              <a:gd name="connsiteX1" fmla="*/ 121666 w 1181227"/>
              <a:gd name="connsiteY1" fmla="*/ 62034 h 483166"/>
              <a:gd name="connsiteX2" fmla="*/ 191516 w 1181227"/>
              <a:gd name="connsiteY2" fmla="*/ 160967 h 483166"/>
              <a:gd name="connsiteX3" fmla="*/ 587375 w 1181227"/>
              <a:gd name="connsiteY3" fmla="*/ 22 h 483166"/>
              <a:gd name="connsiteX4" fmla="*/ 1011936 w 1181227"/>
              <a:gd name="connsiteY4" fmla="*/ 148267 h 483166"/>
              <a:gd name="connsiteX5" fmla="*/ 1075436 w 1181227"/>
              <a:gd name="connsiteY5" fmla="*/ 49334 h 483166"/>
              <a:gd name="connsiteX6" fmla="*/ 1181227 w 1181227"/>
              <a:gd name="connsiteY6" fmla="*/ 345625 h 483166"/>
              <a:gd name="connsiteX7" fmla="*/ 942086 w 1181227"/>
              <a:gd name="connsiteY7" fmla="*/ 483166 h 483166"/>
              <a:gd name="connsiteX8" fmla="*/ 964311 w 1181227"/>
              <a:gd name="connsiteY8" fmla="*/ 362008 h 483166"/>
              <a:gd name="connsiteX9" fmla="*/ 587375 w 1181227"/>
              <a:gd name="connsiteY9" fmla="*/ 254022 h 483166"/>
              <a:gd name="connsiteX10" fmla="*/ 232791 w 1181227"/>
              <a:gd name="connsiteY10" fmla="*/ 362008 h 483166"/>
              <a:gd name="connsiteX11" fmla="*/ 296291 w 1181227"/>
              <a:gd name="connsiteY11" fmla="*/ 476816 h 483166"/>
              <a:gd name="connsiteX12" fmla="*/ 0 w 1181227"/>
              <a:gd name="connsiteY12" fmla="*/ 361500 h 483166"/>
              <a:gd name="connsiteX0" fmla="*/ 0 w 1181227"/>
              <a:gd name="connsiteY0" fmla="*/ 361500 h 483166"/>
              <a:gd name="connsiteX1" fmla="*/ 121666 w 1181227"/>
              <a:gd name="connsiteY1" fmla="*/ 62034 h 483166"/>
              <a:gd name="connsiteX2" fmla="*/ 191516 w 1181227"/>
              <a:gd name="connsiteY2" fmla="*/ 160967 h 483166"/>
              <a:gd name="connsiteX3" fmla="*/ 587375 w 1181227"/>
              <a:gd name="connsiteY3" fmla="*/ 22 h 483166"/>
              <a:gd name="connsiteX4" fmla="*/ 1011936 w 1181227"/>
              <a:gd name="connsiteY4" fmla="*/ 148267 h 483166"/>
              <a:gd name="connsiteX5" fmla="*/ 1075436 w 1181227"/>
              <a:gd name="connsiteY5" fmla="*/ 49334 h 483166"/>
              <a:gd name="connsiteX6" fmla="*/ 1181227 w 1181227"/>
              <a:gd name="connsiteY6" fmla="*/ 345625 h 483166"/>
              <a:gd name="connsiteX7" fmla="*/ 942086 w 1181227"/>
              <a:gd name="connsiteY7" fmla="*/ 483166 h 483166"/>
              <a:gd name="connsiteX8" fmla="*/ 964311 w 1181227"/>
              <a:gd name="connsiteY8" fmla="*/ 362008 h 483166"/>
              <a:gd name="connsiteX9" fmla="*/ 587375 w 1181227"/>
              <a:gd name="connsiteY9" fmla="*/ 254022 h 483166"/>
              <a:gd name="connsiteX10" fmla="*/ 232791 w 1181227"/>
              <a:gd name="connsiteY10" fmla="*/ 362008 h 483166"/>
              <a:gd name="connsiteX11" fmla="*/ 283591 w 1181227"/>
              <a:gd name="connsiteY11" fmla="*/ 470466 h 483166"/>
              <a:gd name="connsiteX12" fmla="*/ 0 w 1181227"/>
              <a:gd name="connsiteY12" fmla="*/ 361500 h 483166"/>
              <a:gd name="connsiteX0" fmla="*/ 0 w 1181227"/>
              <a:gd name="connsiteY0" fmla="*/ 361500 h 483166"/>
              <a:gd name="connsiteX1" fmla="*/ 121666 w 1181227"/>
              <a:gd name="connsiteY1" fmla="*/ 62034 h 483166"/>
              <a:gd name="connsiteX2" fmla="*/ 191516 w 1181227"/>
              <a:gd name="connsiteY2" fmla="*/ 160967 h 483166"/>
              <a:gd name="connsiteX3" fmla="*/ 587375 w 1181227"/>
              <a:gd name="connsiteY3" fmla="*/ 22 h 483166"/>
              <a:gd name="connsiteX4" fmla="*/ 1011936 w 1181227"/>
              <a:gd name="connsiteY4" fmla="*/ 148267 h 483166"/>
              <a:gd name="connsiteX5" fmla="*/ 1075436 w 1181227"/>
              <a:gd name="connsiteY5" fmla="*/ 49334 h 483166"/>
              <a:gd name="connsiteX6" fmla="*/ 1181227 w 1181227"/>
              <a:gd name="connsiteY6" fmla="*/ 345625 h 483166"/>
              <a:gd name="connsiteX7" fmla="*/ 942086 w 1181227"/>
              <a:gd name="connsiteY7" fmla="*/ 483166 h 483166"/>
              <a:gd name="connsiteX8" fmla="*/ 964311 w 1181227"/>
              <a:gd name="connsiteY8" fmla="*/ 362008 h 483166"/>
              <a:gd name="connsiteX9" fmla="*/ 587375 w 1181227"/>
              <a:gd name="connsiteY9" fmla="*/ 254022 h 483166"/>
              <a:gd name="connsiteX10" fmla="*/ 232791 w 1181227"/>
              <a:gd name="connsiteY10" fmla="*/ 339783 h 483166"/>
              <a:gd name="connsiteX11" fmla="*/ 283591 w 1181227"/>
              <a:gd name="connsiteY11" fmla="*/ 470466 h 483166"/>
              <a:gd name="connsiteX12" fmla="*/ 0 w 1181227"/>
              <a:gd name="connsiteY12" fmla="*/ 361500 h 483166"/>
              <a:gd name="connsiteX0" fmla="*/ 0 w 1181227"/>
              <a:gd name="connsiteY0" fmla="*/ 361500 h 483166"/>
              <a:gd name="connsiteX1" fmla="*/ 121666 w 1181227"/>
              <a:gd name="connsiteY1" fmla="*/ 62034 h 483166"/>
              <a:gd name="connsiteX2" fmla="*/ 191516 w 1181227"/>
              <a:gd name="connsiteY2" fmla="*/ 160967 h 483166"/>
              <a:gd name="connsiteX3" fmla="*/ 587375 w 1181227"/>
              <a:gd name="connsiteY3" fmla="*/ 22 h 483166"/>
              <a:gd name="connsiteX4" fmla="*/ 1011936 w 1181227"/>
              <a:gd name="connsiteY4" fmla="*/ 148267 h 483166"/>
              <a:gd name="connsiteX5" fmla="*/ 1075436 w 1181227"/>
              <a:gd name="connsiteY5" fmla="*/ 49334 h 483166"/>
              <a:gd name="connsiteX6" fmla="*/ 1181227 w 1181227"/>
              <a:gd name="connsiteY6" fmla="*/ 345625 h 483166"/>
              <a:gd name="connsiteX7" fmla="*/ 942086 w 1181227"/>
              <a:gd name="connsiteY7" fmla="*/ 483166 h 483166"/>
              <a:gd name="connsiteX8" fmla="*/ 964311 w 1181227"/>
              <a:gd name="connsiteY8" fmla="*/ 362008 h 483166"/>
              <a:gd name="connsiteX9" fmla="*/ 587375 w 1181227"/>
              <a:gd name="connsiteY9" fmla="*/ 254022 h 483166"/>
              <a:gd name="connsiteX10" fmla="*/ 255016 w 1181227"/>
              <a:gd name="connsiteY10" fmla="*/ 339783 h 483166"/>
              <a:gd name="connsiteX11" fmla="*/ 283591 w 1181227"/>
              <a:gd name="connsiteY11" fmla="*/ 470466 h 483166"/>
              <a:gd name="connsiteX12" fmla="*/ 0 w 1181227"/>
              <a:gd name="connsiteY12" fmla="*/ 361500 h 483166"/>
              <a:gd name="connsiteX0" fmla="*/ 0 w 1181227"/>
              <a:gd name="connsiteY0" fmla="*/ 361500 h 483166"/>
              <a:gd name="connsiteX1" fmla="*/ 121666 w 1181227"/>
              <a:gd name="connsiteY1" fmla="*/ 62034 h 483166"/>
              <a:gd name="connsiteX2" fmla="*/ 191516 w 1181227"/>
              <a:gd name="connsiteY2" fmla="*/ 160967 h 483166"/>
              <a:gd name="connsiteX3" fmla="*/ 587375 w 1181227"/>
              <a:gd name="connsiteY3" fmla="*/ 22 h 483166"/>
              <a:gd name="connsiteX4" fmla="*/ 1011936 w 1181227"/>
              <a:gd name="connsiteY4" fmla="*/ 148267 h 483166"/>
              <a:gd name="connsiteX5" fmla="*/ 1075436 w 1181227"/>
              <a:gd name="connsiteY5" fmla="*/ 49334 h 483166"/>
              <a:gd name="connsiteX6" fmla="*/ 1181227 w 1181227"/>
              <a:gd name="connsiteY6" fmla="*/ 345625 h 483166"/>
              <a:gd name="connsiteX7" fmla="*/ 942086 w 1181227"/>
              <a:gd name="connsiteY7" fmla="*/ 483166 h 483166"/>
              <a:gd name="connsiteX8" fmla="*/ 964311 w 1181227"/>
              <a:gd name="connsiteY8" fmla="*/ 362008 h 483166"/>
              <a:gd name="connsiteX9" fmla="*/ 587375 w 1181227"/>
              <a:gd name="connsiteY9" fmla="*/ 254022 h 483166"/>
              <a:gd name="connsiteX10" fmla="*/ 251841 w 1181227"/>
              <a:gd name="connsiteY10" fmla="*/ 358833 h 483166"/>
              <a:gd name="connsiteX11" fmla="*/ 283591 w 1181227"/>
              <a:gd name="connsiteY11" fmla="*/ 470466 h 483166"/>
              <a:gd name="connsiteX12" fmla="*/ 0 w 1181227"/>
              <a:gd name="connsiteY12" fmla="*/ 361500 h 483166"/>
              <a:gd name="connsiteX0" fmla="*/ 0 w 1181227"/>
              <a:gd name="connsiteY0" fmla="*/ 361500 h 486341"/>
              <a:gd name="connsiteX1" fmla="*/ 121666 w 1181227"/>
              <a:gd name="connsiteY1" fmla="*/ 62034 h 486341"/>
              <a:gd name="connsiteX2" fmla="*/ 191516 w 1181227"/>
              <a:gd name="connsiteY2" fmla="*/ 160967 h 486341"/>
              <a:gd name="connsiteX3" fmla="*/ 587375 w 1181227"/>
              <a:gd name="connsiteY3" fmla="*/ 22 h 486341"/>
              <a:gd name="connsiteX4" fmla="*/ 1011936 w 1181227"/>
              <a:gd name="connsiteY4" fmla="*/ 148267 h 486341"/>
              <a:gd name="connsiteX5" fmla="*/ 1075436 w 1181227"/>
              <a:gd name="connsiteY5" fmla="*/ 49334 h 486341"/>
              <a:gd name="connsiteX6" fmla="*/ 1181227 w 1181227"/>
              <a:gd name="connsiteY6" fmla="*/ 345625 h 486341"/>
              <a:gd name="connsiteX7" fmla="*/ 942086 w 1181227"/>
              <a:gd name="connsiteY7" fmla="*/ 483166 h 486341"/>
              <a:gd name="connsiteX8" fmla="*/ 964311 w 1181227"/>
              <a:gd name="connsiteY8" fmla="*/ 362008 h 486341"/>
              <a:gd name="connsiteX9" fmla="*/ 587375 w 1181227"/>
              <a:gd name="connsiteY9" fmla="*/ 254022 h 486341"/>
              <a:gd name="connsiteX10" fmla="*/ 251841 w 1181227"/>
              <a:gd name="connsiteY10" fmla="*/ 358833 h 486341"/>
              <a:gd name="connsiteX11" fmla="*/ 283591 w 1181227"/>
              <a:gd name="connsiteY11" fmla="*/ 486341 h 486341"/>
              <a:gd name="connsiteX12" fmla="*/ 0 w 1181227"/>
              <a:gd name="connsiteY12" fmla="*/ 361500 h 486341"/>
              <a:gd name="connsiteX0" fmla="*/ 0 w 1181227"/>
              <a:gd name="connsiteY0" fmla="*/ 361500 h 486341"/>
              <a:gd name="connsiteX1" fmla="*/ 121666 w 1181227"/>
              <a:gd name="connsiteY1" fmla="*/ 62034 h 486341"/>
              <a:gd name="connsiteX2" fmla="*/ 191516 w 1181227"/>
              <a:gd name="connsiteY2" fmla="*/ 160967 h 486341"/>
              <a:gd name="connsiteX3" fmla="*/ 587375 w 1181227"/>
              <a:gd name="connsiteY3" fmla="*/ 22 h 486341"/>
              <a:gd name="connsiteX4" fmla="*/ 1011936 w 1181227"/>
              <a:gd name="connsiteY4" fmla="*/ 148267 h 486341"/>
              <a:gd name="connsiteX5" fmla="*/ 1075436 w 1181227"/>
              <a:gd name="connsiteY5" fmla="*/ 49334 h 486341"/>
              <a:gd name="connsiteX6" fmla="*/ 1181227 w 1181227"/>
              <a:gd name="connsiteY6" fmla="*/ 345625 h 486341"/>
              <a:gd name="connsiteX7" fmla="*/ 942086 w 1181227"/>
              <a:gd name="connsiteY7" fmla="*/ 483166 h 486341"/>
              <a:gd name="connsiteX8" fmla="*/ 964311 w 1181227"/>
              <a:gd name="connsiteY8" fmla="*/ 362008 h 486341"/>
              <a:gd name="connsiteX9" fmla="*/ 587375 w 1181227"/>
              <a:gd name="connsiteY9" fmla="*/ 254022 h 486341"/>
              <a:gd name="connsiteX10" fmla="*/ 242316 w 1181227"/>
              <a:gd name="connsiteY10" fmla="*/ 346133 h 486341"/>
              <a:gd name="connsiteX11" fmla="*/ 283591 w 1181227"/>
              <a:gd name="connsiteY11" fmla="*/ 486341 h 486341"/>
              <a:gd name="connsiteX12" fmla="*/ 0 w 1181227"/>
              <a:gd name="connsiteY12" fmla="*/ 361500 h 486341"/>
              <a:gd name="connsiteX0" fmla="*/ 0 w 1181227"/>
              <a:gd name="connsiteY0" fmla="*/ 361500 h 486341"/>
              <a:gd name="connsiteX1" fmla="*/ 121666 w 1181227"/>
              <a:gd name="connsiteY1" fmla="*/ 62034 h 486341"/>
              <a:gd name="connsiteX2" fmla="*/ 191516 w 1181227"/>
              <a:gd name="connsiteY2" fmla="*/ 160967 h 486341"/>
              <a:gd name="connsiteX3" fmla="*/ 587375 w 1181227"/>
              <a:gd name="connsiteY3" fmla="*/ 22 h 486341"/>
              <a:gd name="connsiteX4" fmla="*/ 1011936 w 1181227"/>
              <a:gd name="connsiteY4" fmla="*/ 148267 h 486341"/>
              <a:gd name="connsiteX5" fmla="*/ 1075436 w 1181227"/>
              <a:gd name="connsiteY5" fmla="*/ 49334 h 486341"/>
              <a:gd name="connsiteX6" fmla="*/ 1181227 w 1181227"/>
              <a:gd name="connsiteY6" fmla="*/ 345625 h 486341"/>
              <a:gd name="connsiteX7" fmla="*/ 942086 w 1181227"/>
              <a:gd name="connsiteY7" fmla="*/ 483166 h 486341"/>
              <a:gd name="connsiteX8" fmla="*/ 964311 w 1181227"/>
              <a:gd name="connsiteY8" fmla="*/ 362008 h 486341"/>
              <a:gd name="connsiteX9" fmla="*/ 587375 w 1181227"/>
              <a:gd name="connsiteY9" fmla="*/ 254022 h 486341"/>
              <a:gd name="connsiteX10" fmla="*/ 242316 w 1181227"/>
              <a:gd name="connsiteY10" fmla="*/ 346133 h 486341"/>
              <a:gd name="connsiteX11" fmla="*/ 225426 w 1181227"/>
              <a:gd name="connsiteY11" fmla="*/ 358796 h 486341"/>
              <a:gd name="connsiteX12" fmla="*/ 283591 w 1181227"/>
              <a:gd name="connsiteY12" fmla="*/ 486341 h 486341"/>
              <a:gd name="connsiteX13" fmla="*/ 0 w 1181227"/>
              <a:gd name="connsiteY13" fmla="*/ 361500 h 486341"/>
              <a:gd name="connsiteX0" fmla="*/ 0 w 1181227"/>
              <a:gd name="connsiteY0" fmla="*/ 361500 h 486341"/>
              <a:gd name="connsiteX1" fmla="*/ 86741 w 1181227"/>
              <a:gd name="connsiteY1" fmla="*/ 62034 h 486341"/>
              <a:gd name="connsiteX2" fmla="*/ 191516 w 1181227"/>
              <a:gd name="connsiteY2" fmla="*/ 160967 h 486341"/>
              <a:gd name="connsiteX3" fmla="*/ 587375 w 1181227"/>
              <a:gd name="connsiteY3" fmla="*/ 22 h 486341"/>
              <a:gd name="connsiteX4" fmla="*/ 1011936 w 1181227"/>
              <a:gd name="connsiteY4" fmla="*/ 148267 h 486341"/>
              <a:gd name="connsiteX5" fmla="*/ 1075436 w 1181227"/>
              <a:gd name="connsiteY5" fmla="*/ 49334 h 486341"/>
              <a:gd name="connsiteX6" fmla="*/ 1181227 w 1181227"/>
              <a:gd name="connsiteY6" fmla="*/ 345625 h 486341"/>
              <a:gd name="connsiteX7" fmla="*/ 942086 w 1181227"/>
              <a:gd name="connsiteY7" fmla="*/ 483166 h 486341"/>
              <a:gd name="connsiteX8" fmla="*/ 964311 w 1181227"/>
              <a:gd name="connsiteY8" fmla="*/ 362008 h 486341"/>
              <a:gd name="connsiteX9" fmla="*/ 587375 w 1181227"/>
              <a:gd name="connsiteY9" fmla="*/ 254022 h 486341"/>
              <a:gd name="connsiteX10" fmla="*/ 242316 w 1181227"/>
              <a:gd name="connsiteY10" fmla="*/ 346133 h 486341"/>
              <a:gd name="connsiteX11" fmla="*/ 225426 w 1181227"/>
              <a:gd name="connsiteY11" fmla="*/ 358796 h 486341"/>
              <a:gd name="connsiteX12" fmla="*/ 283591 w 1181227"/>
              <a:gd name="connsiteY12" fmla="*/ 486341 h 486341"/>
              <a:gd name="connsiteX13" fmla="*/ 0 w 1181227"/>
              <a:gd name="connsiteY13" fmla="*/ 361500 h 486341"/>
              <a:gd name="connsiteX0" fmla="*/ 0 w 1181227"/>
              <a:gd name="connsiteY0" fmla="*/ 361500 h 486341"/>
              <a:gd name="connsiteX1" fmla="*/ 108966 w 1181227"/>
              <a:gd name="connsiteY1" fmla="*/ 52509 h 486341"/>
              <a:gd name="connsiteX2" fmla="*/ 191516 w 1181227"/>
              <a:gd name="connsiteY2" fmla="*/ 160967 h 486341"/>
              <a:gd name="connsiteX3" fmla="*/ 587375 w 1181227"/>
              <a:gd name="connsiteY3" fmla="*/ 22 h 486341"/>
              <a:gd name="connsiteX4" fmla="*/ 1011936 w 1181227"/>
              <a:gd name="connsiteY4" fmla="*/ 148267 h 486341"/>
              <a:gd name="connsiteX5" fmla="*/ 1075436 w 1181227"/>
              <a:gd name="connsiteY5" fmla="*/ 49334 h 486341"/>
              <a:gd name="connsiteX6" fmla="*/ 1181227 w 1181227"/>
              <a:gd name="connsiteY6" fmla="*/ 345625 h 486341"/>
              <a:gd name="connsiteX7" fmla="*/ 942086 w 1181227"/>
              <a:gd name="connsiteY7" fmla="*/ 483166 h 486341"/>
              <a:gd name="connsiteX8" fmla="*/ 964311 w 1181227"/>
              <a:gd name="connsiteY8" fmla="*/ 362008 h 486341"/>
              <a:gd name="connsiteX9" fmla="*/ 587375 w 1181227"/>
              <a:gd name="connsiteY9" fmla="*/ 254022 h 486341"/>
              <a:gd name="connsiteX10" fmla="*/ 242316 w 1181227"/>
              <a:gd name="connsiteY10" fmla="*/ 346133 h 486341"/>
              <a:gd name="connsiteX11" fmla="*/ 225426 w 1181227"/>
              <a:gd name="connsiteY11" fmla="*/ 358796 h 486341"/>
              <a:gd name="connsiteX12" fmla="*/ 283591 w 1181227"/>
              <a:gd name="connsiteY12" fmla="*/ 486341 h 486341"/>
              <a:gd name="connsiteX13" fmla="*/ 0 w 1181227"/>
              <a:gd name="connsiteY13" fmla="*/ 361500 h 486341"/>
              <a:gd name="connsiteX0" fmla="*/ 0 w 1181227"/>
              <a:gd name="connsiteY0" fmla="*/ 361511 h 486352"/>
              <a:gd name="connsiteX1" fmla="*/ 108966 w 1181227"/>
              <a:gd name="connsiteY1" fmla="*/ 52520 h 486352"/>
              <a:gd name="connsiteX2" fmla="*/ 162941 w 1181227"/>
              <a:gd name="connsiteY2" fmla="*/ 164153 h 486352"/>
              <a:gd name="connsiteX3" fmla="*/ 587375 w 1181227"/>
              <a:gd name="connsiteY3" fmla="*/ 33 h 486352"/>
              <a:gd name="connsiteX4" fmla="*/ 1011936 w 1181227"/>
              <a:gd name="connsiteY4" fmla="*/ 148278 h 486352"/>
              <a:gd name="connsiteX5" fmla="*/ 1075436 w 1181227"/>
              <a:gd name="connsiteY5" fmla="*/ 49345 h 486352"/>
              <a:gd name="connsiteX6" fmla="*/ 1181227 w 1181227"/>
              <a:gd name="connsiteY6" fmla="*/ 345636 h 486352"/>
              <a:gd name="connsiteX7" fmla="*/ 942086 w 1181227"/>
              <a:gd name="connsiteY7" fmla="*/ 483177 h 486352"/>
              <a:gd name="connsiteX8" fmla="*/ 964311 w 1181227"/>
              <a:gd name="connsiteY8" fmla="*/ 362019 h 486352"/>
              <a:gd name="connsiteX9" fmla="*/ 587375 w 1181227"/>
              <a:gd name="connsiteY9" fmla="*/ 254033 h 486352"/>
              <a:gd name="connsiteX10" fmla="*/ 242316 w 1181227"/>
              <a:gd name="connsiteY10" fmla="*/ 346144 h 486352"/>
              <a:gd name="connsiteX11" fmla="*/ 225426 w 1181227"/>
              <a:gd name="connsiteY11" fmla="*/ 358807 h 486352"/>
              <a:gd name="connsiteX12" fmla="*/ 283591 w 1181227"/>
              <a:gd name="connsiteY12" fmla="*/ 486352 h 486352"/>
              <a:gd name="connsiteX13" fmla="*/ 0 w 1181227"/>
              <a:gd name="connsiteY13" fmla="*/ 361511 h 486352"/>
              <a:gd name="connsiteX0" fmla="*/ 0 w 1181227"/>
              <a:gd name="connsiteY0" fmla="*/ 361511 h 486352"/>
              <a:gd name="connsiteX1" fmla="*/ 108966 w 1181227"/>
              <a:gd name="connsiteY1" fmla="*/ 52520 h 486352"/>
              <a:gd name="connsiteX2" fmla="*/ 162941 w 1181227"/>
              <a:gd name="connsiteY2" fmla="*/ 164153 h 486352"/>
              <a:gd name="connsiteX3" fmla="*/ 587375 w 1181227"/>
              <a:gd name="connsiteY3" fmla="*/ 33 h 486352"/>
              <a:gd name="connsiteX4" fmla="*/ 1011936 w 1181227"/>
              <a:gd name="connsiteY4" fmla="*/ 148278 h 486352"/>
              <a:gd name="connsiteX5" fmla="*/ 1075436 w 1181227"/>
              <a:gd name="connsiteY5" fmla="*/ 49345 h 486352"/>
              <a:gd name="connsiteX6" fmla="*/ 1181227 w 1181227"/>
              <a:gd name="connsiteY6" fmla="*/ 345636 h 486352"/>
              <a:gd name="connsiteX7" fmla="*/ 942086 w 1181227"/>
              <a:gd name="connsiteY7" fmla="*/ 483177 h 486352"/>
              <a:gd name="connsiteX8" fmla="*/ 964311 w 1181227"/>
              <a:gd name="connsiteY8" fmla="*/ 362019 h 486352"/>
              <a:gd name="connsiteX9" fmla="*/ 587375 w 1181227"/>
              <a:gd name="connsiteY9" fmla="*/ 254033 h 486352"/>
              <a:gd name="connsiteX10" fmla="*/ 270891 w 1181227"/>
              <a:gd name="connsiteY10" fmla="*/ 349319 h 486352"/>
              <a:gd name="connsiteX11" fmla="*/ 225426 w 1181227"/>
              <a:gd name="connsiteY11" fmla="*/ 358807 h 486352"/>
              <a:gd name="connsiteX12" fmla="*/ 283591 w 1181227"/>
              <a:gd name="connsiteY12" fmla="*/ 486352 h 486352"/>
              <a:gd name="connsiteX13" fmla="*/ 0 w 1181227"/>
              <a:gd name="connsiteY13" fmla="*/ 361511 h 486352"/>
              <a:gd name="connsiteX0" fmla="*/ 0 w 1181227"/>
              <a:gd name="connsiteY0" fmla="*/ 361511 h 486352"/>
              <a:gd name="connsiteX1" fmla="*/ 108966 w 1181227"/>
              <a:gd name="connsiteY1" fmla="*/ 52520 h 486352"/>
              <a:gd name="connsiteX2" fmla="*/ 162941 w 1181227"/>
              <a:gd name="connsiteY2" fmla="*/ 164153 h 486352"/>
              <a:gd name="connsiteX3" fmla="*/ 587375 w 1181227"/>
              <a:gd name="connsiteY3" fmla="*/ 33 h 486352"/>
              <a:gd name="connsiteX4" fmla="*/ 1011936 w 1181227"/>
              <a:gd name="connsiteY4" fmla="*/ 148278 h 486352"/>
              <a:gd name="connsiteX5" fmla="*/ 1075436 w 1181227"/>
              <a:gd name="connsiteY5" fmla="*/ 49345 h 486352"/>
              <a:gd name="connsiteX6" fmla="*/ 1181227 w 1181227"/>
              <a:gd name="connsiteY6" fmla="*/ 345636 h 486352"/>
              <a:gd name="connsiteX7" fmla="*/ 942086 w 1181227"/>
              <a:gd name="connsiteY7" fmla="*/ 483177 h 486352"/>
              <a:gd name="connsiteX8" fmla="*/ 964311 w 1181227"/>
              <a:gd name="connsiteY8" fmla="*/ 362019 h 486352"/>
              <a:gd name="connsiteX9" fmla="*/ 587375 w 1181227"/>
              <a:gd name="connsiteY9" fmla="*/ 254033 h 486352"/>
              <a:gd name="connsiteX10" fmla="*/ 225426 w 1181227"/>
              <a:gd name="connsiteY10" fmla="*/ 358807 h 486352"/>
              <a:gd name="connsiteX11" fmla="*/ 283591 w 1181227"/>
              <a:gd name="connsiteY11" fmla="*/ 486352 h 486352"/>
              <a:gd name="connsiteX12" fmla="*/ 0 w 1181227"/>
              <a:gd name="connsiteY12" fmla="*/ 361511 h 486352"/>
              <a:gd name="connsiteX0" fmla="*/ 0 w 1181227"/>
              <a:gd name="connsiteY0" fmla="*/ 361511 h 486352"/>
              <a:gd name="connsiteX1" fmla="*/ 108966 w 1181227"/>
              <a:gd name="connsiteY1" fmla="*/ 52520 h 486352"/>
              <a:gd name="connsiteX2" fmla="*/ 162941 w 1181227"/>
              <a:gd name="connsiteY2" fmla="*/ 164153 h 486352"/>
              <a:gd name="connsiteX3" fmla="*/ 587375 w 1181227"/>
              <a:gd name="connsiteY3" fmla="*/ 33 h 486352"/>
              <a:gd name="connsiteX4" fmla="*/ 1011936 w 1181227"/>
              <a:gd name="connsiteY4" fmla="*/ 148278 h 486352"/>
              <a:gd name="connsiteX5" fmla="*/ 1075436 w 1181227"/>
              <a:gd name="connsiteY5" fmla="*/ 49345 h 486352"/>
              <a:gd name="connsiteX6" fmla="*/ 1181227 w 1181227"/>
              <a:gd name="connsiteY6" fmla="*/ 345636 h 486352"/>
              <a:gd name="connsiteX7" fmla="*/ 942086 w 1181227"/>
              <a:gd name="connsiteY7" fmla="*/ 483177 h 486352"/>
              <a:gd name="connsiteX8" fmla="*/ 964311 w 1181227"/>
              <a:gd name="connsiteY8" fmla="*/ 362019 h 486352"/>
              <a:gd name="connsiteX9" fmla="*/ 587375 w 1181227"/>
              <a:gd name="connsiteY9" fmla="*/ 254033 h 486352"/>
              <a:gd name="connsiteX10" fmla="*/ 244476 w 1181227"/>
              <a:gd name="connsiteY10" fmla="*/ 368332 h 486352"/>
              <a:gd name="connsiteX11" fmla="*/ 283591 w 1181227"/>
              <a:gd name="connsiteY11" fmla="*/ 486352 h 486352"/>
              <a:gd name="connsiteX12" fmla="*/ 0 w 1181227"/>
              <a:gd name="connsiteY12" fmla="*/ 361511 h 486352"/>
              <a:gd name="connsiteX0" fmla="*/ 0 w 1181227"/>
              <a:gd name="connsiteY0" fmla="*/ 361511 h 486352"/>
              <a:gd name="connsiteX1" fmla="*/ 108966 w 1181227"/>
              <a:gd name="connsiteY1" fmla="*/ 52520 h 486352"/>
              <a:gd name="connsiteX2" fmla="*/ 162941 w 1181227"/>
              <a:gd name="connsiteY2" fmla="*/ 164153 h 486352"/>
              <a:gd name="connsiteX3" fmla="*/ 587375 w 1181227"/>
              <a:gd name="connsiteY3" fmla="*/ 33 h 486352"/>
              <a:gd name="connsiteX4" fmla="*/ 1011936 w 1181227"/>
              <a:gd name="connsiteY4" fmla="*/ 148278 h 486352"/>
              <a:gd name="connsiteX5" fmla="*/ 1075436 w 1181227"/>
              <a:gd name="connsiteY5" fmla="*/ 49345 h 486352"/>
              <a:gd name="connsiteX6" fmla="*/ 1181227 w 1181227"/>
              <a:gd name="connsiteY6" fmla="*/ 345636 h 486352"/>
              <a:gd name="connsiteX7" fmla="*/ 942086 w 1181227"/>
              <a:gd name="connsiteY7" fmla="*/ 483177 h 486352"/>
              <a:gd name="connsiteX8" fmla="*/ 964311 w 1181227"/>
              <a:gd name="connsiteY8" fmla="*/ 362019 h 486352"/>
              <a:gd name="connsiteX9" fmla="*/ 587375 w 1181227"/>
              <a:gd name="connsiteY9" fmla="*/ 254033 h 486352"/>
              <a:gd name="connsiteX10" fmla="*/ 244476 w 1181227"/>
              <a:gd name="connsiteY10" fmla="*/ 358807 h 486352"/>
              <a:gd name="connsiteX11" fmla="*/ 283591 w 1181227"/>
              <a:gd name="connsiteY11" fmla="*/ 486352 h 486352"/>
              <a:gd name="connsiteX12" fmla="*/ 0 w 1181227"/>
              <a:gd name="connsiteY12" fmla="*/ 361511 h 486352"/>
              <a:gd name="connsiteX0" fmla="*/ 0 w 1178052"/>
              <a:gd name="connsiteY0" fmla="*/ 396436 h 486352"/>
              <a:gd name="connsiteX1" fmla="*/ 105791 w 1178052"/>
              <a:gd name="connsiteY1" fmla="*/ 52520 h 486352"/>
              <a:gd name="connsiteX2" fmla="*/ 159766 w 1178052"/>
              <a:gd name="connsiteY2" fmla="*/ 164153 h 486352"/>
              <a:gd name="connsiteX3" fmla="*/ 584200 w 1178052"/>
              <a:gd name="connsiteY3" fmla="*/ 33 h 486352"/>
              <a:gd name="connsiteX4" fmla="*/ 1008761 w 1178052"/>
              <a:gd name="connsiteY4" fmla="*/ 148278 h 486352"/>
              <a:gd name="connsiteX5" fmla="*/ 1072261 w 1178052"/>
              <a:gd name="connsiteY5" fmla="*/ 49345 h 486352"/>
              <a:gd name="connsiteX6" fmla="*/ 1178052 w 1178052"/>
              <a:gd name="connsiteY6" fmla="*/ 345636 h 486352"/>
              <a:gd name="connsiteX7" fmla="*/ 938911 w 1178052"/>
              <a:gd name="connsiteY7" fmla="*/ 483177 h 486352"/>
              <a:gd name="connsiteX8" fmla="*/ 961136 w 1178052"/>
              <a:gd name="connsiteY8" fmla="*/ 362019 h 486352"/>
              <a:gd name="connsiteX9" fmla="*/ 584200 w 1178052"/>
              <a:gd name="connsiteY9" fmla="*/ 254033 h 486352"/>
              <a:gd name="connsiteX10" fmla="*/ 241301 w 1178052"/>
              <a:gd name="connsiteY10" fmla="*/ 358807 h 486352"/>
              <a:gd name="connsiteX11" fmla="*/ 280416 w 1178052"/>
              <a:gd name="connsiteY11" fmla="*/ 486352 h 486352"/>
              <a:gd name="connsiteX12" fmla="*/ 0 w 1178052"/>
              <a:gd name="connsiteY12" fmla="*/ 396436 h 486352"/>
              <a:gd name="connsiteX0" fmla="*/ 0 w 1178052"/>
              <a:gd name="connsiteY0" fmla="*/ 399611 h 489527"/>
              <a:gd name="connsiteX1" fmla="*/ 105791 w 1178052"/>
              <a:gd name="connsiteY1" fmla="*/ 55695 h 489527"/>
              <a:gd name="connsiteX2" fmla="*/ 159766 w 1178052"/>
              <a:gd name="connsiteY2" fmla="*/ 167328 h 489527"/>
              <a:gd name="connsiteX3" fmla="*/ 590550 w 1178052"/>
              <a:gd name="connsiteY3" fmla="*/ 33 h 489527"/>
              <a:gd name="connsiteX4" fmla="*/ 1008761 w 1178052"/>
              <a:gd name="connsiteY4" fmla="*/ 151453 h 489527"/>
              <a:gd name="connsiteX5" fmla="*/ 1072261 w 1178052"/>
              <a:gd name="connsiteY5" fmla="*/ 52520 h 489527"/>
              <a:gd name="connsiteX6" fmla="*/ 1178052 w 1178052"/>
              <a:gd name="connsiteY6" fmla="*/ 348811 h 489527"/>
              <a:gd name="connsiteX7" fmla="*/ 938911 w 1178052"/>
              <a:gd name="connsiteY7" fmla="*/ 486352 h 489527"/>
              <a:gd name="connsiteX8" fmla="*/ 961136 w 1178052"/>
              <a:gd name="connsiteY8" fmla="*/ 365194 h 489527"/>
              <a:gd name="connsiteX9" fmla="*/ 584200 w 1178052"/>
              <a:gd name="connsiteY9" fmla="*/ 257208 h 489527"/>
              <a:gd name="connsiteX10" fmla="*/ 241301 w 1178052"/>
              <a:gd name="connsiteY10" fmla="*/ 361982 h 489527"/>
              <a:gd name="connsiteX11" fmla="*/ 280416 w 1178052"/>
              <a:gd name="connsiteY11" fmla="*/ 489527 h 489527"/>
              <a:gd name="connsiteX12" fmla="*/ 0 w 1178052"/>
              <a:gd name="connsiteY12" fmla="*/ 399611 h 489527"/>
              <a:gd name="connsiteX0" fmla="*/ 0 w 1178052"/>
              <a:gd name="connsiteY0" fmla="*/ 399625 h 489541"/>
              <a:gd name="connsiteX1" fmla="*/ 105791 w 1178052"/>
              <a:gd name="connsiteY1" fmla="*/ 55709 h 489541"/>
              <a:gd name="connsiteX2" fmla="*/ 159766 w 1178052"/>
              <a:gd name="connsiteY2" fmla="*/ 167342 h 489541"/>
              <a:gd name="connsiteX3" fmla="*/ 590550 w 1178052"/>
              <a:gd name="connsiteY3" fmla="*/ 47 h 489541"/>
              <a:gd name="connsiteX4" fmla="*/ 1008761 w 1178052"/>
              <a:gd name="connsiteY4" fmla="*/ 151467 h 489541"/>
              <a:gd name="connsiteX5" fmla="*/ 1072261 w 1178052"/>
              <a:gd name="connsiteY5" fmla="*/ 52534 h 489541"/>
              <a:gd name="connsiteX6" fmla="*/ 1178052 w 1178052"/>
              <a:gd name="connsiteY6" fmla="*/ 348825 h 489541"/>
              <a:gd name="connsiteX7" fmla="*/ 938911 w 1178052"/>
              <a:gd name="connsiteY7" fmla="*/ 486366 h 489541"/>
              <a:gd name="connsiteX8" fmla="*/ 961136 w 1178052"/>
              <a:gd name="connsiteY8" fmla="*/ 365208 h 489541"/>
              <a:gd name="connsiteX9" fmla="*/ 584200 w 1178052"/>
              <a:gd name="connsiteY9" fmla="*/ 257222 h 489541"/>
              <a:gd name="connsiteX10" fmla="*/ 241301 w 1178052"/>
              <a:gd name="connsiteY10" fmla="*/ 361996 h 489541"/>
              <a:gd name="connsiteX11" fmla="*/ 280416 w 1178052"/>
              <a:gd name="connsiteY11" fmla="*/ 489541 h 489541"/>
              <a:gd name="connsiteX12" fmla="*/ 0 w 1178052"/>
              <a:gd name="connsiteY12" fmla="*/ 399625 h 489541"/>
              <a:gd name="connsiteX0" fmla="*/ 0 w 1178052"/>
              <a:gd name="connsiteY0" fmla="*/ 399625 h 489541"/>
              <a:gd name="connsiteX1" fmla="*/ 105791 w 1178052"/>
              <a:gd name="connsiteY1" fmla="*/ 55709 h 489541"/>
              <a:gd name="connsiteX2" fmla="*/ 159766 w 1178052"/>
              <a:gd name="connsiteY2" fmla="*/ 167342 h 489541"/>
              <a:gd name="connsiteX3" fmla="*/ 590550 w 1178052"/>
              <a:gd name="connsiteY3" fmla="*/ 47 h 489541"/>
              <a:gd name="connsiteX4" fmla="*/ 1008761 w 1178052"/>
              <a:gd name="connsiteY4" fmla="*/ 151467 h 489541"/>
              <a:gd name="connsiteX5" fmla="*/ 1072261 w 1178052"/>
              <a:gd name="connsiteY5" fmla="*/ 52534 h 489541"/>
              <a:gd name="connsiteX6" fmla="*/ 1178052 w 1178052"/>
              <a:gd name="connsiteY6" fmla="*/ 348825 h 489541"/>
              <a:gd name="connsiteX7" fmla="*/ 938911 w 1178052"/>
              <a:gd name="connsiteY7" fmla="*/ 486366 h 489541"/>
              <a:gd name="connsiteX8" fmla="*/ 961136 w 1178052"/>
              <a:gd name="connsiteY8" fmla="*/ 365208 h 489541"/>
              <a:gd name="connsiteX9" fmla="*/ 584200 w 1178052"/>
              <a:gd name="connsiteY9" fmla="*/ 257222 h 489541"/>
              <a:gd name="connsiteX10" fmla="*/ 241301 w 1178052"/>
              <a:gd name="connsiteY10" fmla="*/ 361996 h 489541"/>
              <a:gd name="connsiteX11" fmla="*/ 280416 w 1178052"/>
              <a:gd name="connsiteY11" fmla="*/ 489541 h 489541"/>
              <a:gd name="connsiteX12" fmla="*/ 0 w 1178052"/>
              <a:gd name="connsiteY12" fmla="*/ 399625 h 489541"/>
              <a:gd name="connsiteX0" fmla="*/ 0 w 1178052"/>
              <a:gd name="connsiteY0" fmla="*/ 399625 h 489541"/>
              <a:gd name="connsiteX1" fmla="*/ 105791 w 1178052"/>
              <a:gd name="connsiteY1" fmla="*/ 55709 h 489541"/>
              <a:gd name="connsiteX2" fmla="*/ 159766 w 1178052"/>
              <a:gd name="connsiteY2" fmla="*/ 167342 h 489541"/>
              <a:gd name="connsiteX3" fmla="*/ 590550 w 1178052"/>
              <a:gd name="connsiteY3" fmla="*/ 47 h 489541"/>
              <a:gd name="connsiteX4" fmla="*/ 1008761 w 1178052"/>
              <a:gd name="connsiteY4" fmla="*/ 151467 h 489541"/>
              <a:gd name="connsiteX5" fmla="*/ 1072261 w 1178052"/>
              <a:gd name="connsiteY5" fmla="*/ 52534 h 489541"/>
              <a:gd name="connsiteX6" fmla="*/ 1178052 w 1178052"/>
              <a:gd name="connsiteY6" fmla="*/ 348825 h 489541"/>
              <a:gd name="connsiteX7" fmla="*/ 938911 w 1178052"/>
              <a:gd name="connsiteY7" fmla="*/ 486366 h 489541"/>
              <a:gd name="connsiteX8" fmla="*/ 961136 w 1178052"/>
              <a:gd name="connsiteY8" fmla="*/ 365208 h 489541"/>
              <a:gd name="connsiteX9" fmla="*/ 584200 w 1178052"/>
              <a:gd name="connsiteY9" fmla="*/ 257222 h 489541"/>
              <a:gd name="connsiteX10" fmla="*/ 241301 w 1178052"/>
              <a:gd name="connsiteY10" fmla="*/ 361996 h 489541"/>
              <a:gd name="connsiteX11" fmla="*/ 280416 w 1178052"/>
              <a:gd name="connsiteY11" fmla="*/ 489541 h 489541"/>
              <a:gd name="connsiteX12" fmla="*/ 0 w 1178052"/>
              <a:gd name="connsiteY12" fmla="*/ 399625 h 489541"/>
              <a:gd name="connsiteX0" fmla="*/ 0 w 1178052"/>
              <a:gd name="connsiteY0" fmla="*/ 399578 h 489494"/>
              <a:gd name="connsiteX1" fmla="*/ 105791 w 1178052"/>
              <a:gd name="connsiteY1" fmla="*/ 55662 h 489494"/>
              <a:gd name="connsiteX2" fmla="*/ 159766 w 1178052"/>
              <a:gd name="connsiteY2" fmla="*/ 151420 h 489494"/>
              <a:gd name="connsiteX3" fmla="*/ 590550 w 1178052"/>
              <a:gd name="connsiteY3" fmla="*/ 0 h 489494"/>
              <a:gd name="connsiteX4" fmla="*/ 1008761 w 1178052"/>
              <a:gd name="connsiteY4" fmla="*/ 151420 h 489494"/>
              <a:gd name="connsiteX5" fmla="*/ 1072261 w 1178052"/>
              <a:gd name="connsiteY5" fmla="*/ 52487 h 489494"/>
              <a:gd name="connsiteX6" fmla="*/ 1178052 w 1178052"/>
              <a:gd name="connsiteY6" fmla="*/ 348778 h 489494"/>
              <a:gd name="connsiteX7" fmla="*/ 938911 w 1178052"/>
              <a:gd name="connsiteY7" fmla="*/ 486319 h 489494"/>
              <a:gd name="connsiteX8" fmla="*/ 961136 w 1178052"/>
              <a:gd name="connsiteY8" fmla="*/ 365161 h 489494"/>
              <a:gd name="connsiteX9" fmla="*/ 584200 w 1178052"/>
              <a:gd name="connsiteY9" fmla="*/ 257175 h 489494"/>
              <a:gd name="connsiteX10" fmla="*/ 241301 w 1178052"/>
              <a:gd name="connsiteY10" fmla="*/ 361949 h 489494"/>
              <a:gd name="connsiteX11" fmla="*/ 280416 w 1178052"/>
              <a:gd name="connsiteY11" fmla="*/ 489494 h 489494"/>
              <a:gd name="connsiteX12" fmla="*/ 0 w 1178052"/>
              <a:gd name="connsiteY12" fmla="*/ 399578 h 489494"/>
              <a:gd name="connsiteX0" fmla="*/ 0 w 1181227"/>
              <a:gd name="connsiteY0" fmla="*/ 367828 h 489494"/>
              <a:gd name="connsiteX1" fmla="*/ 108966 w 1181227"/>
              <a:gd name="connsiteY1" fmla="*/ 55662 h 489494"/>
              <a:gd name="connsiteX2" fmla="*/ 162941 w 1181227"/>
              <a:gd name="connsiteY2" fmla="*/ 151420 h 489494"/>
              <a:gd name="connsiteX3" fmla="*/ 593725 w 1181227"/>
              <a:gd name="connsiteY3" fmla="*/ 0 h 489494"/>
              <a:gd name="connsiteX4" fmla="*/ 1011936 w 1181227"/>
              <a:gd name="connsiteY4" fmla="*/ 151420 h 489494"/>
              <a:gd name="connsiteX5" fmla="*/ 1075436 w 1181227"/>
              <a:gd name="connsiteY5" fmla="*/ 52487 h 489494"/>
              <a:gd name="connsiteX6" fmla="*/ 1181227 w 1181227"/>
              <a:gd name="connsiteY6" fmla="*/ 348778 h 489494"/>
              <a:gd name="connsiteX7" fmla="*/ 942086 w 1181227"/>
              <a:gd name="connsiteY7" fmla="*/ 486319 h 489494"/>
              <a:gd name="connsiteX8" fmla="*/ 964311 w 1181227"/>
              <a:gd name="connsiteY8" fmla="*/ 365161 h 489494"/>
              <a:gd name="connsiteX9" fmla="*/ 587375 w 1181227"/>
              <a:gd name="connsiteY9" fmla="*/ 257175 h 489494"/>
              <a:gd name="connsiteX10" fmla="*/ 244476 w 1181227"/>
              <a:gd name="connsiteY10" fmla="*/ 361949 h 489494"/>
              <a:gd name="connsiteX11" fmla="*/ 283591 w 1181227"/>
              <a:gd name="connsiteY11" fmla="*/ 489494 h 489494"/>
              <a:gd name="connsiteX12" fmla="*/ 0 w 1181227"/>
              <a:gd name="connsiteY12" fmla="*/ 367828 h 489494"/>
              <a:gd name="connsiteX0" fmla="*/ 0 w 1181227"/>
              <a:gd name="connsiteY0" fmla="*/ 367828 h 489494"/>
              <a:gd name="connsiteX1" fmla="*/ 108966 w 1181227"/>
              <a:gd name="connsiteY1" fmla="*/ 55662 h 489494"/>
              <a:gd name="connsiteX2" fmla="*/ 162941 w 1181227"/>
              <a:gd name="connsiteY2" fmla="*/ 151420 h 489494"/>
              <a:gd name="connsiteX3" fmla="*/ 593725 w 1181227"/>
              <a:gd name="connsiteY3" fmla="*/ 0 h 489494"/>
              <a:gd name="connsiteX4" fmla="*/ 1011936 w 1181227"/>
              <a:gd name="connsiteY4" fmla="*/ 151420 h 489494"/>
              <a:gd name="connsiteX5" fmla="*/ 1075436 w 1181227"/>
              <a:gd name="connsiteY5" fmla="*/ 52487 h 489494"/>
              <a:gd name="connsiteX6" fmla="*/ 1181227 w 1181227"/>
              <a:gd name="connsiteY6" fmla="*/ 348778 h 489494"/>
              <a:gd name="connsiteX7" fmla="*/ 942086 w 1181227"/>
              <a:gd name="connsiteY7" fmla="*/ 486319 h 489494"/>
              <a:gd name="connsiteX8" fmla="*/ 964311 w 1181227"/>
              <a:gd name="connsiteY8" fmla="*/ 365161 h 489494"/>
              <a:gd name="connsiteX9" fmla="*/ 593725 w 1181227"/>
              <a:gd name="connsiteY9" fmla="*/ 225425 h 489494"/>
              <a:gd name="connsiteX10" fmla="*/ 244476 w 1181227"/>
              <a:gd name="connsiteY10" fmla="*/ 361949 h 489494"/>
              <a:gd name="connsiteX11" fmla="*/ 283591 w 1181227"/>
              <a:gd name="connsiteY11" fmla="*/ 489494 h 489494"/>
              <a:gd name="connsiteX12" fmla="*/ 0 w 1181227"/>
              <a:gd name="connsiteY12" fmla="*/ 367828 h 4894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81227" h="489494">
                <a:moveTo>
                  <a:pt x="0" y="367828"/>
                </a:moveTo>
                <a:lnTo>
                  <a:pt x="108966" y="55662"/>
                </a:lnTo>
                <a:lnTo>
                  <a:pt x="162941" y="151420"/>
                </a:lnTo>
                <a:cubicBezTo>
                  <a:pt x="283951" y="81289"/>
                  <a:pt x="452226" y="0"/>
                  <a:pt x="593725" y="0"/>
                </a:cubicBezTo>
                <a:cubicBezTo>
                  <a:pt x="735224" y="0"/>
                  <a:pt x="903076" y="106689"/>
                  <a:pt x="1011936" y="151420"/>
                </a:cubicBezTo>
                <a:lnTo>
                  <a:pt x="1075436" y="52487"/>
                </a:lnTo>
                <a:lnTo>
                  <a:pt x="1181227" y="348778"/>
                </a:lnTo>
                <a:lnTo>
                  <a:pt x="942086" y="486319"/>
                </a:lnTo>
                <a:lnTo>
                  <a:pt x="964311" y="365161"/>
                </a:lnTo>
                <a:cubicBezTo>
                  <a:pt x="902017" y="330674"/>
                  <a:pt x="713697" y="225960"/>
                  <a:pt x="593725" y="225425"/>
                </a:cubicBezTo>
                <a:cubicBezTo>
                  <a:pt x="473753" y="224890"/>
                  <a:pt x="295107" y="323229"/>
                  <a:pt x="244476" y="361949"/>
                </a:cubicBezTo>
                <a:lnTo>
                  <a:pt x="283591" y="489494"/>
                </a:lnTo>
                <a:lnTo>
                  <a:pt x="0" y="367828"/>
                </a:lnTo>
                <a:close/>
              </a:path>
            </a:pathLst>
          </a:custGeom>
          <a:solidFill>
            <a:srgbClr val="C0000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64" name="Group 163"/>
          <p:cNvGrpSpPr/>
          <p:nvPr/>
        </p:nvGrpSpPr>
        <p:grpSpPr>
          <a:xfrm>
            <a:off x="2895600" y="3486150"/>
            <a:ext cx="821661" cy="910327"/>
            <a:chOff x="3421617" y="3102270"/>
            <a:chExt cx="988458" cy="1095124"/>
          </a:xfrm>
          <a:effectLst>
            <a:outerShdw blurRad="76200" dir="13500000" sy="23000" kx="1200000" algn="br" rotWithShape="0">
              <a:prstClr val="black">
                <a:alpha val="20000"/>
              </a:prstClr>
            </a:outerShdw>
          </a:effectLst>
        </p:grpSpPr>
        <p:sp>
          <p:nvSpPr>
            <p:cNvPr id="165" name="Parallelogram 164"/>
            <p:cNvSpPr/>
            <p:nvPr/>
          </p:nvSpPr>
          <p:spPr>
            <a:xfrm flipH="1">
              <a:off x="3421617" y="3102270"/>
              <a:ext cx="988458" cy="1095124"/>
            </a:xfrm>
            <a:prstGeom prst="parallelogram">
              <a:avLst>
                <a:gd name="adj" fmla="val 27409"/>
              </a:avLst>
            </a:prstGeom>
            <a:solidFill>
              <a:schemeClr val="bg1"/>
            </a:solidFill>
            <a:ln>
              <a:no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grpSp>
          <p:nvGrpSpPr>
            <p:cNvPr id="166" name="Group 165"/>
            <p:cNvGrpSpPr/>
            <p:nvPr/>
          </p:nvGrpSpPr>
          <p:grpSpPr>
            <a:xfrm>
              <a:off x="3488531" y="3156897"/>
              <a:ext cx="685802" cy="307680"/>
              <a:chOff x="3505198" y="3156897"/>
              <a:chExt cx="588168" cy="307680"/>
            </a:xfrm>
          </p:grpSpPr>
          <p:sp>
            <p:nvSpPr>
              <p:cNvPr id="177" name="Parallelogram 176"/>
              <p:cNvSpPr/>
              <p:nvPr/>
            </p:nvSpPr>
            <p:spPr>
              <a:xfrm flipH="1">
                <a:off x="3505198" y="3156897"/>
                <a:ext cx="152401" cy="307680"/>
              </a:xfrm>
              <a:prstGeom prst="parallelogram">
                <a:avLst>
                  <a:gd name="adj" fmla="val 47819"/>
                </a:avLst>
              </a:prstGeom>
              <a:solidFill>
                <a:schemeClr val="bg1"/>
              </a:solidFill>
              <a:ln>
                <a:no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78" name="Parallelogram 177"/>
              <p:cNvSpPr/>
              <p:nvPr/>
            </p:nvSpPr>
            <p:spPr>
              <a:xfrm flipH="1">
                <a:off x="3650454" y="3156897"/>
                <a:ext cx="152401" cy="307680"/>
              </a:xfrm>
              <a:prstGeom prst="parallelogram">
                <a:avLst>
                  <a:gd name="adj" fmla="val 47819"/>
                </a:avLst>
              </a:prstGeom>
              <a:solidFill>
                <a:schemeClr val="bg1"/>
              </a:solidFill>
              <a:ln>
                <a:no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79" name="Parallelogram 178"/>
              <p:cNvSpPr/>
              <p:nvPr/>
            </p:nvSpPr>
            <p:spPr>
              <a:xfrm flipH="1">
                <a:off x="3795710" y="3156897"/>
                <a:ext cx="152401" cy="307680"/>
              </a:xfrm>
              <a:prstGeom prst="parallelogram">
                <a:avLst>
                  <a:gd name="adj" fmla="val 47819"/>
                </a:avLst>
              </a:prstGeom>
              <a:solidFill>
                <a:schemeClr val="bg1"/>
              </a:solidFill>
              <a:ln>
                <a:no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80" name="Parallelogram 179"/>
              <p:cNvSpPr/>
              <p:nvPr/>
            </p:nvSpPr>
            <p:spPr>
              <a:xfrm flipH="1">
                <a:off x="3940965" y="3156897"/>
                <a:ext cx="152401" cy="307680"/>
              </a:xfrm>
              <a:prstGeom prst="parallelogram">
                <a:avLst>
                  <a:gd name="adj" fmla="val 47819"/>
                </a:avLst>
              </a:prstGeom>
              <a:solidFill>
                <a:schemeClr val="bg1"/>
              </a:solidFill>
              <a:ln>
                <a:no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grpSp>
        <p:grpSp>
          <p:nvGrpSpPr>
            <p:cNvPr id="167" name="Group 166"/>
            <p:cNvGrpSpPr/>
            <p:nvPr/>
          </p:nvGrpSpPr>
          <p:grpSpPr>
            <a:xfrm>
              <a:off x="3581398" y="3508857"/>
              <a:ext cx="685802" cy="307680"/>
              <a:chOff x="3505198" y="3156897"/>
              <a:chExt cx="588168" cy="307680"/>
            </a:xfrm>
          </p:grpSpPr>
          <p:sp>
            <p:nvSpPr>
              <p:cNvPr id="173" name="Parallelogram 172"/>
              <p:cNvSpPr/>
              <p:nvPr/>
            </p:nvSpPr>
            <p:spPr>
              <a:xfrm flipH="1">
                <a:off x="3505198" y="3156897"/>
                <a:ext cx="152401" cy="307680"/>
              </a:xfrm>
              <a:prstGeom prst="parallelogram">
                <a:avLst>
                  <a:gd name="adj" fmla="val 47819"/>
                </a:avLst>
              </a:prstGeom>
              <a:solidFill>
                <a:schemeClr val="bg1"/>
              </a:solidFill>
              <a:ln>
                <a:no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74" name="Parallelogram 173"/>
              <p:cNvSpPr/>
              <p:nvPr/>
            </p:nvSpPr>
            <p:spPr>
              <a:xfrm flipH="1">
                <a:off x="3650454" y="3156897"/>
                <a:ext cx="152401" cy="307680"/>
              </a:xfrm>
              <a:prstGeom prst="parallelogram">
                <a:avLst>
                  <a:gd name="adj" fmla="val 47819"/>
                </a:avLst>
              </a:prstGeom>
              <a:solidFill>
                <a:schemeClr val="bg1"/>
              </a:solidFill>
              <a:ln>
                <a:no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75" name="Parallelogram 174"/>
              <p:cNvSpPr/>
              <p:nvPr/>
            </p:nvSpPr>
            <p:spPr>
              <a:xfrm flipH="1">
                <a:off x="3795710" y="3156897"/>
                <a:ext cx="152401" cy="307680"/>
              </a:xfrm>
              <a:prstGeom prst="parallelogram">
                <a:avLst>
                  <a:gd name="adj" fmla="val 47819"/>
                </a:avLst>
              </a:prstGeom>
              <a:solidFill>
                <a:schemeClr val="bg1"/>
              </a:solidFill>
              <a:ln>
                <a:no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76" name="Parallelogram 175"/>
              <p:cNvSpPr/>
              <p:nvPr/>
            </p:nvSpPr>
            <p:spPr>
              <a:xfrm flipH="1">
                <a:off x="3940965" y="3156897"/>
                <a:ext cx="152401" cy="307680"/>
              </a:xfrm>
              <a:prstGeom prst="parallelogram">
                <a:avLst>
                  <a:gd name="adj" fmla="val 47819"/>
                </a:avLst>
              </a:prstGeom>
              <a:solidFill>
                <a:schemeClr val="bg1"/>
              </a:solidFill>
              <a:ln>
                <a:no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grpSp>
        <p:grpSp>
          <p:nvGrpSpPr>
            <p:cNvPr id="168" name="Group 167"/>
            <p:cNvGrpSpPr/>
            <p:nvPr/>
          </p:nvGrpSpPr>
          <p:grpSpPr>
            <a:xfrm>
              <a:off x="3672838" y="3851910"/>
              <a:ext cx="685802" cy="307680"/>
              <a:chOff x="3505198" y="3156897"/>
              <a:chExt cx="588168" cy="307680"/>
            </a:xfrm>
          </p:grpSpPr>
          <p:sp>
            <p:nvSpPr>
              <p:cNvPr id="169" name="Parallelogram 168"/>
              <p:cNvSpPr/>
              <p:nvPr/>
            </p:nvSpPr>
            <p:spPr>
              <a:xfrm flipH="1">
                <a:off x="3505198" y="3156897"/>
                <a:ext cx="152401" cy="307680"/>
              </a:xfrm>
              <a:prstGeom prst="parallelogram">
                <a:avLst>
                  <a:gd name="adj" fmla="val 47819"/>
                </a:avLst>
              </a:prstGeom>
              <a:solidFill>
                <a:schemeClr val="bg1"/>
              </a:solidFill>
              <a:ln>
                <a:no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70" name="Parallelogram 169"/>
              <p:cNvSpPr/>
              <p:nvPr/>
            </p:nvSpPr>
            <p:spPr>
              <a:xfrm flipH="1">
                <a:off x="3650454" y="3156897"/>
                <a:ext cx="152401" cy="307680"/>
              </a:xfrm>
              <a:prstGeom prst="parallelogram">
                <a:avLst>
                  <a:gd name="adj" fmla="val 47819"/>
                </a:avLst>
              </a:prstGeom>
              <a:solidFill>
                <a:schemeClr val="bg1"/>
              </a:solidFill>
              <a:ln>
                <a:no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71" name="Parallelogram 170"/>
              <p:cNvSpPr/>
              <p:nvPr/>
            </p:nvSpPr>
            <p:spPr>
              <a:xfrm flipH="1">
                <a:off x="3795710" y="3156897"/>
                <a:ext cx="152401" cy="307680"/>
              </a:xfrm>
              <a:prstGeom prst="parallelogram">
                <a:avLst>
                  <a:gd name="adj" fmla="val 47819"/>
                </a:avLst>
              </a:prstGeom>
              <a:solidFill>
                <a:schemeClr val="bg1"/>
              </a:solidFill>
              <a:ln>
                <a:no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72" name="Parallelogram 171"/>
              <p:cNvSpPr/>
              <p:nvPr/>
            </p:nvSpPr>
            <p:spPr>
              <a:xfrm flipH="1">
                <a:off x="3940965" y="3156897"/>
                <a:ext cx="152401" cy="307680"/>
              </a:xfrm>
              <a:prstGeom prst="parallelogram">
                <a:avLst>
                  <a:gd name="adj" fmla="val 47819"/>
                </a:avLst>
              </a:prstGeom>
              <a:solidFill>
                <a:schemeClr val="bg1"/>
              </a:solidFill>
              <a:ln>
                <a:no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grpSp>
      </p:grpSp>
      <p:grpSp>
        <p:nvGrpSpPr>
          <p:cNvPr id="181" name="Group 180"/>
          <p:cNvGrpSpPr/>
          <p:nvPr/>
        </p:nvGrpSpPr>
        <p:grpSpPr>
          <a:xfrm>
            <a:off x="2286000" y="3795023"/>
            <a:ext cx="821661" cy="910327"/>
            <a:chOff x="3421617" y="3102270"/>
            <a:chExt cx="988458" cy="1095124"/>
          </a:xfrm>
          <a:effectLst>
            <a:outerShdw blurRad="76200" dir="13500000" sy="23000" kx="1200000" algn="br" rotWithShape="0">
              <a:prstClr val="black">
                <a:alpha val="20000"/>
              </a:prstClr>
            </a:outerShdw>
          </a:effectLst>
        </p:grpSpPr>
        <p:sp>
          <p:nvSpPr>
            <p:cNvPr id="182" name="Parallelogram 181"/>
            <p:cNvSpPr/>
            <p:nvPr/>
          </p:nvSpPr>
          <p:spPr>
            <a:xfrm flipH="1">
              <a:off x="3421617" y="3102270"/>
              <a:ext cx="988458" cy="1095124"/>
            </a:xfrm>
            <a:prstGeom prst="parallelogram">
              <a:avLst>
                <a:gd name="adj" fmla="val 27409"/>
              </a:avLst>
            </a:prstGeom>
            <a:solidFill>
              <a:schemeClr val="bg1"/>
            </a:solidFill>
            <a:ln>
              <a:no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grpSp>
          <p:nvGrpSpPr>
            <p:cNvPr id="183" name="Group 182"/>
            <p:cNvGrpSpPr/>
            <p:nvPr/>
          </p:nvGrpSpPr>
          <p:grpSpPr>
            <a:xfrm>
              <a:off x="3488531" y="3156897"/>
              <a:ext cx="685802" cy="307680"/>
              <a:chOff x="3505198" y="3156897"/>
              <a:chExt cx="588168" cy="307680"/>
            </a:xfrm>
          </p:grpSpPr>
          <p:sp>
            <p:nvSpPr>
              <p:cNvPr id="194" name="Parallelogram 193"/>
              <p:cNvSpPr/>
              <p:nvPr/>
            </p:nvSpPr>
            <p:spPr>
              <a:xfrm flipH="1">
                <a:off x="3505198" y="3156897"/>
                <a:ext cx="152401" cy="307680"/>
              </a:xfrm>
              <a:prstGeom prst="parallelogram">
                <a:avLst>
                  <a:gd name="adj" fmla="val 47819"/>
                </a:avLst>
              </a:prstGeom>
              <a:solidFill>
                <a:schemeClr val="bg1"/>
              </a:solidFill>
              <a:ln>
                <a:no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95" name="Parallelogram 194"/>
              <p:cNvSpPr/>
              <p:nvPr/>
            </p:nvSpPr>
            <p:spPr>
              <a:xfrm flipH="1">
                <a:off x="3650454" y="3156897"/>
                <a:ext cx="152401" cy="307680"/>
              </a:xfrm>
              <a:prstGeom prst="parallelogram">
                <a:avLst>
                  <a:gd name="adj" fmla="val 47819"/>
                </a:avLst>
              </a:prstGeom>
              <a:solidFill>
                <a:schemeClr val="bg1"/>
              </a:solidFill>
              <a:ln>
                <a:no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96" name="Parallelogram 195"/>
              <p:cNvSpPr/>
              <p:nvPr/>
            </p:nvSpPr>
            <p:spPr>
              <a:xfrm flipH="1">
                <a:off x="3795710" y="3156897"/>
                <a:ext cx="152401" cy="307680"/>
              </a:xfrm>
              <a:prstGeom prst="parallelogram">
                <a:avLst>
                  <a:gd name="adj" fmla="val 47819"/>
                </a:avLst>
              </a:prstGeom>
              <a:solidFill>
                <a:schemeClr val="bg1"/>
              </a:solidFill>
              <a:ln>
                <a:no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97" name="Parallelogram 196"/>
              <p:cNvSpPr/>
              <p:nvPr/>
            </p:nvSpPr>
            <p:spPr>
              <a:xfrm flipH="1">
                <a:off x="3940965" y="3156897"/>
                <a:ext cx="152401" cy="307680"/>
              </a:xfrm>
              <a:prstGeom prst="parallelogram">
                <a:avLst>
                  <a:gd name="adj" fmla="val 47819"/>
                </a:avLst>
              </a:prstGeom>
              <a:solidFill>
                <a:schemeClr val="bg1"/>
              </a:solidFill>
              <a:ln>
                <a:no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grpSp>
        <p:grpSp>
          <p:nvGrpSpPr>
            <p:cNvPr id="184" name="Group 183"/>
            <p:cNvGrpSpPr/>
            <p:nvPr/>
          </p:nvGrpSpPr>
          <p:grpSpPr>
            <a:xfrm>
              <a:off x="3581398" y="3508857"/>
              <a:ext cx="685802" cy="307680"/>
              <a:chOff x="3505198" y="3156897"/>
              <a:chExt cx="588168" cy="307680"/>
            </a:xfrm>
          </p:grpSpPr>
          <p:sp>
            <p:nvSpPr>
              <p:cNvPr id="190" name="Parallelogram 189"/>
              <p:cNvSpPr/>
              <p:nvPr/>
            </p:nvSpPr>
            <p:spPr>
              <a:xfrm flipH="1">
                <a:off x="3505198" y="3156897"/>
                <a:ext cx="152401" cy="307680"/>
              </a:xfrm>
              <a:prstGeom prst="parallelogram">
                <a:avLst>
                  <a:gd name="adj" fmla="val 47819"/>
                </a:avLst>
              </a:prstGeom>
              <a:solidFill>
                <a:schemeClr val="bg1"/>
              </a:solidFill>
              <a:ln>
                <a:no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91" name="Parallelogram 190"/>
              <p:cNvSpPr/>
              <p:nvPr/>
            </p:nvSpPr>
            <p:spPr>
              <a:xfrm flipH="1">
                <a:off x="3650454" y="3156897"/>
                <a:ext cx="152401" cy="307680"/>
              </a:xfrm>
              <a:prstGeom prst="parallelogram">
                <a:avLst>
                  <a:gd name="adj" fmla="val 47819"/>
                </a:avLst>
              </a:prstGeom>
              <a:solidFill>
                <a:schemeClr val="bg1"/>
              </a:solidFill>
              <a:ln>
                <a:no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92" name="Parallelogram 191"/>
              <p:cNvSpPr/>
              <p:nvPr/>
            </p:nvSpPr>
            <p:spPr>
              <a:xfrm flipH="1">
                <a:off x="3795710" y="3156897"/>
                <a:ext cx="152401" cy="307680"/>
              </a:xfrm>
              <a:prstGeom prst="parallelogram">
                <a:avLst>
                  <a:gd name="adj" fmla="val 47819"/>
                </a:avLst>
              </a:prstGeom>
              <a:solidFill>
                <a:schemeClr val="bg1"/>
              </a:solidFill>
              <a:ln>
                <a:no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93" name="Parallelogram 192"/>
              <p:cNvSpPr/>
              <p:nvPr/>
            </p:nvSpPr>
            <p:spPr>
              <a:xfrm flipH="1">
                <a:off x="3940965" y="3156897"/>
                <a:ext cx="152401" cy="307680"/>
              </a:xfrm>
              <a:prstGeom prst="parallelogram">
                <a:avLst>
                  <a:gd name="adj" fmla="val 47819"/>
                </a:avLst>
              </a:prstGeom>
              <a:solidFill>
                <a:schemeClr val="bg1"/>
              </a:solidFill>
              <a:ln>
                <a:no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grpSp>
        <p:grpSp>
          <p:nvGrpSpPr>
            <p:cNvPr id="185" name="Group 184"/>
            <p:cNvGrpSpPr/>
            <p:nvPr/>
          </p:nvGrpSpPr>
          <p:grpSpPr>
            <a:xfrm>
              <a:off x="3672838" y="3851910"/>
              <a:ext cx="685802" cy="307680"/>
              <a:chOff x="3505198" y="3156897"/>
              <a:chExt cx="588168" cy="307680"/>
            </a:xfrm>
          </p:grpSpPr>
          <p:sp>
            <p:nvSpPr>
              <p:cNvPr id="186" name="Parallelogram 185"/>
              <p:cNvSpPr/>
              <p:nvPr/>
            </p:nvSpPr>
            <p:spPr>
              <a:xfrm flipH="1">
                <a:off x="3505198" y="3156897"/>
                <a:ext cx="152401" cy="307680"/>
              </a:xfrm>
              <a:prstGeom prst="parallelogram">
                <a:avLst>
                  <a:gd name="adj" fmla="val 47819"/>
                </a:avLst>
              </a:prstGeom>
              <a:solidFill>
                <a:schemeClr val="bg1"/>
              </a:solidFill>
              <a:ln>
                <a:no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87" name="Parallelogram 186"/>
              <p:cNvSpPr/>
              <p:nvPr/>
            </p:nvSpPr>
            <p:spPr>
              <a:xfrm flipH="1">
                <a:off x="3650454" y="3156897"/>
                <a:ext cx="152401" cy="307680"/>
              </a:xfrm>
              <a:prstGeom prst="parallelogram">
                <a:avLst>
                  <a:gd name="adj" fmla="val 47819"/>
                </a:avLst>
              </a:prstGeom>
              <a:solidFill>
                <a:schemeClr val="bg1"/>
              </a:solidFill>
              <a:ln>
                <a:no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88" name="Parallelogram 187"/>
              <p:cNvSpPr/>
              <p:nvPr/>
            </p:nvSpPr>
            <p:spPr>
              <a:xfrm flipH="1">
                <a:off x="3795710" y="3156897"/>
                <a:ext cx="152401" cy="307680"/>
              </a:xfrm>
              <a:prstGeom prst="parallelogram">
                <a:avLst>
                  <a:gd name="adj" fmla="val 47819"/>
                </a:avLst>
              </a:prstGeom>
              <a:solidFill>
                <a:schemeClr val="bg1"/>
              </a:solidFill>
              <a:ln>
                <a:no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89" name="Parallelogram 188"/>
              <p:cNvSpPr/>
              <p:nvPr/>
            </p:nvSpPr>
            <p:spPr>
              <a:xfrm flipH="1">
                <a:off x="3940965" y="3156897"/>
                <a:ext cx="152401" cy="307680"/>
              </a:xfrm>
              <a:prstGeom prst="parallelogram">
                <a:avLst>
                  <a:gd name="adj" fmla="val 47819"/>
                </a:avLst>
              </a:prstGeom>
              <a:solidFill>
                <a:schemeClr val="bg1"/>
              </a:solidFill>
              <a:ln>
                <a:no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grpSp>
      </p:grpSp>
      <p:grpSp>
        <p:nvGrpSpPr>
          <p:cNvPr id="198" name="Group 197"/>
          <p:cNvGrpSpPr/>
          <p:nvPr/>
        </p:nvGrpSpPr>
        <p:grpSpPr>
          <a:xfrm>
            <a:off x="1524000" y="3409950"/>
            <a:ext cx="821661" cy="910327"/>
            <a:chOff x="3421617" y="3102270"/>
            <a:chExt cx="988458" cy="1095124"/>
          </a:xfrm>
          <a:effectLst>
            <a:outerShdw blurRad="76200" dir="13500000" sy="23000" kx="1200000" algn="br" rotWithShape="0">
              <a:prstClr val="black">
                <a:alpha val="20000"/>
              </a:prstClr>
            </a:outerShdw>
          </a:effectLst>
        </p:grpSpPr>
        <p:sp>
          <p:nvSpPr>
            <p:cNvPr id="199" name="Parallelogram 198"/>
            <p:cNvSpPr/>
            <p:nvPr/>
          </p:nvSpPr>
          <p:spPr>
            <a:xfrm flipH="1">
              <a:off x="3421617" y="3102270"/>
              <a:ext cx="988458" cy="1095124"/>
            </a:xfrm>
            <a:prstGeom prst="parallelogram">
              <a:avLst>
                <a:gd name="adj" fmla="val 27409"/>
              </a:avLst>
            </a:prstGeom>
            <a:solidFill>
              <a:schemeClr val="bg1"/>
            </a:solidFill>
            <a:ln>
              <a:no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grpSp>
          <p:nvGrpSpPr>
            <p:cNvPr id="200" name="Group 199"/>
            <p:cNvGrpSpPr/>
            <p:nvPr/>
          </p:nvGrpSpPr>
          <p:grpSpPr>
            <a:xfrm>
              <a:off x="3488531" y="3156897"/>
              <a:ext cx="685802" cy="307680"/>
              <a:chOff x="3505198" y="3156897"/>
              <a:chExt cx="588168" cy="307680"/>
            </a:xfrm>
          </p:grpSpPr>
          <p:sp>
            <p:nvSpPr>
              <p:cNvPr id="211" name="Parallelogram 210"/>
              <p:cNvSpPr/>
              <p:nvPr/>
            </p:nvSpPr>
            <p:spPr>
              <a:xfrm flipH="1">
                <a:off x="3505198" y="3156897"/>
                <a:ext cx="152401" cy="307680"/>
              </a:xfrm>
              <a:prstGeom prst="parallelogram">
                <a:avLst>
                  <a:gd name="adj" fmla="val 47819"/>
                </a:avLst>
              </a:prstGeom>
              <a:solidFill>
                <a:schemeClr val="bg1"/>
              </a:solidFill>
              <a:ln>
                <a:no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212" name="Parallelogram 211"/>
              <p:cNvSpPr/>
              <p:nvPr/>
            </p:nvSpPr>
            <p:spPr>
              <a:xfrm flipH="1">
                <a:off x="3650454" y="3156897"/>
                <a:ext cx="152401" cy="307680"/>
              </a:xfrm>
              <a:prstGeom prst="parallelogram">
                <a:avLst>
                  <a:gd name="adj" fmla="val 47819"/>
                </a:avLst>
              </a:prstGeom>
              <a:solidFill>
                <a:schemeClr val="bg1"/>
              </a:solidFill>
              <a:ln>
                <a:no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213" name="Parallelogram 212"/>
              <p:cNvSpPr/>
              <p:nvPr/>
            </p:nvSpPr>
            <p:spPr>
              <a:xfrm flipH="1">
                <a:off x="3795710" y="3156897"/>
                <a:ext cx="152401" cy="307680"/>
              </a:xfrm>
              <a:prstGeom prst="parallelogram">
                <a:avLst>
                  <a:gd name="adj" fmla="val 47819"/>
                </a:avLst>
              </a:prstGeom>
              <a:solidFill>
                <a:schemeClr val="bg1"/>
              </a:solidFill>
              <a:ln>
                <a:no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214" name="Parallelogram 213"/>
              <p:cNvSpPr/>
              <p:nvPr/>
            </p:nvSpPr>
            <p:spPr>
              <a:xfrm flipH="1">
                <a:off x="3940965" y="3156897"/>
                <a:ext cx="152401" cy="307680"/>
              </a:xfrm>
              <a:prstGeom prst="parallelogram">
                <a:avLst>
                  <a:gd name="adj" fmla="val 47819"/>
                </a:avLst>
              </a:prstGeom>
              <a:solidFill>
                <a:schemeClr val="bg1"/>
              </a:solidFill>
              <a:ln>
                <a:no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grpSp>
        <p:grpSp>
          <p:nvGrpSpPr>
            <p:cNvPr id="201" name="Group 200"/>
            <p:cNvGrpSpPr/>
            <p:nvPr/>
          </p:nvGrpSpPr>
          <p:grpSpPr>
            <a:xfrm>
              <a:off x="3581398" y="3508857"/>
              <a:ext cx="685802" cy="307680"/>
              <a:chOff x="3505198" y="3156897"/>
              <a:chExt cx="588168" cy="307680"/>
            </a:xfrm>
          </p:grpSpPr>
          <p:sp>
            <p:nvSpPr>
              <p:cNvPr id="207" name="Parallelogram 206"/>
              <p:cNvSpPr/>
              <p:nvPr/>
            </p:nvSpPr>
            <p:spPr>
              <a:xfrm flipH="1">
                <a:off x="3505198" y="3156897"/>
                <a:ext cx="152401" cy="307680"/>
              </a:xfrm>
              <a:prstGeom prst="parallelogram">
                <a:avLst>
                  <a:gd name="adj" fmla="val 47819"/>
                </a:avLst>
              </a:prstGeom>
              <a:solidFill>
                <a:schemeClr val="bg1"/>
              </a:solidFill>
              <a:ln>
                <a:no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208" name="Parallelogram 207"/>
              <p:cNvSpPr/>
              <p:nvPr/>
            </p:nvSpPr>
            <p:spPr>
              <a:xfrm flipH="1">
                <a:off x="3650454" y="3156897"/>
                <a:ext cx="152401" cy="307680"/>
              </a:xfrm>
              <a:prstGeom prst="parallelogram">
                <a:avLst>
                  <a:gd name="adj" fmla="val 47819"/>
                </a:avLst>
              </a:prstGeom>
              <a:solidFill>
                <a:schemeClr val="bg1"/>
              </a:solidFill>
              <a:ln>
                <a:no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209" name="Parallelogram 208"/>
              <p:cNvSpPr/>
              <p:nvPr/>
            </p:nvSpPr>
            <p:spPr>
              <a:xfrm flipH="1">
                <a:off x="3795710" y="3156897"/>
                <a:ext cx="152401" cy="307680"/>
              </a:xfrm>
              <a:prstGeom prst="parallelogram">
                <a:avLst>
                  <a:gd name="adj" fmla="val 47819"/>
                </a:avLst>
              </a:prstGeom>
              <a:solidFill>
                <a:schemeClr val="bg1"/>
              </a:solidFill>
              <a:ln>
                <a:no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210" name="Parallelogram 209"/>
              <p:cNvSpPr/>
              <p:nvPr/>
            </p:nvSpPr>
            <p:spPr>
              <a:xfrm flipH="1">
                <a:off x="3940965" y="3156897"/>
                <a:ext cx="152401" cy="307680"/>
              </a:xfrm>
              <a:prstGeom prst="parallelogram">
                <a:avLst>
                  <a:gd name="adj" fmla="val 47819"/>
                </a:avLst>
              </a:prstGeom>
              <a:solidFill>
                <a:schemeClr val="bg1"/>
              </a:solidFill>
              <a:ln>
                <a:no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grpSp>
        <p:grpSp>
          <p:nvGrpSpPr>
            <p:cNvPr id="202" name="Group 201"/>
            <p:cNvGrpSpPr/>
            <p:nvPr/>
          </p:nvGrpSpPr>
          <p:grpSpPr>
            <a:xfrm>
              <a:off x="3672838" y="3851910"/>
              <a:ext cx="685802" cy="307680"/>
              <a:chOff x="3505198" y="3156897"/>
              <a:chExt cx="588168" cy="307680"/>
            </a:xfrm>
          </p:grpSpPr>
          <p:sp>
            <p:nvSpPr>
              <p:cNvPr id="203" name="Parallelogram 202"/>
              <p:cNvSpPr/>
              <p:nvPr/>
            </p:nvSpPr>
            <p:spPr>
              <a:xfrm flipH="1">
                <a:off x="3505198" y="3156897"/>
                <a:ext cx="152401" cy="307680"/>
              </a:xfrm>
              <a:prstGeom prst="parallelogram">
                <a:avLst>
                  <a:gd name="adj" fmla="val 47819"/>
                </a:avLst>
              </a:prstGeom>
              <a:solidFill>
                <a:schemeClr val="bg1"/>
              </a:solidFill>
              <a:ln>
                <a:no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204" name="Parallelogram 203"/>
              <p:cNvSpPr/>
              <p:nvPr/>
            </p:nvSpPr>
            <p:spPr>
              <a:xfrm flipH="1">
                <a:off x="3650454" y="3156897"/>
                <a:ext cx="152401" cy="307680"/>
              </a:xfrm>
              <a:prstGeom prst="parallelogram">
                <a:avLst>
                  <a:gd name="adj" fmla="val 47819"/>
                </a:avLst>
              </a:prstGeom>
              <a:solidFill>
                <a:schemeClr val="bg1"/>
              </a:solidFill>
              <a:ln>
                <a:no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205" name="Parallelogram 204"/>
              <p:cNvSpPr/>
              <p:nvPr/>
            </p:nvSpPr>
            <p:spPr>
              <a:xfrm flipH="1">
                <a:off x="3795710" y="3156897"/>
                <a:ext cx="152401" cy="307680"/>
              </a:xfrm>
              <a:prstGeom prst="parallelogram">
                <a:avLst>
                  <a:gd name="adj" fmla="val 47819"/>
                </a:avLst>
              </a:prstGeom>
              <a:solidFill>
                <a:schemeClr val="bg1"/>
              </a:solidFill>
              <a:ln>
                <a:no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206" name="Parallelogram 205"/>
              <p:cNvSpPr/>
              <p:nvPr/>
            </p:nvSpPr>
            <p:spPr>
              <a:xfrm flipH="1">
                <a:off x="3940965" y="3156897"/>
                <a:ext cx="152401" cy="307680"/>
              </a:xfrm>
              <a:prstGeom prst="parallelogram">
                <a:avLst>
                  <a:gd name="adj" fmla="val 47819"/>
                </a:avLst>
              </a:prstGeom>
              <a:solidFill>
                <a:schemeClr val="bg1"/>
              </a:solidFill>
              <a:ln>
                <a:no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grpSp>
      </p:grpSp>
      <p:grpSp>
        <p:nvGrpSpPr>
          <p:cNvPr id="155" name="Group 154"/>
          <p:cNvGrpSpPr/>
          <p:nvPr/>
        </p:nvGrpSpPr>
        <p:grpSpPr>
          <a:xfrm>
            <a:off x="68165" y="3228966"/>
            <a:ext cx="1384750" cy="1548171"/>
            <a:chOff x="176541" y="2266950"/>
            <a:chExt cx="1957351" cy="2188347"/>
          </a:xfrm>
        </p:grpSpPr>
        <p:sp>
          <p:nvSpPr>
            <p:cNvPr id="156" name="Flowchart: Manual Input 155"/>
            <p:cNvSpPr/>
            <p:nvPr/>
          </p:nvSpPr>
          <p:spPr>
            <a:xfrm flipH="1">
              <a:off x="176541" y="2266950"/>
              <a:ext cx="1088378" cy="1981200"/>
            </a:xfrm>
            <a:prstGeom prst="flowChartManualInput">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57" name="Flowchart: Manual Input 156"/>
            <p:cNvSpPr/>
            <p:nvPr/>
          </p:nvSpPr>
          <p:spPr>
            <a:xfrm flipH="1">
              <a:off x="788343" y="2647950"/>
              <a:ext cx="301480" cy="1524000"/>
            </a:xfrm>
            <a:prstGeom prst="flowChartManualInput">
              <a:avLst/>
            </a:prstGeom>
            <a:solidFill>
              <a:schemeClr val="bg1"/>
            </a:solidFill>
            <a:ln>
              <a:noFill/>
            </a:ln>
            <a:effectLst>
              <a:outerShdw blurRad="50800" dist="38100" algn="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58" name="Flowchart: Manual Input 157"/>
            <p:cNvSpPr/>
            <p:nvPr/>
          </p:nvSpPr>
          <p:spPr>
            <a:xfrm flipH="1">
              <a:off x="598402" y="2647950"/>
              <a:ext cx="301480" cy="1524000"/>
            </a:xfrm>
            <a:prstGeom prst="flowChartManualInput">
              <a:avLst/>
            </a:prstGeom>
            <a:solidFill>
              <a:schemeClr val="bg1"/>
            </a:solidFill>
            <a:ln>
              <a:noFill/>
            </a:ln>
            <a:effectLst>
              <a:outerShdw blurRad="50800" dist="38100" algn="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59" name="Double Wave 158"/>
            <p:cNvSpPr/>
            <p:nvPr/>
          </p:nvSpPr>
          <p:spPr>
            <a:xfrm rot="2700000">
              <a:off x="395600" y="3495691"/>
              <a:ext cx="1350146" cy="569065"/>
            </a:xfrm>
            <a:prstGeom prst="doubleWave">
              <a:avLst>
                <a:gd name="adj1" fmla="val 12500"/>
                <a:gd name="adj2" fmla="val 0"/>
              </a:avLst>
            </a:prstGeom>
            <a:solidFill>
              <a:srgbClr val="0070C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60" name="Double Wave 159"/>
            <p:cNvSpPr/>
            <p:nvPr/>
          </p:nvSpPr>
          <p:spPr>
            <a:xfrm rot="2700000">
              <a:off x="654532" y="3495691"/>
              <a:ext cx="1350146" cy="569065"/>
            </a:xfrm>
            <a:prstGeom prst="doubleWave">
              <a:avLst>
                <a:gd name="adj1" fmla="val 12500"/>
                <a:gd name="adj2" fmla="val 0"/>
              </a:avLst>
            </a:prstGeom>
            <a:solidFill>
              <a:srgbClr val="0070C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61" name="Double Wave 160"/>
            <p:cNvSpPr/>
            <p:nvPr/>
          </p:nvSpPr>
          <p:spPr>
            <a:xfrm rot="2700000">
              <a:off x="915353" y="3495691"/>
              <a:ext cx="1350146" cy="569065"/>
            </a:xfrm>
            <a:prstGeom prst="doubleWave">
              <a:avLst>
                <a:gd name="adj1" fmla="val 12500"/>
                <a:gd name="adj2" fmla="val 0"/>
              </a:avLst>
            </a:prstGeom>
            <a:solidFill>
              <a:srgbClr val="0070C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62" name="Double Wave 161"/>
            <p:cNvSpPr/>
            <p:nvPr/>
          </p:nvSpPr>
          <p:spPr>
            <a:xfrm rot="2700000">
              <a:off x="1174287" y="3495691"/>
              <a:ext cx="1350146" cy="569065"/>
            </a:xfrm>
            <a:prstGeom prst="doubleWave">
              <a:avLst>
                <a:gd name="adj1" fmla="val 12500"/>
                <a:gd name="adj2" fmla="val 0"/>
              </a:avLst>
            </a:prstGeom>
            <a:solidFill>
              <a:srgbClr val="0070C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63" name="Flowchart: Manual Input 162"/>
            <p:cNvSpPr/>
            <p:nvPr/>
          </p:nvSpPr>
          <p:spPr>
            <a:xfrm flipH="1">
              <a:off x="408461" y="2647950"/>
              <a:ext cx="301480" cy="1524000"/>
            </a:xfrm>
            <a:prstGeom prst="flowChartManualInput">
              <a:avLst/>
            </a:prstGeom>
            <a:solidFill>
              <a:schemeClr val="bg1"/>
            </a:solidFill>
            <a:ln>
              <a:noFill/>
            </a:ln>
            <a:effectLst>
              <a:outerShdw blurRad="50800" dist="38100" algn="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grpSp>
    </p:spTree>
    <p:extLst>
      <p:ext uri="{BB962C8B-B14F-4D97-AF65-F5344CB8AC3E}">
        <p14:creationId xmlns:p14="http://schemas.microsoft.com/office/powerpoint/2010/main" val="1936528732"/>
      </p:ext>
    </p:extLst>
  </p:cSld>
  <p:clrMapOvr>
    <a:masterClrMapping/>
  </p:clrMapOvr>
  <mc:AlternateContent xmlns:mc="http://schemas.openxmlformats.org/markup-compatibility/2006" xmlns:p14="http://schemas.microsoft.com/office/powerpoint/2010/main">
    <mc:Choice Requires="p14">
      <p:transition spd="slow" p14:dur="2000">
        <p:push/>
      </p:transition>
    </mc:Choice>
    <mc:Fallback xmlns="">
      <p:transition spd="slow">
        <p:push/>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500"/>
                                  </p:stCondLst>
                                  <p:childTnLst>
                                    <p:set>
                                      <p:cBhvr>
                                        <p:cTn id="6" dur="1" fill="hold">
                                          <p:stCondLst>
                                            <p:cond delay="0"/>
                                          </p:stCondLst>
                                        </p:cTn>
                                        <p:tgtEl>
                                          <p:spTgt spid="2"/>
                                        </p:tgtEl>
                                        <p:attrNameLst>
                                          <p:attrName>style.visibility</p:attrName>
                                        </p:attrNameLst>
                                      </p:cBhvr>
                                      <p:to>
                                        <p:strVal val="visible"/>
                                      </p:to>
                                    </p:set>
                                    <p:animEffect transition="in" filter="wipe(left)">
                                      <p:cBhvr>
                                        <p:cTn id="7" dur="750"/>
                                        <p:tgtEl>
                                          <p:spTgt spid="2"/>
                                        </p:tgtEl>
                                      </p:cBhvr>
                                    </p:animEffect>
                                  </p:childTnLst>
                                </p:cTn>
                              </p:par>
                            </p:childTnLst>
                          </p:cTn>
                        </p:par>
                        <p:par>
                          <p:cTn id="8" fill="hold">
                            <p:stCondLst>
                              <p:cond delay="1250"/>
                            </p:stCondLst>
                            <p:childTnLst>
                              <p:par>
                                <p:cTn id="9" presetID="22" presetClass="entr" presetSubtype="2" fill="hold" grpId="1" nodeType="afterEffect">
                                  <p:stCondLst>
                                    <p:cond delay="1000"/>
                                  </p:stCondLst>
                                  <p:childTnLst>
                                    <p:set>
                                      <p:cBhvr>
                                        <p:cTn id="10" dur="1" fill="hold">
                                          <p:stCondLst>
                                            <p:cond delay="0"/>
                                          </p:stCondLst>
                                        </p:cTn>
                                        <p:tgtEl>
                                          <p:spTgt spid="2"/>
                                        </p:tgtEl>
                                        <p:attrNameLst>
                                          <p:attrName>style.visibility</p:attrName>
                                        </p:attrNameLst>
                                      </p:cBhvr>
                                      <p:to>
                                        <p:strVal val="visible"/>
                                      </p:to>
                                    </p:set>
                                    <p:animEffect transition="in" filter="wipe(right)">
                                      <p:cBhvr>
                                        <p:cTn id="11" dur="75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2" grpId="1" animBg="1"/>
    </p:bldLst>
  </p:timing>
</p:sld>
</file>

<file path=ppt/slides/slide9.xml><?xml version="1.0" encoding="utf-8"?>
<p:sld xmlns:a="http://schemas.openxmlformats.org/drawingml/2006/main" xmlns:r="http://schemas.openxmlformats.org/officeDocument/2006/relationships" xmlns:p="http://schemas.openxmlformats.org/presentationml/2006/main" showMasterSp="0">
  <p:cSld>
    <p:bg>
      <p:bgPr>
        <a:solidFill>
          <a:schemeClr val="bg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301556130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9710"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9" name="Picture 8"/>
          <p:cNvPicPr>
            <a:picLocks noChangeAspect="1"/>
          </p:cNvPicPr>
          <p:nvPr/>
        </p:nvPicPr>
        <p:blipFill rotWithShape="1">
          <a:blip r:embed="rId7" cstate="print">
            <a:extLst>
              <a:ext uri="{28A0092B-C50C-407E-A947-70E740481C1C}">
                <a14:useLocalDpi xmlns:a14="http://schemas.microsoft.com/office/drawing/2010/main" val="0"/>
              </a:ext>
            </a:extLst>
          </a:blip>
          <a:srcRect l="24175" r="17528" b="16084"/>
          <a:stretch/>
        </p:blipFill>
        <p:spPr>
          <a:xfrm>
            <a:off x="0" y="7937"/>
            <a:ext cx="9144000" cy="5135563"/>
          </a:xfrm>
          <a:prstGeom prst="rect">
            <a:avLst/>
          </a:prstGeom>
        </p:spPr>
      </p:pic>
      <p:sp>
        <p:nvSpPr>
          <p:cNvPr id="2" name="AutoShape 108" descr="Displaying image001.png"/>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pic>
        <p:nvPicPr>
          <p:cNvPr id="1133" name="Picture 109"/>
          <p:cNvPicPr>
            <a:picLocks noChangeAspect="1" noChangeArrowheads="1"/>
          </p:cNvPicPr>
          <p:nvPr/>
        </p:nvPicPr>
        <p:blipFill rotWithShape="1">
          <a:blip r:embed="rId8">
            <a:extLst>
              <a:ext uri="{28A0092B-C50C-407E-A947-70E740481C1C}">
                <a14:useLocalDpi xmlns:a14="http://schemas.microsoft.com/office/drawing/2010/main" val="0"/>
              </a:ext>
            </a:extLst>
          </a:blip>
          <a:srcRect l="18613" r="18613"/>
          <a:stretch/>
        </p:blipFill>
        <p:spPr bwMode="auto">
          <a:xfrm>
            <a:off x="10058400" y="-558061"/>
            <a:ext cx="3130209" cy="280262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12" name="Circular Arrow 1141"/>
          <p:cNvSpPr/>
          <p:nvPr/>
        </p:nvSpPr>
        <p:spPr>
          <a:xfrm rot="12066408" flipH="1">
            <a:off x="3798082" y="3010765"/>
            <a:ext cx="669380" cy="403072"/>
          </a:xfrm>
          <a:custGeom>
            <a:avLst/>
            <a:gdLst>
              <a:gd name="connsiteX0" fmla="*/ 45163 w 1479038"/>
              <a:gd name="connsiteY0" fmla="*/ 489204 h 978408"/>
              <a:gd name="connsiteX1" fmla="*/ 634256 w 1479038"/>
              <a:gd name="connsiteY1" fmla="*/ 50295 h 978408"/>
              <a:gd name="connsiteX2" fmla="*/ 1282824 w 1479038"/>
              <a:gd name="connsiteY2" fmla="*/ 212698 h 978408"/>
              <a:gd name="connsiteX3" fmla="*/ 1314409 w 1479038"/>
              <a:gd name="connsiteY3" fmla="*/ 203822 h 978408"/>
              <a:gd name="connsiteX4" fmla="*/ 1320914 w 1479038"/>
              <a:gd name="connsiteY4" fmla="*/ 325817 h 978408"/>
              <a:gd name="connsiteX5" fmla="*/ 1123369 w 1479038"/>
              <a:gd name="connsiteY5" fmla="*/ 257509 h 978408"/>
              <a:gd name="connsiteX6" fmla="*/ 1150780 w 1479038"/>
              <a:gd name="connsiteY6" fmla="*/ 249806 h 978408"/>
              <a:gd name="connsiteX7" fmla="*/ 649931 w 1479038"/>
              <a:gd name="connsiteY7" fmla="*/ 157223 h 978408"/>
              <a:gd name="connsiteX8" fmla="*/ 153277 w 1479038"/>
              <a:gd name="connsiteY8" fmla="*/ 489204 h 978408"/>
              <a:gd name="connsiteX9" fmla="*/ 45163 w 1479038"/>
              <a:gd name="connsiteY9" fmla="*/ 489204 h 978408"/>
              <a:gd name="connsiteX0" fmla="*/ 0 w 1326470"/>
              <a:gd name="connsiteY0" fmla="*/ 323078 h 444591"/>
              <a:gd name="connsiteX1" fmla="*/ 639812 w 1326470"/>
              <a:gd name="connsiteY1" fmla="*/ 5682 h 444591"/>
              <a:gd name="connsiteX2" fmla="*/ 1288380 w 1326470"/>
              <a:gd name="connsiteY2" fmla="*/ 168085 h 444591"/>
              <a:gd name="connsiteX3" fmla="*/ 1319965 w 1326470"/>
              <a:gd name="connsiteY3" fmla="*/ 159209 h 444591"/>
              <a:gd name="connsiteX4" fmla="*/ 1326470 w 1326470"/>
              <a:gd name="connsiteY4" fmla="*/ 281204 h 444591"/>
              <a:gd name="connsiteX5" fmla="*/ 1128925 w 1326470"/>
              <a:gd name="connsiteY5" fmla="*/ 212896 h 444591"/>
              <a:gd name="connsiteX6" fmla="*/ 1156336 w 1326470"/>
              <a:gd name="connsiteY6" fmla="*/ 205193 h 444591"/>
              <a:gd name="connsiteX7" fmla="*/ 655487 w 1326470"/>
              <a:gd name="connsiteY7" fmla="*/ 112610 h 444591"/>
              <a:gd name="connsiteX8" fmla="*/ 158833 w 1326470"/>
              <a:gd name="connsiteY8" fmla="*/ 444591 h 444591"/>
              <a:gd name="connsiteX9" fmla="*/ 0 w 1326470"/>
              <a:gd name="connsiteY9" fmla="*/ 323078 h 444591"/>
              <a:gd name="connsiteX0" fmla="*/ 0 w 1326470"/>
              <a:gd name="connsiteY0" fmla="*/ 323078 h 710688"/>
              <a:gd name="connsiteX1" fmla="*/ 639812 w 1326470"/>
              <a:gd name="connsiteY1" fmla="*/ 5682 h 710688"/>
              <a:gd name="connsiteX2" fmla="*/ 1288380 w 1326470"/>
              <a:gd name="connsiteY2" fmla="*/ 168085 h 710688"/>
              <a:gd name="connsiteX3" fmla="*/ 1319965 w 1326470"/>
              <a:gd name="connsiteY3" fmla="*/ 159209 h 710688"/>
              <a:gd name="connsiteX4" fmla="*/ 1326470 w 1326470"/>
              <a:gd name="connsiteY4" fmla="*/ 281204 h 710688"/>
              <a:gd name="connsiteX5" fmla="*/ 1128925 w 1326470"/>
              <a:gd name="connsiteY5" fmla="*/ 212896 h 710688"/>
              <a:gd name="connsiteX6" fmla="*/ 1156336 w 1326470"/>
              <a:gd name="connsiteY6" fmla="*/ 205193 h 710688"/>
              <a:gd name="connsiteX7" fmla="*/ 655487 w 1326470"/>
              <a:gd name="connsiteY7" fmla="*/ 112610 h 710688"/>
              <a:gd name="connsiteX8" fmla="*/ 261974 w 1326470"/>
              <a:gd name="connsiteY8" fmla="*/ 710688 h 710688"/>
              <a:gd name="connsiteX9" fmla="*/ 0 w 1326470"/>
              <a:gd name="connsiteY9" fmla="*/ 323078 h 710688"/>
              <a:gd name="connsiteX0" fmla="*/ 0 w 1295534"/>
              <a:gd name="connsiteY0" fmla="*/ 301145 h 709595"/>
              <a:gd name="connsiteX1" fmla="*/ 608876 w 1295534"/>
              <a:gd name="connsiteY1" fmla="*/ 4589 h 709595"/>
              <a:gd name="connsiteX2" fmla="*/ 1257444 w 1295534"/>
              <a:gd name="connsiteY2" fmla="*/ 166992 h 709595"/>
              <a:gd name="connsiteX3" fmla="*/ 1289029 w 1295534"/>
              <a:gd name="connsiteY3" fmla="*/ 158116 h 709595"/>
              <a:gd name="connsiteX4" fmla="*/ 1295534 w 1295534"/>
              <a:gd name="connsiteY4" fmla="*/ 280111 h 709595"/>
              <a:gd name="connsiteX5" fmla="*/ 1097989 w 1295534"/>
              <a:gd name="connsiteY5" fmla="*/ 211803 h 709595"/>
              <a:gd name="connsiteX6" fmla="*/ 1125400 w 1295534"/>
              <a:gd name="connsiteY6" fmla="*/ 204100 h 709595"/>
              <a:gd name="connsiteX7" fmla="*/ 624551 w 1295534"/>
              <a:gd name="connsiteY7" fmla="*/ 111517 h 709595"/>
              <a:gd name="connsiteX8" fmla="*/ 231038 w 1295534"/>
              <a:gd name="connsiteY8" fmla="*/ 709595 h 709595"/>
              <a:gd name="connsiteX9" fmla="*/ 0 w 1295534"/>
              <a:gd name="connsiteY9" fmla="*/ 301145 h 709595"/>
              <a:gd name="connsiteX0" fmla="*/ 0 w 1295534"/>
              <a:gd name="connsiteY0" fmla="*/ 301145 h 709595"/>
              <a:gd name="connsiteX1" fmla="*/ 608876 w 1295534"/>
              <a:gd name="connsiteY1" fmla="*/ 4589 h 709595"/>
              <a:gd name="connsiteX2" fmla="*/ 1257444 w 1295534"/>
              <a:gd name="connsiteY2" fmla="*/ 166992 h 709595"/>
              <a:gd name="connsiteX3" fmla="*/ 1289029 w 1295534"/>
              <a:gd name="connsiteY3" fmla="*/ 158116 h 709595"/>
              <a:gd name="connsiteX4" fmla="*/ 1295534 w 1295534"/>
              <a:gd name="connsiteY4" fmla="*/ 280111 h 709595"/>
              <a:gd name="connsiteX5" fmla="*/ 1097989 w 1295534"/>
              <a:gd name="connsiteY5" fmla="*/ 211803 h 709595"/>
              <a:gd name="connsiteX6" fmla="*/ 1125400 w 1295534"/>
              <a:gd name="connsiteY6" fmla="*/ 204100 h 709595"/>
              <a:gd name="connsiteX7" fmla="*/ 635822 w 1295534"/>
              <a:gd name="connsiteY7" fmla="*/ 138521 h 709595"/>
              <a:gd name="connsiteX8" fmla="*/ 231038 w 1295534"/>
              <a:gd name="connsiteY8" fmla="*/ 709595 h 709595"/>
              <a:gd name="connsiteX9" fmla="*/ 0 w 1295534"/>
              <a:gd name="connsiteY9" fmla="*/ 301145 h 709595"/>
              <a:gd name="connsiteX0" fmla="*/ 0 w 1431723"/>
              <a:gd name="connsiteY0" fmla="*/ 301145 h 709595"/>
              <a:gd name="connsiteX1" fmla="*/ 608876 w 1431723"/>
              <a:gd name="connsiteY1" fmla="*/ 4589 h 709595"/>
              <a:gd name="connsiteX2" fmla="*/ 1257444 w 1431723"/>
              <a:gd name="connsiteY2" fmla="*/ 166992 h 709595"/>
              <a:gd name="connsiteX3" fmla="*/ 1289029 w 1431723"/>
              <a:gd name="connsiteY3" fmla="*/ 158116 h 709595"/>
              <a:gd name="connsiteX4" fmla="*/ 1431723 w 1431723"/>
              <a:gd name="connsiteY4" fmla="*/ 302535 h 709595"/>
              <a:gd name="connsiteX5" fmla="*/ 1097989 w 1431723"/>
              <a:gd name="connsiteY5" fmla="*/ 211803 h 709595"/>
              <a:gd name="connsiteX6" fmla="*/ 1125400 w 1431723"/>
              <a:gd name="connsiteY6" fmla="*/ 204100 h 709595"/>
              <a:gd name="connsiteX7" fmla="*/ 635822 w 1431723"/>
              <a:gd name="connsiteY7" fmla="*/ 138521 h 709595"/>
              <a:gd name="connsiteX8" fmla="*/ 231038 w 1431723"/>
              <a:gd name="connsiteY8" fmla="*/ 709595 h 709595"/>
              <a:gd name="connsiteX9" fmla="*/ 0 w 1431723"/>
              <a:gd name="connsiteY9" fmla="*/ 301145 h 709595"/>
              <a:gd name="connsiteX0" fmla="*/ 0 w 1431723"/>
              <a:gd name="connsiteY0" fmla="*/ 301145 h 709595"/>
              <a:gd name="connsiteX1" fmla="*/ 608876 w 1431723"/>
              <a:gd name="connsiteY1" fmla="*/ 4589 h 709595"/>
              <a:gd name="connsiteX2" fmla="*/ 1257444 w 1431723"/>
              <a:gd name="connsiteY2" fmla="*/ 166992 h 709595"/>
              <a:gd name="connsiteX3" fmla="*/ 1289498 w 1431723"/>
              <a:gd name="connsiteY3" fmla="*/ 7310 h 709595"/>
              <a:gd name="connsiteX4" fmla="*/ 1431723 w 1431723"/>
              <a:gd name="connsiteY4" fmla="*/ 302535 h 709595"/>
              <a:gd name="connsiteX5" fmla="*/ 1097989 w 1431723"/>
              <a:gd name="connsiteY5" fmla="*/ 211803 h 709595"/>
              <a:gd name="connsiteX6" fmla="*/ 1125400 w 1431723"/>
              <a:gd name="connsiteY6" fmla="*/ 204100 h 709595"/>
              <a:gd name="connsiteX7" fmla="*/ 635822 w 1431723"/>
              <a:gd name="connsiteY7" fmla="*/ 138521 h 709595"/>
              <a:gd name="connsiteX8" fmla="*/ 231038 w 1431723"/>
              <a:gd name="connsiteY8" fmla="*/ 709595 h 709595"/>
              <a:gd name="connsiteX9" fmla="*/ 0 w 1431723"/>
              <a:gd name="connsiteY9" fmla="*/ 301145 h 709595"/>
              <a:gd name="connsiteX0" fmla="*/ 0 w 1431723"/>
              <a:gd name="connsiteY0" fmla="*/ 301145 h 709595"/>
              <a:gd name="connsiteX1" fmla="*/ 608876 w 1431723"/>
              <a:gd name="connsiteY1" fmla="*/ 4589 h 709595"/>
              <a:gd name="connsiteX2" fmla="*/ 1257444 w 1431723"/>
              <a:gd name="connsiteY2" fmla="*/ 166992 h 709595"/>
              <a:gd name="connsiteX3" fmla="*/ 1289498 w 1431723"/>
              <a:gd name="connsiteY3" fmla="*/ 7310 h 709595"/>
              <a:gd name="connsiteX4" fmla="*/ 1431723 w 1431723"/>
              <a:gd name="connsiteY4" fmla="*/ 302535 h 709595"/>
              <a:gd name="connsiteX5" fmla="*/ 1203049 w 1431723"/>
              <a:gd name="connsiteY5" fmla="*/ 376961 h 709595"/>
              <a:gd name="connsiteX6" fmla="*/ 1125400 w 1431723"/>
              <a:gd name="connsiteY6" fmla="*/ 204100 h 709595"/>
              <a:gd name="connsiteX7" fmla="*/ 635822 w 1431723"/>
              <a:gd name="connsiteY7" fmla="*/ 138521 h 709595"/>
              <a:gd name="connsiteX8" fmla="*/ 231038 w 1431723"/>
              <a:gd name="connsiteY8" fmla="*/ 709595 h 709595"/>
              <a:gd name="connsiteX9" fmla="*/ 0 w 1431723"/>
              <a:gd name="connsiteY9" fmla="*/ 301145 h 709595"/>
              <a:gd name="connsiteX0" fmla="*/ 0 w 1431723"/>
              <a:gd name="connsiteY0" fmla="*/ 301145 h 709595"/>
              <a:gd name="connsiteX1" fmla="*/ 608876 w 1431723"/>
              <a:gd name="connsiteY1" fmla="*/ 4589 h 709595"/>
              <a:gd name="connsiteX2" fmla="*/ 1257444 w 1431723"/>
              <a:gd name="connsiteY2" fmla="*/ 166992 h 709595"/>
              <a:gd name="connsiteX3" fmla="*/ 1289498 w 1431723"/>
              <a:gd name="connsiteY3" fmla="*/ 7310 h 709595"/>
              <a:gd name="connsiteX4" fmla="*/ 1431723 w 1431723"/>
              <a:gd name="connsiteY4" fmla="*/ 302535 h 709595"/>
              <a:gd name="connsiteX5" fmla="*/ 1203049 w 1431723"/>
              <a:gd name="connsiteY5" fmla="*/ 376961 h 709595"/>
              <a:gd name="connsiteX6" fmla="*/ 1212422 w 1431723"/>
              <a:gd name="connsiteY6" fmla="*/ 227126 h 709595"/>
              <a:gd name="connsiteX7" fmla="*/ 635822 w 1431723"/>
              <a:gd name="connsiteY7" fmla="*/ 138521 h 709595"/>
              <a:gd name="connsiteX8" fmla="*/ 231038 w 1431723"/>
              <a:gd name="connsiteY8" fmla="*/ 709595 h 709595"/>
              <a:gd name="connsiteX9" fmla="*/ 0 w 1431723"/>
              <a:gd name="connsiteY9" fmla="*/ 301145 h 709595"/>
              <a:gd name="connsiteX0" fmla="*/ 0 w 1431723"/>
              <a:gd name="connsiteY0" fmla="*/ 301145 h 709595"/>
              <a:gd name="connsiteX1" fmla="*/ 608876 w 1431723"/>
              <a:gd name="connsiteY1" fmla="*/ 4589 h 709595"/>
              <a:gd name="connsiteX2" fmla="*/ 1257444 w 1431723"/>
              <a:gd name="connsiteY2" fmla="*/ 166992 h 709595"/>
              <a:gd name="connsiteX3" fmla="*/ 1295868 w 1431723"/>
              <a:gd name="connsiteY3" fmla="*/ 39056 h 709595"/>
              <a:gd name="connsiteX4" fmla="*/ 1431723 w 1431723"/>
              <a:gd name="connsiteY4" fmla="*/ 302535 h 709595"/>
              <a:gd name="connsiteX5" fmla="*/ 1203049 w 1431723"/>
              <a:gd name="connsiteY5" fmla="*/ 376961 h 709595"/>
              <a:gd name="connsiteX6" fmla="*/ 1212422 w 1431723"/>
              <a:gd name="connsiteY6" fmla="*/ 227126 h 709595"/>
              <a:gd name="connsiteX7" fmla="*/ 635822 w 1431723"/>
              <a:gd name="connsiteY7" fmla="*/ 138521 h 709595"/>
              <a:gd name="connsiteX8" fmla="*/ 231038 w 1431723"/>
              <a:gd name="connsiteY8" fmla="*/ 709595 h 709595"/>
              <a:gd name="connsiteX9" fmla="*/ 0 w 1431723"/>
              <a:gd name="connsiteY9" fmla="*/ 301145 h 709595"/>
              <a:gd name="connsiteX0" fmla="*/ 0 w 1536745"/>
              <a:gd name="connsiteY0" fmla="*/ 301145 h 709595"/>
              <a:gd name="connsiteX1" fmla="*/ 608876 w 1536745"/>
              <a:gd name="connsiteY1" fmla="*/ 4589 h 709595"/>
              <a:gd name="connsiteX2" fmla="*/ 1257444 w 1536745"/>
              <a:gd name="connsiteY2" fmla="*/ 166992 h 709595"/>
              <a:gd name="connsiteX3" fmla="*/ 1295868 w 1536745"/>
              <a:gd name="connsiteY3" fmla="*/ 39056 h 709595"/>
              <a:gd name="connsiteX4" fmla="*/ 1536745 w 1536745"/>
              <a:gd name="connsiteY4" fmla="*/ 306866 h 709595"/>
              <a:gd name="connsiteX5" fmla="*/ 1203049 w 1536745"/>
              <a:gd name="connsiteY5" fmla="*/ 376961 h 709595"/>
              <a:gd name="connsiteX6" fmla="*/ 1212422 w 1536745"/>
              <a:gd name="connsiteY6" fmla="*/ 227126 h 709595"/>
              <a:gd name="connsiteX7" fmla="*/ 635822 w 1536745"/>
              <a:gd name="connsiteY7" fmla="*/ 138521 h 709595"/>
              <a:gd name="connsiteX8" fmla="*/ 231038 w 1536745"/>
              <a:gd name="connsiteY8" fmla="*/ 709595 h 709595"/>
              <a:gd name="connsiteX9" fmla="*/ 0 w 1536745"/>
              <a:gd name="connsiteY9" fmla="*/ 301145 h 709595"/>
              <a:gd name="connsiteX0" fmla="*/ 0 w 1536745"/>
              <a:gd name="connsiteY0" fmla="*/ 301145 h 709595"/>
              <a:gd name="connsiteX1" fmla="*/ 608876 w 1536745"/>
              <a:gd name="connsiteY1" fmla="*/ 4589 h 709595"/>
              <a:gd name="connsiteX2" fmla="*/ 1257444 w 1536745"/>
              <a:gd name="connsiteY2" fmla="*/ 166992 h 709595"/>
              <a:gd name="connsiteX3" fmla="*/ 1295868 w 1536745"/>
              <a:gd name="connsiteY3" fmla="*/ 39056 h 709595"/>
              <a:gd name="connsiteX4" fmla="*/ 1536745 w 1536745"/>
              <a:gd name="connsiteY4" fmla="*/ 306866 h 709595"/>
              <a:gd name="connsiteX5" fmla="*/ 1203049 w 1536745"/>
              <a:gd name="connsiteY5" fmla="*/ 376961 h 709595"/>
              <a:gd name="connsiteX6" fmla="*/ 1225620 w 1536745"/>
              <a:gd name="connsiteY6" fmla="*/ 242260 h 709595"/>
              <a:gd name="connsiteX7" fmla="*/ 635822 w 1536745"/>
              <a:gd name="connsiteY7" fmla="*/ 138521 h 709595"/>
              <a:gd name="connsiteX8" fmla="*/ 231038 w 1536745"/>
              <a:gd name="connsiteY8" fmla="*/ 709595 h 709595"/>
              <a:gd name="connsiteX9" fmla="*/ 0 w 1536745"/>
              <a:gd name="connsiteY9" fmla="*/ 301145 h 709595"/>
              <a:gd name="connsiteX0" fmla="*/ 0 w 1495019"/>
              <a:gd name="connsiteY0" fmla="*/ 259247 h 707673"/>
              <a:gd name="connsiteX1" fmla="*/ 567150 w 1495019"/>
              <a:gd name="connsiteY1" fmla="*/ 2667 h 707673"/>
              <a:gd name="connsiteX2" fmla="*/ 1215718 w 1495019"/>
              <a:gd name="connsiteY2" fmla="*/ 165070 h 707673"/>
              <a:gd name="connsiteX3" fmla="*/ 1254142 w 1495019"/>
              <a:gd name="connsiteY3" fmla="*/ 37134 h 707673"/>
              <a:gd name="connsiteX4" fmla="*/ 1495019 w 1495019"/>
              <a:gd name="connsiteY4" fmla="*/ 304944 h 707673"/>
              <a:gd name="connsiteX5" fmla="*/ 1161323 w 1495019"/>
              <a:gd name="connsiteY5" fmla="*/ 375039 h 707673"/>
              <a:gd name="connsiteX6" fmla="*/ 1183894 w 1495019"/>
              <a:gd name="connsiteY6" fmla="*/ 240338 h 707673"/>
              <a:gd name="connsiteX7" fmla="*/ 594096 w 1495019"/>
              <a:gd name="connsiteY7" fmla="*/ 136599 h 707673"/>
              <a:gd name="connsiteX8" fmla="*/ 189312 w 1495019"/>
              <a:gd name="connsiteY8" fmla="*/ 707673 h 707673"/>
              <a:gd name="connsiteX9" fmla="*/ 0 w 1495019"/>
              <a:gd name="connsiteY9" fmla="*/ 259247 h 707673"/>
              <a:gd name="connsiteX0" fmla="*/ 0 w 1495019"/>
              <a:gd name="connsiteY0" fmla="*/ 259247 h 707673"/>
              <a:gd name="connsiteX1" fmla="*/ 567150 w 1495019"/>
              <a:gd name="connsiteY1" fmla="*/ 2667 h 707673"/>
              <a:gd name="connsiteX2" fmla="*/ 1215718 w 1495019"/>
              <a:gd name="connsiteY2" fmla="*/ 165070 h 707673"/>
              <a:gd name="connsiteX3" fmla="*/ 1254142 w 1495019"/>
              <a:gd name="connsiteY3" fmla="*/ 37134 h 707673"/>
              <a:gd name="connsiteX4" fmla="*/ 1495019 w 1495019"/>
              <a:gd name="connsiteY4" fmla="*/ 304944 h 707673"/>
              <a:gd name="connsiteX5" fmla="*/ 1161323 w 1495019"/>
              <a:gd name="connsiteY5" fmla="*/ 375039 h 707673"/>
              <a:gd name="connsiteX6" fmla="*/ 1183894 w 1495019"/>
              <a:gd name="connsiteY6" fmla="*/ 240338 h 707673"/>
              <a:gd name="connsiteX7" fmla="*/ 594096 w 1495019"/>
              <a:gd name="connsiteY7" fmla="*/ 136599 h 707673"/>
              <a:gd name="connsiteX8" fmla="*/ 189312 w 1495019"/>
              <a:gd name="connsiteY8" fmla="*/ 707673 h 707673"/>
              <a:gd name="connsiteX9" fmla="*/ 0 w 1495019"/>
              <a:gd name="connsiteY9" fmla="*/ 259247 h 707673"/>
              <a:gd name="connsiteX0" fmla="*/ 0 w 1446887"/>
              <a:gd name="connsiteY0" fmla="*/ 259247 h 707673"/>
              <a:gd name="connsiteX1" fmla="*/ 567150 w 1446887"/>
              <a:gd name="connsiteY1" fmla="*/ 2667 h 707673"/>
              <a:gd name="connsiteX2" fmla="*/ 1215718 w 1446887"/>
              <a:gd name="connsiteY2" fmla="*/ 165070 h 707673"/>
              <a:gd name="connsiteX3" fmla="*/ 1254142 w 1446887"/>
              <a:gd name="connsiteY3" fmla="*/ 37134 h 707673"/>
              <a:gd name="connsiteX4" fmla="*/ 1446886 w 1446887"/>
              <a:gd name="connsiteY4" fmla="*/ 484699 h 707673"/>
              <a:gd name="connsiteX5" fmla="*/ 1161323 w 1446887"/>
              <a:gd name="connsiteY5" fmla="*/ 375039 h 707673"/>
              <a:gd name="connsiteX6" fmla="*/ 1183894 w 1446887"/>
              <a:gd name="connsiteY6" fmla="*/ 240338 h 707673"/>
              <a:gd name="connsiteX7" fmla="*/ 594096 w 1446887"/>
              <a:gd name="connsiteY7" fmla="*/ 136599 h 707673"/>
              <a:gd name="connsiteX8" fmla="*/ 189312 w 1446887"/>
              <a:gd name="connsiteY8" fmla="*/ 707673 h 707673"/>
              <a:gd name="connsiteX9" fmla="*/ 0 w 1446887"/>
              <a:gd name="connsiteY9" fmla="*/ 259247 h 707673"/>
              <a:gd name="connsiteX0" fmla="*/ 0 w 1446887"/>
              <a:gd name="connsiteY0" fmla="*/ 259247 h 707673"/>
              <a:gd name="connsiteX1" fmla="*/ 567150 w 1446887"/>
              <a:gd name="connsiteY1" fmla="*/ 2667 h 707673"/>
              <a:gd name="connsiteX2" fmla="*/ 1215718 w 1446887"/>
              <a:gd name="connsiteY2" fmla="*/ 165070 h 707673"/>
              <a:gd name="connsiteX3" fmla="*/ 1254142 w 1446887"/>
              <a:gd name="connsiteY3" fmla="*/ 37134 h 707673"/>
              <a:gd name="connsiteX4" fmla="*/ 1446886 w 1446887"/>
              <a:gd name="connsiteY4" fmla="*/ 484699 h 707673"/>
              <a:gd name="connsiteX5" fmla="*/ 1052397 w 1446887"/>
              <a:gd name="connsiteY5" fmla="*/ 467296 h 707673"/>
              <a:gd name="connsiteX6" fmla="*/ 1183894 w 1446887"/>
              <a:gd name="connsiteY6" fmla="*/ 240338 h 707673"/>
              <a:gd name="connsiteX7" fmla="*/ 594096 w 1446887"/>
              <a:gd name="connsiteY7" fmla="*/ 136599 h 707673"/>
              <a:gd name="connsiteX8" fmla="*/ 189312 w 1446887"/>
              <a:gd name="connsiteY8" fmla="*/ 707673 h 707673"/>
              <a:gd name="connsiteX9" fmla="*/ 0 w 1446887"/>
              <a:gd name="connsiteY9" fmla="*/ 259247 h 707673"/>
              <a:gd name="connsiteX0" fmla="*/ 0 w 1446887"/>
              <a:gd name="connsiteY0" fmla="*/ 259247 h 707673"/>
              <a:gd name="connsiteX1" fmla="*/ 567150 w 1446887"/>
              <a:gd name="connsiteY1" fmla="*/ 2667 h 707673"/>
              <a:gd name="connsiteX2" fmla="*/ 1215718 w 1446887"/>
              <a:gd name="connsiteY2" fmla="*/ 165070 h 707673"/>
              <a:gd name="connsiteX3" fmla="*/ 1315614 w 1446887"/>
              <a:gd name="connsiteY3" fmla="*/ 59199 h 707673"/>
              <a:gd name="connsiteX4" fmla="*/ 1446886 w 1446887"/>
              <a:gd name="connsiteY4" fmla="*/ 484699 h 707673"/>
              <a:gd name="connsiteX5" fmla="*/ 1052397 w 1446887"/>
              <a:gd name="connsiteY5" fmla="*/ 467296 h 707673"/>
              <a:gd name="connsiteX6" fmla="*/ 1183894 w 1446887"/>
              <a:gd name="connsiteY6" fmla="*/ 240338 h 707673"/>
              <a:gd name="connsiteX7" fmla="*/ 594096 w 1446887"/>
              <a:gd name="connsiteY7" fmla="*/ 136599 h 707673"/>
              <a:gd name="connsiteX8" fmla="*/ 189312 w 1446887"/>
              <a:gd name="connsiteY8" fmla="*/ 707673 h 707673"/>
              <a:gd name="connsiteX9" fmla="*/ 0 w 1446887"/>
              <a:gd name="connsiteY9" fmla="*/ 259247 h 707673"/>
              <a:gd name="connsiteX0" fmla="*/ 0 w 1446887"/>
              <a:gd name="connsiteY0" fmla="*/ 259247 h 707673"/>
              <a:gd name="connsiteX1" fmla="*/ 567150 w 1446887"/>
              <a:gd name="connsiteY1" fmla="*/ 2667 h 707673"/>
              <a:gd name="connsiteX2" fmla="*/ 1215718 w 1446887"/>
              <a:gd name="connsiteY2" fmla="*/ 165070 h 707673"/>
              <a:gd name="connsiteX3" fmla="*/ 1315614 w 1446887"/>
              <a:gd name="connsiteY3" fmla="*/ 59199 h 707673"/>
              <a:gd name="connsiteX4" fmla="*/ 1446886 w 1446887"/>
              <a:gd name="connsiteY4" fmla="*/ 484699 h 707673"/>
              <a:gd name="connsiteX5" fmla="*/ 1052397 w 1446887"/>
              <a:gd name="connsiteY5" fmla="*/ 467296 h 707673"/>
              <a:gd name="connsiteX6" fmla="*/ 1100987 w 1446887"/>
              <a:gd name="connsiteY6" fmla="*/ 333724 h 707673"/>
              <a:gd name="connsiteX7" fmla="*/ 594096 w 1446887"/>
              <a:gd name="connsiteY7" fmla="*/ 136599 h 707673"/>
              <a:gd name="connsiteX8" fmla="*/ 189312 w 1446887"/>
              <a:gd name="connsiteY8" fmla="*/ 707673 h 707673"/>
              <a:gd name="connsiteX9" fmla="*/ 0 w 1446887"/>
              <a:gd name="connsiteY9" fmla="*/ 259247 h 707673"/>
              <a:gd name="connsiteX0" fmla="*/ 0 w 1446887"/>
              <a:gd name="connsiteY0" fmla="*/ 259247 h 707673"/>
              <a:gd name="connsiteX1" fmla="*/ 567150 w 1446887"/>
              <a:gd name="connsiteY1" fmla="*/ 2667 h 707673"/>
              <a:gd name="connsiteX2" fmla="*/ 1215718 w 1446887"/>
              <a:gd name="connsiteY2" fmla="*/ 165070 h 707673"/>
              <a:gd name="connsiteX3" fmla="*/ 1315614 w 1446887"/>
              <a:gd name="connsiteY3" fmla="*/ 59199 h 707673"/>
              <a:gd name="connsiteX4" fmla="*/ 1446886 w 1446887"/>
              <a:gd name="connsiteY4" fmla="*/ 484699 h 707673"/>
              <a:gd name="connsiteX5" fmla="*/ 1052397 w 1446887"/>
              <a:gd name="connsiteY5" fmla="*/ 467296 h 707673"/>
              <a:gd name="connsiteX6" fmla="*/ 1134153 w 1446887"/>
              <a:gd name="connsiteY6" fmla="*/ 296370 h 707673"/>
              <a:gd name="connsiteX7" fmla="*/ 594096 w 1446887"/>
              <a:gd name="connsiteY7" fmla="*/ 136599 h 707673"/>
              <a:gd name="connsiteX8" fmla="*/ 189312 w 1446887"/>
              <a:gd name="connsiteY8" fmla="*/ 707673 h 707673"/>
              <a:gd name="connsiteX9" fmla="*/ 0 w 1446887"/>
              <a:gd name="connsiteY9" fmla="*/ 259247 h 707673"/>
              <a:gd name="connsiteX0" fmla="*/ 0 w 1446887"/>
              <a:gd name="connsiteY0" fmla="*/ 352870 h 801296"/>
              <a:gd name="connsiteX1" fmla="*/ 553674 w 1446887"/>
              <a:gd name="connsiteY1" fmla="*/ 1146 h 801296"/>
              <a:gd name="connsiteX2" fmla="*/ 1215718 w 1446887"/>
              <a:gd name="connsiteY2" fmla="*/ 258693 h 801296"/>
              <a:gd name="connsiteX3" fmla="*/ 1315614 w 1446887"/>
              <a:gd name="connsiteY3" fmla="*/ 152822 h 801296"/>
              <a:gd name="connsiteX4" fmla="*/ 1446886 w 1446887"/>
              <a:gd name="connsiteY4" fmla="*/ 578322 h 801296"/>
              <a:gd name="connsiteX5" fmla="*/ 1052397 w 1446887"/>
              <a:gd name="connsiteY5" fmla="*/ 560919 h 801296"/>
              <a:gd name="connsiteX6" fmla="*/ 1134153 w 1446887"/>
              <a:gd name="connsiteY6" fmla="*/ 389993 h 801296"/>
              <a:gd name="connsiteX7" fmla="*/ 594096 w 1446887"/>
              <a:gd name="connsiteY7" fmla="*/ 230222 h 801296"/>
              <a:gd name="connsiteX8" fmla="*/ 189312 w 1446887"/>
              <a:gd name="connsiteY8" fmla="*/ 801296 h 801296"/>
              <a:gd name="connsiteX9" fmla="*/ 0 w 1446887"/>
              <a:gd name="connsiteY9" fmla="*/ 352870 h 801296"/>
              <a:gd name="connsiteX0" fmla="*/ 1 w 1381237"/>
              <a:gd name="connsiteY0" fmla="*/ 343398 h 801098"/>
              <a:gd name="connsiteX1" fmla="*/ 488024 w 1381237"/>
              <a:gd name="connsiteY1" fmla="*/ 948 h 801098"/>
              <a:gd name="connsiteX2" fmla="*/ 1150068 w 1381237"/>
              <a:gd name="connsiteY2" fmla="*/ 258495 h 801098"/>
              <a:gd name="connsiteX3" fmla="*/ 1249964 w 1381237"/>
              <a:gd name="connsiteY3" fmla="*/ 152624 h 801098"/>
              <a:gd name="connsiteX4" fmla="*/ 1381236 w 1381237"/>
              <a:gd name="connsiteY4" fmla="*/ 578124 h 801098"/>
              <a:gd name="connsiteX5" fmla="*/ 986747 w 1381237"/>
              <a:gd name="connsiteY5" fmla="*/ 560721 h 801098"/>
              <a:gd name="connsiteX6" fmla="*/ 1068503 w 1381237"/>
              <a:gd name="connsiteY6" fmla="*/ 389795 h 801098"/>
              <a:gd name="connsiteX7" fmla="*/ 528446 w 1381237"/>
              <a:gd name="connsiteY7" fmla="*/ 230024 h 801098"/>
              <a:gd name="connsiteX8" fmla="*/ 123662 w 1381237"/>
              <a:gd name="connsiteY8" fmla="*/ 801098 h 801098"/>
              <a:gd name="connsiteX9" fmla="*/ 1 w 1381237"/>
              <a:gd name="connsiteY9" fmla="*/ 343398 h 801098"/>
              <a:gd name="connsiteX0" fmla="*/ 1 w 1369789"/>
              <a:gd name="connsiteY0" fmla="*/ 343398 h 801098"/>
              <a:gd name="connsiteX1" fmla="*/ 488024 w 1369789"/>
              <a:gd name="connsiteY1" fmla="*/ 948 h 801098"/>
              <a:gd name="connsiteX2" fmla="*/ 1150068 w 1369789"/>
              <a:gd name="connsiteY2" fmla="*/ 258495 h 801098"/>
              <a:gd name="connsiteX3" fmla="*/ 1249964 w 1369789"/>
              <a:gd name="connsiteY3" fmla="*/ 152624 h 801098"/>
              <a:gd name="connsiteX4" fmla="*/ 1369789 w 1369789"/>
              <a:gd name="connsiteY4" fmla="*/ 286674 h 801098"/>
              <a:gd name="connsiteX5" fmla="*/ 986747 w 1369789"/>
              <a:gd name="connsiteY5" fmla="*/ 560721 h 801098"/>
              <a:gd name="connsiteX6" fmla="*/ 1068503 w 1369789"/>
              <a:gd name="connsiteY6" fmla="*/ 389795 h 801098"/>
              <a:gd name="connsiteX7" fmla="*/ 528446 w 1369789"/>
              <a:gd name="connsiteY7" fmla="*/ 230024 h 801098"/>
              <a:gd name="connsiteX8" fmla="*/ 123662 w 1369789"/>
              <a:gd name="connsiteY8" fmla="*/ 801098 h 801098"/>
              <a:gd name="connsiteX9" fmla="*/ 1 w 1369789"/>
              <a:gd name="connsiteY9" fmla="*/ 343398 h 801098"/>
              <a:gd name="connsiteX0" fmla="*/ 1 w 1369789"/>
              <a:gd name="connsiteY0" fmla="*/ 376306 h 834006"/>
              <a:gd name="connsiteX1" fmla="*/ 488024 w 1369789"/>
              <a:gd name="connsiteY1" fmla="*/ 33856 h 834006"/>
              <a:gd name="connsiteX2" fmla="*/ 1150068 w 1369789"/>
              <a:gd name="connsiteY2" fmla="*/ 291403 h 834006"/>
              <a:gd name="connsiteX3" fmla="*/ 1053289 w 1369789"/>
              <a:gd name="connsiteY3" fmla="*/ -1 h 834006"/>
              <a:gd name="connsiteX4" fmla="*/ 1369789 w 1369789"/>
              <a:gd name="connsiteY4" fmla="*/ 319582 h 834006"/>
              <a:gd name="connsiteX5" fmla="*/ 986747 w 1369789"/>
              <a:gd name="connsiteY5" fmla="*/ 593629 h 834006"/>
              <a:gd name="connsiteX6" fmla="*/ 1068503 w 1369789"/>
              <a:gd name="connsiteY6" fmla="*/ 422703 h 834006"/>
              <a:gd name="connsiteX7" fmla="*/ 528446 w 1369789"/>
              <a:gd name="connsiteY7" fmla="*/ 262932 h 834006"/>
              <a:gd name="connsiteX8" fmla="*/ 123662 w 1369789"/>
              <a:gd name="connsiteY8" fmla="*/ 834006 h 834006"/>
              <a:gd name="connsiteX9" fmla="*/ 1 w 1369789"/>
              <a:gd name="connsiteY9" fmla="*/ 376306 h 834006"/>
              <a:gd name="connsiteX0" fmla="*/ 1 w 1369789"/>
              <a:gd name="connsiteY0" fmla="*/ 376306 h 834006"/>
              <a:gd name="connsiteX1" fmla="*/ 488024 w 1369789"/>
              <a:gd name="connsiteY1" fmla="*/ 33856 h 834006"/>
              <a:gd name="connsiteX2" fmla="*/ 1150068 w 1369789"/>
              <a:gd name="connsiteY2" fmla="*/ 291403 h 834006"/>
              <a:gd name="connsiteX3" fmla="*/ 1053289 w 1369789"/>
              <a:gd name="connsiteY3" fmla="*/ -1 h 834006"/>
              <a:gd name="connsiteX4" fmla="*/ 1369789 w 1369789"/>
              <a:gd name="connsiteY4" fmla="*/ 319582 h 834006"/>
              <a:gd name="connsiteX5" fmla="*/ 1107797 w 1369789"/>
              <a:gd name="connsiteY5" fmla="*/ 727385 h 834006"/>
              <a:gd name="connsiteX6" fmla="*/ 1068503 w 1369789"/>
              <a:gd name="connsiteY6" fmla="*/ 422703 h 834006"/>
              <a:gd name="connsiteX7" fmla="*/ 528446 w 1369789"/>
              <a:gd name="connsiteY7" fmla="*/ 262932 h 834006"/>
              <a:gd name="connsiteX8" fmla="*/ 123662 w 1369789"/>
              <a:gd name="connsiteY8" fmla="*/ 834006 h 834006"/>
              <a:gd name="connsiteX9" fmla="*/ 1 w 1369789"/>
              <a:gd name="connsiteY9" fmla="*/ 376306 h 834006"/>
              <a:gd name="connsiteX0" fmla="*/ 1 w 1369789"/>
              <a:gd name="connsiteY0" fmla="*/ 417676 h 875376"/>
              <a:gd name="connsiteX1" fmla="*/ 488024 w 1369789"/>
              <a:gd name="connsiteY1" fmla="*/ 75226 h 875376"/>
              <a:gd name="connsiteX2" fmla="*/ 1150068 w 1369789"/>
              <a:gd name="connsiteY2" fmla="*/ 332773 h 875376"/>
              <a:gd name="connsiteX3" fmla="*/ 938032 w 1369789"/>
              <a:gd name="connsiteY3" fmla="*/ 0 h 875376"/>
              <a:gd name="connsiteX4" fmla="*/ 1369789 w 1369789"/>
              <a:gd name="connsiteY4" fmla="*/ 360952 h 875376"/>
              <a:gd name="connsiteX5" fmla="*/ 1107797 w 1369789"/>
              <a:gd name="connsiteY5" fmla="*/ 768755 h 875376"/>
              <a:gd name="connsiteX6" fmla="*/ 1068503 w 1369789"/>
              <a:gd name="connsiteY6" fmla="*/ 464073 h 875376"/>
              <a:gd name="connsiteX7" fmla="*/ 528446 w 1369789"/>
              <a:gd name="connsiteY7" fmla="*/ 304302 h 875376"/>
              <a:gd name="connsiteX8" fmla="*/ 123662 w 1369789"/>
              <a:gd name="connsiteY8" fmla="*/ 875376 h 875376"/>
              <a:gd name="connsiteX9" fmla="*/ 1 w 1369789"/>
              <a:gd name="connsiteY9" fmla="*/ 417676 h 875376"/>
              <a:gd name="connsiteX0" fmla="*/ 1 w 1457554"/>
              <a:gd name="connsiteY0" fmla="*/ 417676 h 875376"/>
              <a:gd name="connsiteX1" fmla="*/ 488024 w 1457554"/>
              <a:gd name="connsiteY1" fmla="*/ 75226 h 875376"/>
              <a:gd name="connsiteX2" fmla="*/ 1150068 w 1457554"/>
              <a:gd name="connsiteY2" fmla="*/ 332773 h 875376"/>
              <a:gd name="connsiteX3" fmla="*/ 938032 w 1457554"/>
              <a:gd name="connsiteY3" fmla="*/ 0 h 875376"/>
              <a:gd name="connsiteX4" fmla="*/ 1457554 w 1457554"/>
              <a:gd name="connsiteY4" fmla="*/ 170794 h 875376"/>
              <a:gd name="connsiteX5" fmla="*/ 1107797 w 1457554"/>
              <a:gd name="connsiteY5" fmla="*/ 768755 h 875376"/>
              <a:gd name="connsiteX6" fmla="*/ 1068503 w 1457554"/>
              <a:gd name="connsiteY6" fmla="*/ 464073 h 875376"/>
              <a:gd name="connsiteX7" fmla="*/ 528446 w 1457554"/>
              <a:gd name="connsiteY7" fmla="*/ 304302 h 875376"/>
              <a:gd name="connsiteX8" fmla="*/ 123662 w 1457554"/>
              <a:gd name="connsiteY8" fmla="*/ 875376 h 875376"/>
              <a:gd name="connsiteX9" fmla="*/ 1 w 1457554"/>
              <a:gd name="connsiteY9" fmla="*/ 417676 h 875376"/>
              <a:gd name="connsiteX0" fmla="*/ 1 w 1457554"/>
              <a:gd name="connsiteY0" fmla="*/ 417676 h 875376"/>
              <a:gd name="connsiteX1" fmla="*/ 488024 w 1457554"/>
              <a:gd name="connsiteY1" fmla="*/ 75226 h 875376"/>
              <a:gd name="connsiteX2" fmla="*/ 952177 w 1457554"/>
              <a:gd name="connsiteY2" fmla="*/ 171436 h 875376"/>
              <a:gd name="connsiteX3" fmla="*/ 938032 w 1457554"/>
              <a:gd name="connsiteY3" fmla="*/ 0 h 875376"/>
              <a:gd name="connsiteX4" fmla="*/ 1457554 w 1457554"/>
              <a:gd name="connsiteY4" fmla="*/ 170794 h 875376"/>
              <a:gd name="connsiteX5" fmla="*/ 1107797 w 1457554"/>
              <a:gd name="connsiteY5" fmla="*/ 768755 h 875376"/>
              <a:gd name="connsiteX6" fmla="*/ 1068503 w 1457554"/>
              <a:gd name="connsiteY6" fmla="*/ 464073 h 875376"/>
              <a:gd name="connsiteX7" fmla="*/ 528446 w 1457554"/>
              <a:gd name="connsiteY7" fmla="*/ 304302 h 875376"/>
              <a:gd name="connsiteX8" fmla="*/ 123662 w 1457554"/>
              <a:gd name="connsiteY8" fmla="*/ 875376 h 875376"/>
              <a:gd name="connsiteX9" fmla="*/ 1 w 1457554"/>
              <a:gd name="connsiteY9" fmla="*/ 417676 h 875376"/>
              <a:gd name="connsiteX0" fmla="*/ 1 w 1457554"/>
              <a:gd name="connsiteY0" fmla="*/ 417676 h 875376"/>
              <a:gd name="connsiteX1" fmla="*/ 488024 w 1457554"/>
              <a:gd name="connsiteY1" fmla="*/ 75226 h 875376"/>
              <a:gd name="connsiteX2" fmla="*/ 952177 w 1457554"/>
              <a:gd name="connsiteY2" fmla="*/ 171436 h 875376"/>
              <a:gd name="connsiteX3" fmla="*/ 938032 w 1457554"/>
              <a:gd name="connsiteY3" fmla="*/ 0 h 875376"/>
              <a:gd name="connsiteX4" fmla="*/ 1457554 w 1457554"/>
              <a:gd name="connsiteY4" fmla="*/ 170794 h 875376"/>
              <a:gd name="connsiteX5" fmla="*/ 1084884 w 1457554"/>
              <a:gd name="connsiteY5" fmla="*/ 653806 h 875376"/>
              <a:gd name="connsiteX6" fmla="*/ 1068503 w 1457554"/>
              <a:gd name="connsiteY6" fmla="*/ 464073 h 875376"/>
              <a:gd name="connsiteX7" fmla="*/ 528446 w 1457554"/>
              <a:gd name="connsiteY7" fmla="*/ 304302 h 875376"/>
              <a:gd name="connsiteX8" fmla="*/ 123662 w 1457554"/>
              <a:gd name="connsiteY8" fmla="*/ 875376 h 875376"/>
              <a:gd name="connsiteX9" fmla="*/ 1 w 1457554"/>
              <a:gd name="connsiteY9" fmla="*/ 417676 h 875376"/>
              <a:gd name="connsiteX0" fmla="*/ 1 w 1457554"/>
              <a:gd name="connsiteY0" fmla="*/ 417676 h 875376"/>
              <a:gd name="connsiteX1" fmla="*/ 488024 w 1457554"/>
              <a:gd name="connsiteY1" fmla="*/ 75226 h 875376"/>
              <a:gd name="connsiteX2" fmla="*/ 952177 w 1457554"/>
              <a:gd name="connsiteY2" fmla="*/ 171436 h 875376"/>
              <a:gd name="connsiteX3" fmla="*/ 938032 w 1457554"/>
              <a:gd name="connsiteY3" fmla="*/ 0 h 875376"/>
              <a:gd name="connsiteX4" fmla="*/ 1457554 w 1457554"/>
              <a:gd name="connsiteY4" fmla="*/ 170794 h 875376"/>
              <a:gd name="connsiteX5" fmla="*/ 1084884 w 1457554"/>
              <a:gd name="connsiteY5" fmla="*/ 653806 h 875376"/>
              <a:gd name="connsiteX6" fmla="*/ 968075 w 1457554"/>
              <a:gd name="connsiteY6" fmla="*/ 386975 h 875376"/>
              <a:gd name="connsiteX7" fmla="*/ 528446 w 1457554"/>
              <a:gd name="connsiteY7" fmla="*/ 304302 h 875376"/>
              <a:gd name="connsiteX8" fmla="*/ 123662 w 1457554"/>
              <a:gd name="connsiteY8" fmla="*/ 875376 h 875376"/>
              <a:gd name="connsiteX9" fmla="*/ 1 w 1457554"/>
              <a:gd name="connsiteY9" fmla="*/ 417676 h 875376"/>
              <a:gd name="connsiteX0" fmla="*/ 1 w 1457554"/>
              <a:gd name="connsiteY0" fmla="*/ 417676 h 875376"/>
              <a:gd name="connsiteX1" fmla="*/ 488024 w 1457554"/>
              <a:gd name="connsiteY1" fmla="*/ 75226 h 875376"/>
              <a:gd name="connsiteX2" fmla="*/ 952177 w 1457554"/>
              <a:gd name="connsiteY2" fmla="*/ 171436 h 875376"/>
              <a:gd name="connsiteX3" fmla="*/ 938032 w 1457554"/>
              <a:gd name="connsiteY3" fmla="*/ 0 h 875376"/>
              <a:gd name="connsiteX4" fmla="*/ 1457554 w 1457554"/>
              <a:gd name="connsiteY4" fmla="*/ 170794 h 875376"/>
              <a:gd name="connsiteX5" fmla="*/ 1084884 w 1457554"/>
              <a:gd name="connsiteY5" fmla="*/ 653806 h 875376"/>
              <a:gd name="connsiteX6" fmla="*/ 1018357 w 1457554"/>
              <a:gd name="connsiteY6" fmla="*/ 372188 h 875376"/>
              <a:gd name="connsiteX7" fmla="*/ 528446 w 1457554"/>
              <a:gd name="connsiteY7" fmla="*/ 304302 h 875376"/>
              <a:gd name="connsiteX8" fmla="*/ 123662 w 1457554"/>
              <a:gd name="connsiteY8" fmla="*/ 875376 h 875376"/>
              <a:gd name="connsiteX9" fmla="*/ 1 w 1457554"/>
              <a:gd name="connsiteY9" fmla="*/ 417676 h 875376"/>
              <a:gd name="connsiteX0" fmla="*/ 1 w 1457554"/>
              <a:gd name="connsiteY0" fmla="*/ 417676 h 875376"/>
              <a:gd name="connsiteX1" fmla="*/ 488024 w 1457554"/>
              <a:gd name="connsiteY1" fmla="*/ 75226 h 875376"/>
              <a:gd name="connsiteX2" fmla="*/ 952177 w 1457554"/>
              <a:gd name="connsiteY2" fmla="*/ 171436 h 875376"/>
              <a:gd name="connsiteX3" fmla="*/ 938032 w 1457554"/>
              <a:gd name="connsiteY3" fmla="*/ 0 h 875376"/>
              <a:gd name="connsiteX4" fmla="*/ 1457554 w 1457554"/>
              <a:gd name="connsiteY4" fmla="*/ 170794 h 875376"/>
              <a:gd name="connsiteX5" fmla="*/ 1050106 w 1457554"/>
              <a:gd name="connsiteY5" fmla="*/ 567438 h 875376"/>
              <a:gd name="connsiteX6" fmla="*/ 1018357 w 1457554"/>
              <a:gd name="connsiteY6" fmla="*/ 372188 h 875376"/>
              <a:gd name="connsiteX7" fmla="*/ 528446 w 1457554"/>
              <a:gd name="connsiteY7" fmla="*/ 304302 h 875376"/>
              <a:gd name="connsiteX8" fmla="*/ 123662 w 1457554"/>
              <a:gd name="connsiteY8" fmla="*/ 875376 h 875376"/>
              <a:gd name="connsiteX9" fmla="*/ 1 w 1457554"/>
              <a:gd name="connsiteY9" fmla="*/ 417676 h 875376"/>
              <a:gd name="connsiteX0" fmla="*/ 1 w 1457554"/>
              <a:gd name="connsiteY0" fmla="*/ 417676 h 875376"/>
              <a:gd name="connsiteX1" fmla="*/ 488024 w 1457554"/>
              <a:gd name="connsiteY1" fmla="*/ 75226 h 875376"/>
              <a:gd name="connsiteX2" fmla="*/ 985877 w 1457554"/>
              <a:gd name="connsiteY2" fmla="*/ 175320 h 875376"/>
              <a:gd name="connsiteX3" fmla="*/ 938032 w 1457554"/>
              <a:gd name="connsiteY3" fmla="*/ 0 h 875376"/>
              <a:gd name="connsiteX4" fmla="*/ 1457554 w 1457554"/>
              <a:gd name="connsiteY4" fmla="*/ 170794 h 875376"/>
              <a:gd name="connsiteX5" fmla="*/ 1050106 w 1457554"/>
              <a:gd name="connsiteY5" fmla="*/ 567438 h 875376"/>
              <a:gd name="connsiteX6" fmla="*/ 1018357 w 1457554"/>
              <a:gd name="connsiteY6" fmla="*/ 372188 h 875376"/>
              <a:gd name="connsiteX7" fmla="*/ 528446 w 1457554"/>
              <a:gd name="connsiteY7" fmla="*/ 304302 h 875376"/>
              <a:gd name="connsiteX8" fmla="*/ 123662 w 1457554"/>
              <a:gd name="connsiteY8" fmla="*/ 875376 h 875376"/>
              <a:gd name="connsiteX9" fmla="*/ 1 w 1457554"/>
              <a:gd name="connsiteY9" fmla="*/ 417676 h 875376"/>
              <a:gd name="connsiteX0" fmla="*/ 1 w 1457554"/>
              <a:gd name="connsiteY0" fmla="*/ 417676 h 875376"/>
              <a:gd name="connsiteX1" fmla="*/ 488024 w 1457554"/>
              <a:gd name="connsiteY1" fmla="*/ 75226 h 875376"/>
              <a:gd name="connsiteX2" fmla="*/ 985877 w 1457554"/>
              <a:gd name="connsiteY2" fmla="*/ 175320 h 875376"/>
              <a:gd name="connsiteX3" fmla="*/ 938032 w 1457554"/>
              <a:gd name="connsiteY3" fmla="*/ 0 h 875376"/>
              <a:gd name="connsiteX4" fmla="*/ 1457554 w 1457554"/>
              <a:gd name="connsiteY4" fmla="*/ 170794 h 875376"/>
              <a:gd name="connsiteX5" fmla="*/ 1050106 w 1457554"/>
              <a:gd name="connsiteY5" fmla="*/ 567438 h 875376"/>
              <a:gd name="connsiteX6" fmla="*/ 1018357 w 1457554"/>
              <a:gd name="connsiteY6" fmla="*/ 372188 h 875376"/>
              <a:gd name="connsiteX7" fmla="*/ 528446 w 1457554"/>
              <a:gd name="connsiteY7" fmla="*/ 304302 h 875376"/>
              <a:gd name="connsiteX8" fmla="*/ 123662 w 1457554"/>
              <a:gd name="connsiteY8" fmla="*/ 875376 h 875376"/>
              <a:gd name="connsiteX9" fmla="*/ 1 w 1457554"/>
              <a:gd name="connsiteY9" fmla="*/ 417676 h 875376"/>
              <a:gd name="connsiteX0" fmla="*/ 1 w 1457554"/>
              <a:gd name="connsiteY0" fmla="*/ 417676 h 875376"/>
              <a:gd name="connsiteX1" fmla="*/ 488024 w 1457554"/>
              <a:gd name="connsiteY1" fmla="*/ 75226 h 875376"/>
              <a:gd name="connsiteX2" fmla="*/ 985877 w 1457554"/>
              <a:gd name="connsiteY2" fmla="*/ 175320 h 875376"/>
              <a:gd name="connsiteX3" fmla="*/ 938032 w 1457554"/>
              <a:gd name="connsiteY3" fmla="*/ 0 h 875376"/>
              <a:gd name="connsiteX4" fmla="*/ 1457554 w 1457554"/>
              <a:gd name="connsiteY4" fmla="*/ 170794 h 875376"/>
              <a:gd name="connsiteX5" fmla="*/ 1050106 w 1457554"/>
              <a:gd name="connsiteY5" fmla="*/ 567438 h 875376"/>
              <a:gd name="connsiteX6" fmla="*/ 1018357 w 1457554"/>
              <a:gd name="connsiteY6" fmla="*/ 372188 h 875376"/>
              <a:gd name="connsiteX7" fmla="*/ 444465 w 1457554"/>
              <a:gd name="connsiteY7" fmla="*/ 315206 h 875376"/>
              <a:gd name="connsiteX8" fmla="*/ 123662 w 1457554"/>
              <a:gd name="connsiteY8" fmla="*/ 875376 h 875376"/>
              <a:gd name="connsiteX9" fmla="*/ 1 w 1457554"/>
              <a:gd name="connsiteY9" fmla="*/ 417676 h 875376"/>
              <a:gd name="connsiteX0" fmla="*/ 1 w 1457554"/>
              <a:gd name="connsiteY0" fmla="*/ 417676 h 875376"/>
              <a:gd name="connsiteX1" fmla="*/ 488024 w 1457554"/>
              <a:gd name="connsiteY1" fmla="*/ 75226 h 875376"/>
              <a:gd name="connsiteX2" fmla="*/ 985877 w 1457554"/>
              <a:gd name="connsiteY2" fmla="*/ 175320 h 875376"/>
              <a:gd name="connsiteX3" fmla="*/ 938032 w 1457554"/>
              <a:gd name="connsiteY3" fmla="*/ 0 h 875376"/>
              <a:gd name="connsiteX4" fmla="*/ 1457554 w 1457554"/>
              <a:gd name="connsiteY4" fmla="*/ 170794 h 875376"/>
              <a:gd name="connsiteX5" fmla="*/ 1050106 w 1457554"/>
              <a:gd name="connsiteY5" fmla="*/ 567438 h 875376"/>
              <a:gd name="connsiteX6" fmla="*/ 1018357 w 1457554"/>
              <a:gd name="connsiteY6" fmla="*/ 372188 h 875376"/>
              <a:gd name="connsiteX7" fmla="*/ 444465 w 1457554"/>
              <a:gd name="connsiteY7" fmla="*/ 315206 h 875376"/>
              <a:gd name="connsiteX8" fmla="*/ 123662 w 1457554"/>
              <a:gd name="connsiteY8" fmla="*/ 875376 h 875376"/>
              <a:gd name="connsiteX9" fmla="*/ 1 w 1457554"/>
              <a:gd name="connsiteY9" fmla="*/ 417676 h 875376"/>
              <a:gd name="connsiteX0" fmla="*/ 1 w 1457554"/>
              <a:gd name="connsiteY0" fmla="*/ 417676 h 875376"/>
              <a:gd name="connsiteX1" fmla="*/ 488024 w 1457554"/>
              <a:gd name="connsiteY1" fmla="*/ 75226 h 875376"/>
              <a:gd name="connsiteX2" fmla="*/ 985877 w 1457554"/>
              <a:gd name="connsiteY2" fmla="*/ 175320 h 875376"/>
              <a:gd name="connsiteX3" fmla="*/ 938032 w 1457554"/>
              <a:gd name="connsiteY3" fmla="*/ 0 h 875376"/>
              <a:gd name="connsiteX4" fmla="*/ 1457554 w 1457554"/>
              <a:gd name="connsiteY4" fmla="*/ 170794 h 875376"/>
              <a:gd name="connsiteX5" fmla="*/ 1050106 w 1457554"/>
              <a:gd name="connsiteY5" fmla="*/ 567438 h 875376"/>
              <a:gd name="connsiteX6" fmla="*/ 1018357 w 1457554"/>
              <a:gd name="connsiteY6" fmla="*/ 372188 h 875376"/>
              <a:gd name="connsiteX7" fmla="*/ 444465 w 1457554"/>
              <a:gd name="connsiteY7" fmla="*/ 315206 h 875376"/>
              <a:gd name="connsiteX8" fmla="*/ 123662 w 1457554"/>
              <a:gd name="connsiteY8" fmla="*/ 875376 h 875376"/>
              <a:gd name="connsiteX9" fmla="*/ 1 w 1457554"/>
              <a:gd name="connsiteY9" fmla="*/ 417676 h 875376"/>
              <a:gd name="connsiteX0" fmla="*/ 1 w 1457554"/>
              <a:gd name="connsiteY0" fmla="*/ 417676 h 875376"/>
              <a:gd name="connsiteX1" fmla="*/ 488024 w 1457554"/>
              <a:gd name="connsiteY1" fmla="*/ 75226 h 875376"/>
              <a:gd name="connsiteX2" fmla="*/ 985877 w 1457554"/>
              <a:gd name="connsiteY2" fmla="*/ 175320 h 875376"/>
              <a:gd name="connsiteX3" fmla="*/ 938032 w 1457554"/>
              <a:gd name="connsiteY3" fmla="*/ 0 h 875376"/>
              <a:gd name="connsiteX4" fmla="*/ 1457554 w 1457554"/>
              <a:gd name="connsiteY4" fmla="*/ 170794 h 875376"/>
              <a:gd name="connsiteX5" fmla="*/ 1050106 w 1457554"/>
              <a:gd name="connsiteY5" fmla="*/ 567438 h 875376"/>
              <a:gd name="connsiteX6" fmla="*/ 1018357 w 1457554"/>
              <a:gd name="connsiteY6" fmla="*/ 372188 h 875376"/>
              <a:gd name="connsiteX7" fmla="*/ 444465 w 1457554"/>
              <a:gd name="connsiteY7" fmla="*/ 315206 h 875376"/>
              <a:gd name="connsiteX8" fmla="*/ 123662 w 1457554"/>
              <a:gd name="connsiteY8" fmla="*/ 875376 h 875376"/>
              <a:gd name="connsiteX9" fmla="*/ 1 w 1457554"/>
              <a:gd name="connsiteY9" fmla="*/ 417676 h 875376"/>
              <a:gd name="connsiteX0" fmla="*/ 1 w 1457554"/>
              <a:gd name="connsiteY0" fmla="*/ 417676 h 875376"/>
              <a:gd name="connsiteX1" fmla="*/ 488024 w 1457554"/>
              <a:gd name="connsiteY1" fmla="*/ 75226 h 875376"/>
              <a:gd name="connsiteX2" fmla="*/ 985877 w 1457554"/>
              <a:gd name="connsiteY2" fmla="*/ 175320 h 875376"/>
              <a:gd name="connsiteX3" fmla="*/ 938032 w 1457554"/>
              <a:gd name="connsiteY3" fmla="*/ 0 h 875376"/>
              <a:gd name="connsiteX4" fmla="*/ 1457554 w 1457554"/>
              <a:gd name="connsiteY4" fmla="*/ 170794 h 875376"/>
              <a:gd name="connsiteX5" fmla="*/ 1050106 w 1457554"/>
              <a:gd name="connsiteY5" fmla="*/ 567438 h 875376"/>
              <a:gd name="connsiteX6" fmla="*/ 1018357 w 1457554"/>
              <a:gd name="connsiteY6" fmla="*/ 372188 h 875376"/>
              <a:gd name="connsiteX7" fmla="*/ 444465 w 1457554"/>
              <a:gd name="connsiteY7" fmla="*/ 315206 h 875376"/>
              <a:gd name="connsiteX8" fmla="*/ 123662 w 1457554"/>
              <a:gd name="connsiteY8" fmla="*/ 875376 h 875376"/>
              <a:gd name="connsiteX9" fmla="*/ 1 w 1457554"/>
              <a:gd name="connsiteY9" fmla="*/ 417676 h 875376"/>
              <a:gd name="connsiteX0" fmla="*/ 1 w 1457554"/>
              <a:gd name="connsiteY0" fmla="*/ 417676 h 875376"/>
              <a:gd name="connsiteX1" fmla="*/ 327202 w 1457554"/>
              <a:gd name="connsiteY1" fmla="*/ 58550 h 875376"/>
              <a:gd name="connsiteX2" fmla="*/ 985877 w 1457554"/>
              <a:gd name="connsiteY2" fmla="*/ 175320 h 875376"/>
              <a:gd name="connsiteX3" fmla="*/ 938032 w 1457554"/>
              <a:gd name="connsiteY3" fmla="*/ 0 h 875376"/>
              <a:gd name="connsiteX4" fmla="*/ 1457554 w 1457554"/>
              <a:gd name="connsiteY4" fmla="*/ 170794 h 875376"/>
              <a:gd name="connsiteX5" fmla="*/ 1050106 w 1457554"/>
              <a:gd name="connsiteY5" fmla="*/ 567438 h 875376"/>
              <a:gd name="connsiteX6" fmla="*/ 1018357 w 1457554"/>
              <a:gd name="connsiteY6" fmla="*/ 372188 h 875376"/>
              <a:gd name="connsiteX7" fmla="*/ 444465 w 1457554"/>
              <a:gd name="connsiteY7" fmla="*/ 315206 h 875376"/>
              <a:gd name="connsiteX8" fmla="*/ 123662 w 1457554"/>
              <a:gd name="connsiteY8" fmla="*/ 875376 h 875376"/>
              <a:gd name="connsiteX9" fmla="*/ 1 w 1457554"/>
              <a:gd name="connsiteY9" fmla="*/ 417676 h 875376"/>
              <a:gd name="connsiteX0" fmla="*/ 1 w 1457554"/>
              <a:gd name="connsiteY0" fmla="*/ 417676 h 875376"/>
              <a:gd name="connsiteX1" fmla="*/ 327202 w 1457554"/>
              <a:gd name="connsiteY1" fmla="*/ 58550 h 875376"/>
              <a:gd name="connsiteX2" fmla="*/ 985877 w 1457554"/>
              <a:gd name="connsiteY2" fmla="*/ 175320 h 875376"/>
              <a:gd name="connsiteX3" fmla="*/ 938032 w 1457554"/>
              <a:gd name="connsiteY3" fmla="*/ 0 h 875376"/>
              <a:gd name="connsiteX4" fmla="*/ 1457554 w 1457554"/>
              <a:gd name="connsiteY4" fmla="*/ 170794 h 875376"/>
              <a:gd name="connsiteX5" fmla="*/ 1050106 w 1457554"/>
              <a:gd name="connsiteY5" fmla="*/ 567438 h 875376"/>
              <a:gd name="connsiteX6" fmla="*/ 1018357 w 1457554"/>
              <a:gd name="connsiteY6" fmla="*/ 372188 h 875376"/>
              <a:gd name="connsiteX7" fmla="*/ 496631 w 1457554"/>
              <a:gd name="connsiteY7" fmla="*/ 444760 h 875376"/>
              <a:gd name="connsiteX8" fmla="*/ 123662 w 1457554"/>
              <a:gd name="connsiteY8" fmla="*/ 875376 h 875376"/>
              <a:gd name="connsiteX9" fmla="*/ 1 w 1457554"/>
              <a:gd name="connsiteY9" fmla="*/ 417676 h 875376"/>
              <a:gd name="connsiteX0" fmla="*/ 1 w 1457554"/>
              <a:gd name="connsiteY0" fmla="*/ 417676 h 865996"/>
              <a:gd name="connsiteX1" fmla="*/ 327202 w 1457554"/>
              <a:gd name="connsiteY1" fmla="*/ 58550 h 865996"/>
              <a:gd name="connsiteX2" fmla="*/ 985877 w 1457554"/>
              <a:gd name="connsiteY2" fmla="*/ 175320 h 865996"/>
              <a:gd name="connsiteX3" fmla="*/ 938032 w 1457554"/>
              <a:gd name="connsiteY3" fmla="*/ 0 h 865996"/>
              <a:gd name="connsiteX4" fmla="*/ 1457554 w 1457554"/>
              <a:gd name="connsiteY4" fmla="*/ 170794 h 865996"/>
              <a:gd name="connsiteX5" fmla="*/ 1050106 w 1457554"/>
              <a:gd name="connsiteY5" fmla="*/ 567438 h 865996"/>
              <a:gd name="connsiteX6" fmla="*/ 1018357 w 1457554"/>
              <a:gd name="connsiteY6" fmla="*/ 372188 h 865996"/>
              <a:gd name="connsiteX7" fmla="*/ 496631 w 1457554"/>
              <a:gd name="connsiteY7" fmla="*/ 444760 h 865996"/>
              <a:gd name="connsiteX8" fmla="*/ 56785 w 1457554"/>
              <a:gd name="connsiteY8" fmla="*/ 865996 h 865996"/>
              <a:gd name="connsiteX9" fmla="*/ 1 w 1457554"/>
              <a:gd name="connsiteY9" fmla="*/ 417676 h 865996"/>
              <a:gd name="connsiteX0" fmla="*/ 1 w 1457554"/>
              <a:gd name="connsiteY0" fmla="*/ 417676 h 865996"/>
              <a:gd name="connsiteX1" fmla="*/ 327202 w 1457554"/>
              <a:gd name="connsiteY1" fmla="*/ 58550 h 865996"/>
              <a:gd name="connsiteX2" fmla="*/ 985877 w 1457554"/>
              <a:gd name="connsiteY2" fmla="*/ 175320 h 865996"/>
              <a:gd name="connsiteX3" fmla="*/ 938032 w 1457554"/>
              <a:gd name="connsiteY3" fmla="*/ 0 h 865996"/>
              <a:gd name="connsiteX4" fmla="*/ 1457554 w 1457554"/>
              <a:gd name="connsiteY4" fmla="*/ 170794 h 865996"/>
              <a:gd name="connsiteX5" fmla="*/ 1050106 w 1457554"/>
              <a:gd name="connsiteY5" fmla="*/ 567438 h 865996"/>
              <a:gd name="connsiteX6" fmla="*/ 1018357 w 1457554"/>
              <a:gd name="connsiteY6" fmla="*/ 372188 h 865996"/>
              <a:gd name="connsiteX7" fmla="*/ 496631 w 1457554"/>
              <a:gd name="connsiteY7" fmla="*/ 444760 h 865996"/>
              <a:gd name="connsiteX8" fmla="*/ 56785 w 1457554"/>
              <a:gd name="connsiteY8" fmla="*/ 865996 h 865996"/>
              <a:gd name="connsiteX9" fmla="*/ 1 w 1457554"/>
              <a:gd name="connsiteY9" fmla="*/ 417676 h 865996"/>
              <a:gd name="connsiteX0" fmla="*/ 1 w 1457554"/>
              <a:gd name="connsiteY0" fmla="*/ 417676 h 865996"/>
              <a:gd name="connsiteX1" fmla="*/ 327202 w 1457554"/>
              <a:gd name="connsiteY1" fmla="*/ 58550 h 865996"/>
              <a:gd name="connsiteX2" fmla="*/ 985877 w 1457554"/>
              <a:gd name="connsiteY2" fmla="*/ 175320 h 865996"/>
              <a:gd name="connsiteX3" fmla="*/ 938032 w 1457554"/>
              <a:gd name="connsiteY3" fmla="*/ 0 h 865996"/>
              <a:gd name="connsiteX4" fmla="*/ 1457554 w 1457554"/>
              <a:gd name="connsiteY4" fmla="*/ 170794 h 865996"/>
              <a:gd name="connsiteX5" fmla="*/ 1050106 w 1457554"/>
              <a:gd name="connsiteY5" fmla="*/ 567438 h 865996"/>
              <a:gd name="connsiteX6" fmla="*/ 1018357 w 1457554"/>
              <a:gd name="connsiteY6" fmla="*/ 372188 h 865996"/>
              <a:gd name="connsiteX7" fmla="*/ 496631 w 1457554"/>
              <a:gd name="connsiteY7" fmla="*/ 444760 h 865996"/>
              <a:gd name="connsiteX8" fmla="*/ 56785 w 1457554"/>
              <a:gd name="connsiteY8" fmla="*/ 865996 h 865996"/>
              <a:gd name="connsiteX9" fmla="*/ 1 w 1457554"/>
              <a:gd name="connsiteY9" fmla="*/ 417676 h 865996"/>
              <a:gd name="connsiteX0" fmla="*/ 1 w 1457554"/>
              <a:gd name="connsiteY0" fmla="*/ 417676 h 865996"/>
              <a:gd name="connsiteX1" fmla="*/ 327202 w 1457554"/>
              <a:gd name="connsiteY1" fmla="*/ 58550 h 865996"/>
              <a:gd name="connsiteX2" fmla="*/ 985877 w 1457554"/>
              <a:gd name="connsiteY2" fmla="*/ 175320 h 865996"/>
              <a:gd name="connsiteX3" fmla="*/ 938032 w 1457554"/>
              <a:gd name="connsiteY3" fmla="*/ 0 h 865996"/>
              <a:gd name="connsiteX4" fmla="*/ 1457554 w 1457554"/>
              <a:gd name="connsiteY4" fmla="*/ 170794 h 865996"/>
              <a:gd name="connsiteX5" fmla="*/ 1050106 w 1457554"/>
              <a:gd name="connsiteY5" fmla="*/ 567438 h 865996"/>
              <a:gd name="connsiteX6" fmla="*/ 1018357 w 1457554"/>
              <a:gd name="connsiteY6" fmla="*/ 372188 h 865996"/>
              <a:gd name="connsiteX7" fmla="*/ 496631 w 1457554"/>
              <a:gd name="connsiteY7" fmla="*/ 444760 h 865996"/>
              <a:gd name="connsiteX8" fmla="*/ 56785 w 1457554"/>
              <a:gd name="connsiteY8" fmla="*/ 865996 h 865996"/>
              <a:gd name="connsiteX9" fmla="*/ 1 w 1457554"/>
              <a:gd name="connsiteY9" fmla="*/ 417676 h 865996"/>
              <a:gd name="connsiteX0" fmla="*/ 0 w 1428279"/>
              <a:gd name="connsiteY0" fmla="*/ 341309 h 865996"/>
              <a:gd name="connsiteX1" fmla="*/ 297927 w 1428279"/>
              <a:gd name="connsiteY1" fmla="*/ 58550 h 865996"/>
              <a:gd name="connsiteX2" fmla="*/ 956602 w 1428279"/>
              <a:gd name="connsiteY2" fmla="*/ 175320 h 865996"/>
              <a:gd name="connsiteX3" fmla="*/ 908757 w 1428279"/>
              <a:gd name="connsiteY3" fmla="*/ 0 h 865996"/>
              <a:gd name="connsiteX4" fmla="*/ 1428279 w 1428279"/>
              <a:gd name="connsiteY4" fmla="*/ 170794 h 865996"/>
              <a:gd name="connsiteX5" fmla="*/ 1020831 w 1428279"/>
              <a:gd name="connsiteY5" fmla="*/ 567438 h 865996"/>
              <a:gd name="connsiteX6" fmla="*/ 989082 w 1428279"/>
              <a:gd name="connsiteY6" fmla="*/ 372188 h 865996"/>
              <a:gd name="connsiteX7" fmla="*/ 467356 w 1428279"/>
              <a:gd name="connsiteY7" fmla="*/ 444760 h 865996"/>
              <a:gd name="connsiteX8" fmla="*/ 27510 w 1428279"/>
              <a:gd name="connsiteY8" fmla="*/ 865996 h 865996"/>
              <a:gd name="connsiteX9" fmla="*/ 0 w 1428279"/>
              <a:gd name="connsiteY9" fmla="*/ 341309 h 8659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428279" h="865996">
                <a:moveTo>
                  <a:pt x="0" y="341309"/>
                </a:moveTo>
                <a:cubicBezTo>
                  <a:pt x="0" y="122065"/>
                  <a:pt x="138493" y="86215"/>
                  <a:pt x="297927" y="58550"/>
                </a:cubicBezTo>
                <a:cubicBezTo>
                  <a:pt x="457361" y="30885"/>
                  <a:pt x="801574" y="50745"/>
                  <a:pt x="956602" y="175320"/>
                </a:cubicBezTo>
                <a:lnTo>
                  <a:pt x="908757" y="0"/>
                </a:lnTo>
                <a:lnTo>
                  <a:pt x="1428279" y="170794"/>
                </a:lnTo>
                <a:lnTo>
                  <a:pt x="1020831" y="567438"/>
                </a:lnTo>
                <a:lnTo>
                  <a:pt x="989082" y="372188"/>
                </a:lnTo>
                <a:cubicBezTo>
                  <a:pt x="857044" y="297709"/>
                  <a:pt x="642236" y="384535"/>
                  <a:pt x="467356" y="444760"/>
                </a:cubicBezTo>
                <a:cubicBezTo>
                  <a:pt x="202520" y="650903"/>
                  <a:pt x="125962" y="728316"/>
                  <a:pt x="27510" y="865996"/>
                </a:cubicBezTo>
                <a:cubicBezTo>
                  <a:pt x="-2081" y="723460"/>
                  <a:pt x="36038" y="341309"/>
                  <a:pt x="0" y="341309"/>
                </a:cubicBezTo>
                <a:close/>
              </a:path>
            </a:pathLst>
          </a:custGeom>
          <a:solidFill>
            <a:srgbClr val="92D050"/>
          </a:solidFill>
          <a:ln w="38100">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chemeClr val="tx1"/>
              </a:solidFill>
            </a:endParaRPr>
          </a:p>
        </p:txBody>
      </p:sp>
      <p:sp>
        <p:nvSpPr>
          <p:cNvPr id="1142" name="Circular Arrow 1141"/>
          <p:cNvSpPr/>
          <p:nvPr/>
        </p:nvSpPr>
        <p:spPr>
          <a:xfrm rot="6759322">
            <a:off x="5379947" y="2682123"/>
            <a:ext cx="1878193" cy="822068"/>
          </a:xfrm>
          <a:custGeom>
            <a:avLst/>
            <a:gdLst>
              <a:gd name="connsiteX0" fmla="*/ 45163 w 1479038"/>
              <a:gd name="connsiteY0" fmla="*/ 489204 h 978408"/>
              <a:gd name="connsiteX1" fmla="*/ 634256 w 1479038"/>
              <a:gd name="connsiteY1" fmla="*/ 50295 h 978408"/>
              <a:gd name="connsiteX2" fmla="*/ 1282824 w 1479038"/>
              <a:gd name="connsiteY2" fmla="*/ 212698 h 978408"/>
              <a:gd name="connsiteX3" fmla="*/ 1314409 w 1479038"/>
              <a:gd name="connsiteY3" fmla="*/ 203822 h 978408"/>
              <a:gd name="connsiteX4" fmla="*/ 1320914 w 1479038"/>
              <a:gd name="connsiteY4" fmla="*/ 325817 h 978408"/>
              <a:gd name="connsiteX5" fmla="*/ 1123369 w 1479038"/>
              <a:gd name="connsiteY5" fmla="*/ 257509 h 978408"/>
              <a:gd name="connsiteX6" fmla="*/ 1150780 w 1479038"/>
              <a:gd name="connsiteY6" fmla="*/ 249806 h 978408"/>
              <a:gd name="connsiteX7" fmla="*/ 649931 w 1479038"/>
              <a:gd name="connsiteY7" fmla="*/ 157223 h 978408"/>
              <a:gd name="connsiteX8" fmla="*/ 153277 w 1479038"/>
              <a:gd name="connsiteY8" fmla="*/ 489204 h 978408"/>
              <a:gd name="connsiteX9" fmla="*/ 45163 w 1479038"/>
              <a:gd name="connsiteY9" fmla="*/ 489204 h 978408"/>
              <a:gd name="connsiteX0" fmla="*/ 0 w 1326470"/>
              <a:gd name="connsiteY0" fmla="*/ 323078 h 444591"/>
              <a:gd name="connsiteX1" fmla="*/ 639812 w 1326470"/>
              <a:gd name="connsiteY1" fmla="*/ 5682 h 444591"/>
              <a:gd name="connsiteX2" fmla="*/ 1288380 w 1326470"/>
              <a:gd name="connsiteY2" fmla="*/ 168085 h 444591"/>
              <a:gd name="connsiteX3" fmla="*/ 1319965 w 1326470"/>
              <a:gd name="connsiteY3" fmla="*/ 159209 h 444591"/>
              <a:gd name="connsiteX4" fmla="*/ 1326470 w 1326470"/>
              <a:gd name="connsiteY4" fmla="*/ 281204 h 444591"/>
              <a:gd name="connsiteX5" fmla="*/ 1128925 w 1326470"/>
              <a:gd name="connsiteY5" fmla="*/ 212896 h 444591"/>
              <a:gd name="connsiteX6" fmla="*/ 1156336 w 1326470"/>
              <a:gd name="connsiteY6" fmla="*/ 205193 h 444591"/>
              <a:gd name="connsiteX7" fmla="*/ 655487 w 1326470"/>
              <a:gd name="connsiteY7" fmla="*/ 112610 h 444591"/>
              <a:gd name="connsiteX8" fmla="*/ 158833 w 1326470"/>
              <a:gd name="connsiteY8" fmla="*/ 444591 h 444591"/>
              <a:gd name="connsiteX9" fmla="*/ 0 w 1326470"/>
              <a:gd name="connsiteY9" fmla="*/ 323078 h 444591"/>
              <a:gd name="connsiteX0" fmla="*/ 0 w 1326470"/>
              <a:gd name="connsiteY0" fmla="*/ 323078 h 710688"/>
              <a:gd name="connsiteX1" fmla="*/ 639812 w 1326470"/>
              <a:gd name="connsiteY1" fmla="*/ 5682 h 710688"/>
              <a:gd name="connsiteX2" fmla="*/ 1288380 w 1326470"/>
              <a:gd name="connsiteY2" fmla="*/ 168085 h 710688"/>
              <a:gd name="connsiteX3" fmla="*/ 1319965 w 1326470"/>
              <a:gd name="connsiteY3" fmla="*/ 159209 h 710688"/>
              <a:gd name="connsiteX4" fmla="*/ 1326470 w 1326470"/>
              <a:gd name="connsiteY4" fmla="*/ 281204 h 710688"/>
              <a:gd name="connsiteX5" fmla="*/ 1128925 w 1326470"/>
              <a:gd name="connsiteY5" fmla="*/ 212896 h 710688"/>
              <a:gd name="connsiteX6" fmla="*/ 1156336 w 1326470"/>
              <a:gd name="connsiteY6" fmla="*/ 205193 h 710688"/>
              <a:gd name="connsiteX7" fmla="*/ 655487 w 1326470"/>
              <a:gd name="connsiteY7" fmla="*/ 112610 h 710688"/>
              <a:gd name="connsiteX8" fmla="*/ 261974 w 1326470"/>
              <a:gd name="connsiteY8" fmla="*/ 710688 h 710688"/>
              <a:gd name="connsiteX9" fmla="*/ 0 w 1326470"/>
              <a:gd name="connsiteY9" fmla="*/ 323078 h 710688"/>
              <a:gd name="connsiteX0" fmla="*/ 0 w 1295534"/>
              <a:gd name="connsiteY0" fmla="*/ 301145 h 709595"/>
              <a:gd name="connsiteX1" fmla="*/ 608876 w 1295534"/>
              <a:gd name="connsiteY1" fmla="*/ 4589 h 709595"/>
              <a:gd name="connsiteX2" fmla="*/ 1257444 w 1295534"/>
              <a:gd name="connsiteY2" fmla="*/ 166992 h 709595"/>
              <a:gd name="connsiteX3" fmla="*/ 1289029 w 1295534"/>
              <a:gd name="connsiteY3" fmla="*/ 158116 h 709595"/>
              <a:gd name="connsiteX4" fmla="*/ 1295534 w 1295534"/>
              <a:gd name="connsiteY4" fmla="*/ 280111 h 709595"/>
              <a:gd name="connsiteX5" fmla="*/ 1097989 w 1295534"/>
              <a:gd name="connsiteY5" fmla="*/ 211803 h 709595"/>
              <a:gd name="connsiteX6" fmla="*/ 1125400 w 1295534"/>
              <a:gd name="connsiteY6" fmla="*/ 204100 h 709595"/>
              <a:gd name="connsiteX7" fmla="*/ 624551 w 1295534"/>
              <a:gd name="connsiteY7" fmla="*/ 111517 h 709595"/>
              <a:gd name="connsiteX8" fmla="*/ 231038 w 1295534"/>
              <a:gd name="connsiteY8" fmla="*/ 709595 h 709595"/>
              <a:gd name="connsiteX9" fmla="*/ 0 w 1295534"/>
              <a:gd name="connsiteY9" fmla="*/ 301145 h 709595"/>
              <a:gd name="connsiteX0" fmla="*/ 0 w 1295534"/>
              <a:gd name="connsiteY0" fmla="*/ 301145 h 709595"/>
              <a:gd name="connsiteX1" fmla="*/ 608876 w 1295534"/>
              <a:gd name="connsiteY1" fmla="*/ 4589 h 709595"/>
              <a:gd name="connsiteX2" fmla="*/ 1257444 w 1295534"/>
              <a:gd name="connsiteY2" fmla="*/ 166992 h 709595"/>
              <a:gd name="connsiteX3" fmla="*/ 1289029 w 1295534"/>
              <a:gd name="connsiteY3" fmla="*/ 158116 h 709595"/>
              <a:gd name="connsiteX4" fmla="*/ 1295534 w 1295534"/>
              <a:gd name="connsiteY4" fmla="*/ 280111 h 709595"/>
              <a:gd name="connsiteX5" fmla="*/ 1097989 w 1295534"/>
              <a:gd name="connsiteY5" fmla="*/ 211803 h 709595"/>
              <a:gd name="connsiteX6" fmla="*/ 1125400 w 1295534"/>
              <a:gd name="connsiteY6" fmla="*/ 204100 h 709595"/>
              <a:gd name="connsiteX7" fmla="*/ 635822 w 1295534"/>
              <a:gd name="connsiteY7" fmla="*/ 138521 h 709595"/>
              <a:gd name="connsiteX8" fmla="*/ 231038 w 1295534"/>
              <a:gd name="connsiteY8" fmla="*/ 709595 h 709595"/>
              <a:gd name="connsiteX9" fmla="*/ 0 w 1295534"/>
              <a:gd name="connsiteY9" fmla="*/ 301145 h 709595"/>
              <a:gd name="connsiteX0" fmla="*/ 0 w 1431723"/>
              <a:gd name="connsiteY0" fmla="*/ 301145 h 709595"/>
              <a:gd name="connsiteX1" fmla="*/ 608876 w 1431723"/>
              <a:gd name="connsiteY1" fmla="*/ 4589 h 709595"/>
              <a:gd name="connsiteX2" fmla="*/ 1257444 w 1431723"/>
              <a:gd name="connsiteY2" fmla="*/ 166992 h 709595"/>
              <a:gd name="connsiteX3" fmla="*/ 1289029 w 1431723"/>
              <a:gd name="connsiteY3" fmla="*/ 158116 h 709595"/>
              <a:gd name="connsiteX4" fmla="*/ 1431723 w 1431723"/>
              <a:gd name="connsiteY4" fmla="*/ 302535 h 709595"/>
              <a:gd name="connsiteX5" fmla="*/ 1097989 w 1431723"/>
              <a:gd name="connsiteY5" fmla="*/ 211803 h 709595"/>
              <a:gd name="connsiteX6" fmla="*/ 1125400 w 1431723"/>
              <a:gd name="connsiteY6" fmla="*/ 204100 h 709595"/>
              <a:gd name="connsiteX7" fmla="*/ 635822 w 1431723"/>
              <a:gd name="connsiteY7" fmla="*/ 138521 h 709595"/>
              <a:gd name="connsiteX8" fmla="*/ 231038 w 1431723"/>
              <a:gd name="connsiteY8" fmla="*/ 709595 h 709595"/>
              <a:gd name="connsiteX9" fmla="*/ 0 w 1431723"/>
              <a:gd name="connsiteY9" fmla="*/ 301145 h 709595"/>
              <a:gd name="connsiteX0" fmla="*/ 0 w 1431723"/>
              <a:gd name="connsiteY0" fmla="*/ 301145 h 709595"/>
              <a:gd name="connsiteX1" fmla="*/ 608876 w 1431723"/>
              <a:gd name="connsiteY1" fmla="*/ 4589 h 709595"/>
              <a:gd name="connsiteX2" fmla="*/ 1257444 w 1431723"/>
              <a:gd name="connsiteY2" fmla="*/ 166992 h 709595"/>
              <a:gd name="connsiteX3" fmla="*/ 1289498 w 1431723"/>
              <a:gd name="connsiteY3" fmla="*/ 7310 h 709595"/>
              <a:gd name="connsiteX4" fmla="*/ 1431723 w 1431723"/>
              <a:gd name="connsiteY4" fmla="*/ 302535 h 709595"/>
              <a:gd name="connsiteX5" fmla="*/ 1097989 w 1431723"/>
              <a:gd name="connsiteY5" fmla="*/ 211803 h 709595"/>
              <a:gd name="connsiteX6" fmla="*/ 1125400 w 1431723"/>
              <a:gd name="connsiteY6" fmla="*/ 204100 h 709595"/>
              <a:gd name="connsiteX7" fmla="*/ 635822 w 1431723"/>
              <a:gd name="connsiteY7" fmla="*/ 138521 h 709595"/>
              <a:gd name="connsiteX8" fmla="*/ 231038 w 1431723"/>
              <a:gd name="connsiteY8" fmla="*/ 709595 h 709595"/>
              <a:gd name="connsiteX9" fmla="*/ 0 w 1431723"/>
              <a:gd name="connsiteY9" fmla="*/ 301145 h 709595"/>
              <a:gd name="connsiteX0" fmla="*/ 0 w 1431723"/>
              <a:gd name="connsiteY0" fmla="*/ 301145 h 709595"/>
              <a:gd name="connsiteX1" fmla="*/ 608876 w 1431723"/>
              <a:gd name="connsiteY1" fmla="*/ 4589 h 709595"/>
              <a:gd name="connsiteX2" fmla="*/ 1257444 w 1431723"/>
              <a:gd name="connsiteY2" fmla="*/ 166992 h 709595"/>
              <a:gd name="connsiteX3" fmla="*/ 1289498 w 1431723"/>
              <a:gd name="connsiteY3" fmla="*/ 7310 h 709595"/>
              <a:gd name="connsiteX4" fmla="*/ 1431723 w 1431723"/>
              <a:gd name="connsiteY4" fmla="*/ 302535 h 709595"/>
              <a:gd name="connsiteX5" fmla="*/ 1203049 w 1431723"/>
              <a:gd name="connsiteY5" fmla="*/ 376961 h 709595"/>
              <a:gd name="connsiteX6" fmla="*/ 1125400 w 1431723"/>
              <a:gd name="connsiteY6" fmla="*/ 204100 h 709595"/>
              <a:gd name="connsiteX7" fmla="*/ 635822 w 1431723"/>
              <a:gd name="connsiteY7" fmla="*/ 138521 h 709595"/>
              <a:gd name="connsiteX8" fmla="*/ 231038 w 1431723"/>
              <a:gd name="connsiteY8" fmla="*/ 709595 h 709595"/>
              <a:gd name="connsiteX9" fmla="*/ 0 w 1431723"/>
              <a:gd name="connsiteY9" fmla="*/ 301145 h 709595"/>
              <a:gd name="connsiteX0" fmla="*/ 0 w 1431723"/>
              <a:gd name="connsiteY0" fmla="*/ 301145 h 709595"/>
              <a:gd name="connsiteX1" fmla="*/ 608876 w 1431723"/>
              <a:gd name="connsiteY1" fmla="*/ 4589 h 709595"/>
              <a:gd name="connsiteX2" fmla="*/ 1257444 w 1431723"/>
              <a:gd name="connsiteY2" fmla="*/ 166992 h 709595"/>
              <a:gd name="connsiteX3" fmla="*/ 1289498 w 1431723"/>
              <a:gd name="connsiteY3" fmla="*/ 7310 h 709595"/>
              <a:gd name="connsiteX4" fmla="*/ 1431723 w 1431723"/>
              <a:gd name="connsiteY4" fmla="*/ 302535 h 709595"/>
              <a:gd name="connsiteX5" fmla="*/ 1203049 w 1431723"/>
              <a:gd name="connsiteY5" fmla="*/ 376961 h 709595"/>
              <a:gd name="connsiteX6" fmla="*/ 1212422 w 1431723"/>
              <a:gd name="connsiteY6" fmla="*/ 227126 h 709595"/>
              <a:gd name="connsiteX7" fmla="*/ 635822 w 1431723"/>
              <a:gd name="connsiteY7" fmla="*/ 138521 h 709595"/>
              <a:gd name="connsiteX8" fmla="*/ 231038 w 1431723"/>
              <a:gd name="connsiteY8" fmla="*/ 709595 h 709595"/>
              <a:gd name="connsiteX9" fmla="*/ 0 w 1431723"/>
              <a:gd name="connsiteY9" fmla="*/ 301145 h 709595"/>
              <a:gd name="connsiteX0" fmla="*/ 0 w 1431723"/>
              <a:gd name="connsiteY0" fmla="*/ 301145 h 709595"/>
              <a:gd name="connsiteX1" fmla="*/ 608876 w 1431723"/>
              <a:gd name="connsiteY1" fmla="*/ 4589 h 709595"/>
              <a:gd name="connsiteX2" fmla="*/ 1257444 w 1431723"/>
              <a:gd name="connsiteY2" fmla="*/ 166992 h 709595"/>
              <a:gd name="connsiteX3" fmla="*/ 1295868 w 1431723"/>
              <a:gd name="connsiteY3" fmla="*/ 39056 h 709595"/>
              <a:gd name="connsiteX4" fmla="*/ 1431723 w 1431723"/>
              <a:gd name="connsiteY4" fmla="*/ 302535 h 709595"/>
              <a:gd name="connsiteX5" fmla="*/ 1203049 w 1431723"/>
              <a:gd name="connsiteY5" fmla="*/ 376961 h 709595"/>
              <a:gd name="connsiteX6" fmla="*/ 1212422 w 1431723"/>
              <a:gd name="connsiteY6" fmla="*/ 227126 h 709595"/>
              <a:gd name="connsiteX7" fmla="*/ 635822 w 1431723"/>
              <a:gd name="connsiteY7" fmla="*/ 138521 h 709595"/>
              <a:gd name="connsiteX8" fmla="*/ 231038 w 1431723"/>
              <a:gd name="connsiteY8" fmla="*/ 709595 h 709595"/>
              <a:gd name="connsiteX9" fmla="*/ 0 w 1431723"/>
              <a:gd name="connsiteY9" fmla="*/ 301145 h 709595"/>
              <a:gd name="connsiteX0" fmla="*/ 0 w 1536745"/>
              <a:gd name="connsiteY0" fmla="*/ 301145 h 709595"/>
              <a:gd name="connsiteX1" fmla="*/ 608876 w 1536745"/>
              <a:gd name="connsiteY1" fmla="*/ 4589 h 709595"/>
              <a:gd name="connsiteX2" fmla="*/ 1257444 w 1536745"/>
              <a:gd name="connsiteY2" fmla="*/ 166992 h 709595"/>
              <a:gd name="connsiteX3" fmla="*/ 1295868 w 1536745"/>
              <a:gd name="connsiteY3" fmla="*/ 39056 h 709595"/>
              <a:gd name="connsiteX4" fmla="*/ 1536745 w 1536745"/>
              <a:gd name="connsiteY4" fmla="*/ 306866 h 709595"/>
              <a:gd name="connsiteX5" fmla="*/ 1203049 w 1536745"/>
              <a:gd name="connsiteY5" fmla="*/ 376961 h 709595"/>
              <a:gd name="connsiteX6" fmla="*/ 1212422 w 1536745"/>
              <a:gd name="connsiteY6" fmla="*/ 227126 h 709595"/>
              <a:gd name="connsiteX7" fmla="*/ 635822 w 1536745"/>
              <a:gd name="connsiteY7" fmla="*/ 138521 h 709595"/>
              <a:gd name="connsiteX8" fmla="*/ 231038 w 1536745"/>
              <a:gd name="connsiteY8" fmla="*/ 709595 h 709595"/>
              <a:gd name="connsiteX9" fmla="*/ 0 w 1536745"/>
              <a:gd name="connsiteY9" fmla="*/ 301145 h 709595"/>
              <a:gd name="connsiteX0" fmla="*/ 0 w 1536745"/>
              <a:gd name="connsiteY0" fmla="*/ 301145 h 709595"/>
              <a:gd name="connsiteX1" fmla="*/ 608876 w 1536745"/>
              <a:gd name="connsiteY1" fmla="*/ 4589 h 709595"/>
              <a:gd name="connsiteX2" fmla="*/ 1257444 w 1536745"/>
              <a:gd name="connsiteY2" fmla="*/ 166992 h 709595"/>
              <a:gd name="connsiteX3" fmla="*/ 1295868 w 1536745"/>
              <a:gd name="connsiteY3" fmla="*/ 39056 h 709595"/>
              <a:gd name="connsiteX4" fmla="*/ 1536745 w 1536745"/>
              <a:gd name="connsiteY4" fmla="*/ 306866 h 709595"/>
              <a:gd name="connsiteX5" fmla="*/ 1203049 w 1536745"/>
              <a:gd name="connsiteY5" fmla="*/ 376961 h 709595"/>
              <a:gd name="connsiteX6" fmla="*/ 1225620 w 1536745"/>
              <a:gd name="connsiteY6" fmla="*/ 242260 h 709595"/>
              <a:gd name="connsiteX7" fmla="*/ 635822 w 1536745"/>
              <a:gd name="connsiteY7" fmla="*/ 138521 h 709595"/>
              <a:gd name="connsiteX8" fmla="*/ 231038 w 1536745"/>
              <a:gd name="connsiteY8" fmla="*/ 709595 h 709595"/>
              <a:gd name="connsiteX9" fmla="*/ 0 w 1536745"/>
              <a:gd name="connsiteY9" fmla="*/ 301145 h 709595"/>
              <a:gd name="connsiteX0" fmla="*/ 0 w 1495019"/>
              <a:gd name="connsiteY0" fmla="*/ 259247 h 707673"/>
              <a:gd name="connsiteX1" fmla="*/ 567150 w 1495019"/>
              <a:gd name="connsiteY1" fmla="*/ 2667 h 707673"/>
              <a:gd name="connsiteX2" fmla="*/ 1215718 w 1495019"/>
              <a:gd name="connsiteY2" fmla="*/ 165070 h 707673"/>
              <a:gd name="connsiteX3" fmla="*/ 1254142 w 1495019"/>
              <a:gd name="connsiteY3" fmla="*/ 37134 h 707673"/>
              <a:gd name="connsiteX4" fmla="*/ 1495019 w 1495019"/>
              <a:gd name="connsiteY4" fmla="*/ 304944 h 707673"/>
              <a:gd name="connsiteX5" fmla="*/ 1161323 w 1495019"/>
              <a:gd name="connsiteY5" fmla="*/ 375039 h 707673"/>
              <a:gd name="connsiteX6" fmla="*/ 1183894 w 1495019"/>
              <a:gd name="connsiteY6" fmla="*/ 240338 h 707673"/>
              <a:gd name="connsiteX7" fmla="*/ 594096 w 1495019"/>
              <a:gd name="connsiteY7" fmla="*/ 136599 h 707673"/>
              <a:gd name="connsiteX8" fmla="*/ 189312 w 1495019"/>
              <a:gd name="connsiteY8" fmla="*/ 707673 h 707673"/>
              <a:gd name="connsiteX9" fmla="*/ 0 w 1495019"/>
              <a:gd name="connsiteY9" fmla="*/ 259247 h 707673"/>
              <a:gd name="connsiteX0" fmla="*/ 0 w 1495019"/>
              <a:gd name="connsiteY0" fmla="*/ 259247 h 707673"/>
              <a:gd name="connsiteX1" fmla="*/ 567150 w 1495019"/>
              <a:gd name="connsiteY1" fmla="*/ 2667 h 707673"/>
              <a:gd name="connsiteX2" fmla="*/ 1215718 w 1495019"/>
              <a:gd name="connsiteY2" fmla="*/ 165070 h 707673"/>
              <a:gd name="connsiteX3" fmla="*/ 1254142 w 1495019"/>
              <a:gd name="connsiteY3" fmla="*/ 37134 h 707673"/>
              <a:gd name="connsiteX4" fmla="*/ 1495019 w 1495019"/>
              <a:gd name="connsiteY4" fmla="*/ 304944 h 707673"/>
              <a:gd name="connsiteX5" fmla="*/ 1161323 w 1495019"/>
              <a:gd name="connsiteY5" fmla="*/ 375039 h 707673"/>
              <a:gd name="connsiteX6" fmla="*/ 1183894 w 1495019"/>
              <a:gd name="connsiteY6" fmla="*/ 240338 h 707673"/>
              <a:gd name="connsiteX7" fmla="*/ 594096 w 1495019"/>
              <a:gd name="connsiteY7" fmla="*/ 136599 h 707673"/>
              <a:gd name="connsiteX8" fmla="*/ 189312 w 1495019"/>
              <a:gd name="connsiteY8" fmla="*/ 707673 h 707673"/>
              <a:gd name="connsiteX9" fmla="*/ 0 w 1495019"/>
              <a:gd name="connsiteY9" fmla="*/ 259247 h 707673"/>
              <a:gd name="connsiteX0" fmla="*/ 0 w 1465041"/>
              <a:gd name="connsiteY0" fmla="*/ 225613 h 706358"/>
              <a:gd name="connsiteX1" fmla="*/ 537172 w 1465041"/>
              <a:gd name="connsiteY1" fmla="*/ 1352 h 706358"/>
              <a:gd name="connsiteX2" fmla="*/ 1185740 w 1465041"/>
              <a:gd name="connsiteY2" fmla="*/ 163755 h 706358"/>
              <a:gd name="connsiteX3" fmla="*/ 1224164 w 1465041"/>
              <a:gd name="connsiteY3" fmla="*/ 35819 h 706358"/>
              <a:gd name="connsiteX4" fmla="*/ 1465041 w 1465041"/>
              <a:gd name="connsiteY4" fmla="*/ 303629 h 706358"/>
              <a:gd name="connsiteX5" fmla="*/ 1131345 w 1465041"/>
              <a:gd name="connsiteY5" fmla="*/ 373724 h 706358"/>
              <a:gd name="connsiteX6" fmla="*/ 1153916 w 1465041"/>
              <a:gd name="connsiteY6" fmla="*/ 239023 h 706358"/>
              <a:gd name="connsiteX7" fmla="*/ 564118 w 1465041"/>
              <a:gd name="connsiteY7" fmla="*/ 135284 h 706358"/>
              <a:gd name="connsiteX8" fmla="*/ 159334 w 1465041"/>
              <a:gd name="connsiteY8" fmla="*/ 706358 h 706358"/>
              <a:gd name="connsiteX9" fmla="*/ 0 w 1465041"/>
              <a:gd name="connsiteY9" fmla="*/ 225613 h 706358"/>
              <a:gd name="connsiteX0" fmla="*/ 0 w 1467165"/>
              <a:gd name="connsiteY0" fmla="*/ 198020 h 705519"/>
              <a:gd name="connsiteX1" fmla="*/ 539296 w 1467165"/>
              <a:gd name="connsiteY1" fmla="*/ 513 h 705519"/>
              <a:gd name="connsiteX2" fmla="*/ 1187864 w 1467165"/>
              <a:gd name="connsiteY2" fmla="*/ 162916 h 705519"/>
              <a:gd name="connsiteX3" fmla="*/ 1226288 w 1467165"/>
              <a:gd name="connsiteY3" fmla="*/ 34980 h 705519"/>
              <a:gd name="connsiteX4" fmla="*/ 1467165 w 1467165"/>
              <a:gd name="connsiteY4" fmla="*/ 302790 h 705519"/>
              <a:gd name="connsiteX5" fmla="*/ 1133469 w 1467165"/>
              <a:gd name="connsiteY5" fmla="*/ 372885 h 705519"/>
              <a:gd name="connsiteX6" fmla="*/ 1156040 w 1467165"/>
              <a:gd name="connsiteY6" fmla="*/ 238184 h 705519"/>
              <a:gd name="connsiteX7" fmla="*/ 566242 w 1467165"/>
              <a:gd name="connsiteY7" fmla="*/ 134445 h 705519"/>
              <a:gd name="connsiteX8" fmla="*/ 161458 w 1467165"/>
              <a:gd name="connsiteY8" fmla="*/ 705519 h 705519"/>
              <a:gd name="connsiteX9" fmla="*/ 0 w 1467165"/>
              <a:gd name="connsiteY9" fmla="*/ 198020 h 705519"/>
              <a:gd name="connsiteX0" fmla="*/ 0 w 1467165"/>
              <a:gd name="connsiteY0" fmla="*/ 198020 h 712916"/>
              <a:gd name="connsiteX1" fmla="*/ 539296 w 1467165"/>
              <a:gd name="connsiteY1" fmla="*/ 513 h 712916"/>
              <a:gd name="connsiteX2" fmla="*/ 1187864 w 1467165"/>
              <a:gd name="connsiteY2" fmla="*/ 162916 h 712916"/>
              <a:gd name="connsiteX3" fmla="*/ 1226288 w 1467165"/>
              <a:gd name="connsiteY3" fmla="*/ 34980 h 712916"/>
              <a:gd name="connsiteX4" fmla="*/ 1467165 w 1467165"/>
              <a:gd name="connsiteY4" fmla="*/ 302790 h 712916"/>
              <a:gd name="connsiteX5" fmla="*/ 1133469 w 1467165"/>
              <a:gd name="connsiteY5" fmla="*/ 372885 h 712916"/>
              <a:gd name="connsiteX6" fmla="*/ 1156040 w 1467165"/>
              <a:gd name="connsiteY6" fmla="*/ 238184 h 712916"/>
              <a:gd name="connsiteX7" fmla="*/ 566242 w 1467165"/>
              <a:gd name="connsiteY7" fmla="*/ 134445 h 712916"/>
              <a:gd name="connsiteX8" fmla="*/ 158189 w 1467165"/>
              <a:gd name="connsiteY8" fmla="*/ 712916 h 712916"/>
              <a:gd name="connsiteX9" fmla="*/ 0 w 1467165"/>
              <a:gd name="connsiteY9" fmla="*/ 198020 h 712916"/>
              <a:gd name="connsiteX0" fmla="*/ 0 w 1467165"/>
              <a:gd name="connsiteY0" fmla="*/ 198020 h 712916"/>
              <a:gd name="connsiteX1" fmla="*/ 539296 w 1467165"/>
              <a:gd name="connsiteY1" fmla="*/ 513 h 712916"/>
              <a:gd name="connsiteX2" fmla="*/ 1187864 w 1467165"/>
              <a:gd name="connsiteY2" fmla="*/ 162916 h 712916"/>
              <a:gd name="connsiteX3" fmla="*/ 1226288 w 1467165"/>
              <a:gd name="connsiteY3" fmla="*/ 34980 h 712916"/>
              <a:gd name="connsiteX4" fmla="*/ 1467165 w 1467165"/>
              <a:gd name="connsiteY4" fmla="*/ 302790 h 712916"/>
              <a:gd name="connsiteX5" fmla="*/ 1133469 w 1467165"/>
              <a:gd name="connsiteY5" fmla="*/ 372885 h 712916"/>
              <a:gd name="connsiteX6" fmla="*/ 1156040 w 1467165"/>
              <a:gd name="connsiteY6" fmla="*/ 238184 h 712916"/>
              <a:gd name="connsiteX7" fmla="*/ 566242 w 1467165"/>
              <a:gd name="connsiteY7" fmla="*/ 134445 h 712916"/>
              <a:gd name="connsiteX8" fmla="*/ 158189 w 1467165"/>
              <a:gd name="connsiteY8" fmla="*/ 712916 h 712916"/>
              <a:gd name="connsiteX9" fmla="*/ 0 w 1467165"/>
              <a:gd name="connsiteY9" fmla="*/ 198020 h 712916"/>
              <a:gd name="connsiteX0" fmla="*/ 0 w 1467165"/>
              <a:gd name="connsiteY0" fmla="*/ 198020 h 712916"/>
              <a:gd name="connsiteX1" fmla="*/ 539296 w 1467165"/>
              <a:gd name="connsiteY1" fmla="*/ 513 h 712916"/>
              <a:gd name="connsiteX2" fmla="*/ 1187864 w 1467165"/>
              <a:gd name="connsiteY2" fmla="*/ 162916 h 712916"/>
              <a:gd name="connsiteX3" fmla="*/ 1226288 w 1467165"/>
              <a:gd name="connsiteY3" fmla="*/ 34980 h 712916"/>
              <a:gd name="connsiteX4" fmla="*/ 1467165 w 1467165"/>
              <a:gd name="connsiteY4" fmla="*/ 302790 h 712916"/>
              <a:gd name="connsiteX5" fmla="*/ 1133469 w 1467165"/>
              <a:gd name="connsiteY5" fmla="*/ 372885 h 712916"/>
              <a:gd name="connsiteX6" fmla="*/ 1156040 w 1467165"/>
              <a:gd name="connsiteY6" fmla="*/ 238184 h 712916"/>
              <a:gd name="connsiteX7" fmla="*/ 566242 w 1467165"/>
              <a:gd name="connsiteY7" fmla="*/ 134445 h 712916"/>
              <a:gd name="connsiteX8" fmla="*/ 158189 w 1467165"/>
              <a:gd name="connsiteY8" fmla="*/ 712916 h 712916"/>
              <a:gd name="connsiteX9" fmla="*/ 0 w 1467165"/>
              <a:gd name="connsiteY9" fmla="*/ 198020 h 712916"/>
              <a:gd name="connsiteX0" fmla="*/ 0 w 1467165"/>
              <a:gd name="connsiteY0" fmla="*/ 198020 h 712916"/>
              <a:gd name="connsiteX1" fmla="*/ 539296 w 1467165"/>
              <a:gd name="connsiteY1" fmla="*/ 513 h 712916"/>
              <a:gd name="connsiteX2" fmla="*/ 1187864 w 1467165"/>
              <a:gd name="connsiteY2" fmla="*/ 162916 h 712916"/>
              <a:gd name="connsiteX3" fmla="*/ 1226288 w 1467165"/>
              <a:gd name="connsiteY3" fmla="*/ 34980 h 712916"/>
              <a:gd name="connsiteX4" fmla="*/ 1467165 w 1467165"/>
              <a:gd name="connsiteY4" fmla="*/ 302790 h 712916"/>
              <a:gd name="connsiteX5" fmla="*/ 1133469 w 1467165"/>
              <a:gd name="connsiteY5" fmla="*/ 372885 h 712916"/>
              <a:gd name="connsiteX6" fmla="*/ 1156040 w 1467165"/>
              <a:gd name="connsiteY6" fmla="*/ 238184 h 712916"/>
              <a:gd name="connsiteX7" fmla="*/ 574442 w 1467165"/>
              <a:gd name="connsiteY7" fmla="*/ 152713 h 712916"/>
              <a:gd name="connsiteX8" fmla="*/ 158189 w 1467165"/>
              <a:gd name="connsiteY8" fmla="*/ 712916 h 712916"/>
              <a:gd name="connsiteX9" fmla="*/ 0 w 1467165"/>
              <a:gd name="connsiteY9" fmla="*/ 198020 h 712916"/>
              <a:gd name="connsiteX0" fmla="*/ 0 w 1467165"/>
              <a:gd name="connsiteY0" fmla="*/ 198020 h 712916"/>
              <a:gd name="connsiteX1" fmla="*/ 539296 w 1467165"/>
              <a:gd name="connsiteY1" fmla="*/ 513 h 712916"/>
              <a:gd name="connsiteX2" fmla="*/ 1187864 w 1467165"/>
              <a:gd name="connsiteY2" fmla="*/ 162916 h 712916"/>
              <a:gd name="connsiteX3" fmla="*/ 1226288 w 1467165"/>
              <a:gd name="connsiteY3" fmla="*/ 34980 h 712916"/>
              <a:gd name="connsiteX4" fmla="*/ 1467165 w 1467165"/>
              <a:gd name="connsiteY4" fmla="*/ 302790 h 712916"/>
              <a:gd name="connsiteX5" fmla="*/ 1133469 w 1467165"/>
              <a:gd name="connsiteY5" fmla="*/ 372885 h 712916"/>
              <a:gd name="connsiteX6" fmla="*/ 1156040 w 1467165"/>
              <a:gd name="connsiteY6" fmla="*/ 238184 h 712916"/>
              <a:gd name="connsiteX7" fmla="*/ 574442 w 1467165"/>
              <a:gd name="connsiteY7" fmla="*/ 152713 h 712916"/>
              <a:gd name="connsiteX8" fmla="*/ 158189 w 1467165"/>
              <a:gd name="connsiteY8" fmla="*/ 712916 h 712916"/>
              <a:gd name="connsiteX9" fmla="*/ 0 w 1467165"/>
              <a:gd name="connsiteY9" fmla="*/ 198020 h 712916"/>
              <a:gd name="connsiteX0" fmla="*/ 0 w 1467165"/>
              <a:gd name="connsiteY0" fmla="*/ 198020 h 712916"/>
              <a:gd name="connsiteX1" fmla="*/ 539296 w 1467165"/>
              <a:gd name="connsiteY1" fmla="*/ 513 h 712916"/>
              <a:gd name="connsiteX2" fmla="*/ 1187864 w 1467165"/>
              <a:gd name="connsiteY2" fmla="*/ 162916 h 712916"/>
              <a:gd name="connsiteX3" fmla="*/ 1226288 w 1467165"/>
              <a:gd name="connsiteY3" fmla="*/ 34980 h 712916"/>
              <a:gd name="connsiteX4" fmla="*/ 1467165 w 1467165"/>
              <a:gd name="connsiteY4" fmla="*/ 302790 h 712916"/>
              <a:gd name="connsiteX5" fmla="*/ 1133469 w 1467165"/>
              <a:gd name="connsiteY5" fmla="*/ 372885 h 712916"/>
              <a:gd name="connsiteX6" fmla="*/ 1156040 w 1467165"/>
              <a:gd name="connsiteY6" fmla="*/ 238184 h 712916"/>
              <a:gd name="connsiteX7" fmla="*/ 580299 w 1467165"/>
              <a:gd name="connsiteY7" fmla="*/ 165762 h 712916"/>
              <a:gd name="connsiteX8" fmla="*/ 158189 w 1467165"/>
              <a:gd name="connsiteY8" fmla="*/ 712916 h 712916"/>
              <a:gd name="connsiteX9" fmla="*/ 0 w 1467165"/>
              <a:gd name="connsiteY9" fmla="*/ 198020 h 712916"/>
              <a:gd name="connsiteX0" fmla="*/ 0 w 1467165"/>
              <a:gd name="connsiteY0" fmla="*/ 198020 h 712916"/>
              <a:gd name="connsiteX1" fmla="*/ 539296 w 1467165"/>
              <a:gd name="connsiteY1" fmla="*/ 513 h 712916"/>
              <a:gd name="connsiteX2" fmla="*/ 1187864 w 1467165"/>
              <a:gd name="connsiteY2" fmla="*/ 162916 h 712916"/>
              <a:gd name="connsiteX3" fmla="*/ 1226288 w 1467165"/>
              <a:gd name="connsiteY3" fmla="*/ 34980 h 712916"/>
              <a:gd name="connsiteX4" fmla="*/ 1467165 w 1467165"/>
              <a:gd name="connsiteY4" fmla="*/ 302790 h 712916"/>
              <a:gd name="connsiteX5" fmla="*/ 1133469 w 1467165"/>
              <a:gd name="connsiteY5" fmla="*/ 372885 h 712916"/>
              <a:gd name="connsiteX6" fmla="*/ 1156040 w 1467165"/>
              <a:gd name="connsiteY6" fmla="*/ 238184 h 712916"/>
              <a:gd name="connsiteX7" fmla="*/ 580299 w 1467165"/>
              <a:gd name="connsiteY7" fmla="*/ 165762 h 712916"/>
              <a:gd name="connsiteX8" fmla="*/ 158189 w 1467165"/>
              <a:gd name="connsiteY8" fmla="*/ 712916 h 712916"/>
              <a:gd name="connsiteX9" fmla="*/ 0 w 1467165"/>
              <a:gd name="connsiteY9" fmla="*/ 198020 h 712916"/>
              <a:gd name="connsiteX0" fmla="*/ 0 w 1467165"/>
              <a:gd name="connsiteY0" fmla="*/ 198020 h 712916"/>
              <a:gd name="connsiteX1" fmla="*/ 539296 w 1467165"/>
              <a:gd name="connsiteY1" fmla="*/ 513 h 712916"/>
              <a:gd name="connsiteX2" fmla="*/ 1187864 w 1467165"/>
              <a:gd name="connsiteY2" fmla="*/ 162916 h 712916"/>
              <a:gd name="connsiteX3" fmla="*/ 1226288 w 1467165"/>
              <a:gd name="connsiteY3" fmla="*/ 34980 h 712916"/>
              <a:gd name="connsiteX4" fmla="*/ 1467165 w 1467165"/>
              <a:gd name="connsiteY4" fmla="*/ 302790 h 712916"/>
              <a:gd name="connsiteX5" fmla="*/ 1133469 w 1467165"/>
              <a:gd name="connsiteY5" fmla="*/ 372885 h 712916"/>
              <a:gd name="connsiteX6" fmla="*/ 1156040 w 1467165"/>
              <a:gd name="connsiteY6" fmla="*/ 238184 h 712916"/>
              <a:gd name="connsiteX7" fmla="*/ 580299 w 1467165"/>
              <a:gd name="connsiteY7" fmla="*/ 165762 h 712916"/>
              <a:gd name="connsiteX8" fmla="*/ 158189 w 1467165"/>
              <a:gd name="connsiteY8" fmla="*/ 712916 h 712916"/>
              <a:gd name="connsiteX9" fmla="*/ 0 w 1467165"/>
              <a:gd name="connsiteY9" fmla="*/ 198020 h 712916"/>
              <a:gd name="connsiteX0" fmla="*/ 0 w 1467165"/>
              <a:gd name="connsiteY0" fmla="*/ 221345 h 736241"/>
              <a:gd name="connsiteX1" fmla="*/ 528753 w 1467165"/>
              <a:gd name="connsiteY1" fmla="*/ 352 h 736241"/>
              <a:gd name="connsiteX2" fmla="*/ 1187864 w 1467165"/>
              <a:gd name="connsiteY2" fmla="*/ 186241 h 736241"/>
              <a:gd name="connsiteX3" fmla="*/ 1226288 w 1467165"/>
              <a:gd name="connsiteY3" fmla="*/ 58305 h 736241"/>
              <a:gd name="connsiteX4" fmla="*/ 1467165 w 1467165"/>
              <a:gd name="connsiteY4" fmla="*/ 326115 h 736241"/>
              <a:gd name="connsiteX5" fmla="*/ 1133469 w 1467165"/>
              <a:gd name="connsiteY5" fmla="*/ 396210 h 736241"/>
              <a:gd name="connsiteX6" fmla="*/ 1156040 w 1467165"/>
              <a:gd name="connsiteY6" fmla="*/ 261509 h 736241"/>
              <a:gd name="connsiteX7" fmla="*/ 580299 w 1467165"/>
              <a:gd name="connsiteY7" fmla="*/ 189087 h 736241"/>
              <a:gd name="connsiteX8" fmla="*/ 158189 w 1467165"/>
              <a:gd name="connsiteY8" fmla="*/ 736241 h 736241"/>
              <a:gd name="connsiteX9" fmla="*/ 0 w 1467165"/>
              <a:gd name="connsiteY9" fmla="*/ 221345 h 736241"/>
              <a:gd name="connsiteX0" fmla="*/ 0 w 1467165"/>
              <a:gd name="connsiteY0" fmla="*/ 221345 h 736241"/>
              <a:gd name="connsiteX1" fmla="*/ 528753 w 1467165"/>
              <a:gd name="connsiteY1" fmla="*/ 352 h 736241"/>
              <a:gd name="connsiteX2" fmla="*/ 1187864 w 1467165"/>
              <a:gd name="connsiteY2" fmla="*/ 186241 h 736241"/>
              <a:gd name="connsiteX3" fmla="*/ 1226288 w 1467165"/>
              <a:gd name="connsiteY3" fmla="*/ 58305 h 736241"/>
              <a:gd name="connsiteX4" fmla="*/ 1467165 w 1467165"/>
              <a:gd name="connsiteY4" fmla="*/ 326115 h 736241"/>
              <a:gd name="connsiteX5" fmla="*/ 1133469 w 1467165"/>
              <a:gd name="connsiteY5" fmla="*/ 396210 h 736241"/>
              <a:gd name="connsiteX6" fmla="*/ 1156040 w 1467165"/>
              <a:gd name="connsiteY6" fmla="*/ 261509 h 736241"/>
              <a:gd name="connsiteX7" fmla="*/ 580299 w 1467165"/>
              <a:gd name="connsiteY7" fmla="*/ 189087 h 736241"/>
              <a:gd name="connsiteX8" fmla="*/ 158189 w 1467165"/>
              <a:gd name="connsiteY8" fmla="*/ 736241 h 736241"/>
              <a:gd name="connsiteX9" fmla="*/ 0 w 1467165"/>
              <a:gd name="connsiteY9" fmla="*/ 221345 h 736241"/>
              <a:gd name="connsiteX0" fmla="*/ 0 w 1467165"/>
              <a:gd name="connsiteY0" fmla="*/ 221345 h 736241"/>
              <a:gd name="connsiteX1" fmla="*/ 528753 w 1467165"/>
              <a:gd name="connsiteY1" fmla="*/ 352 h 736241"/>
              <a:gd name="connsiteX2" fmla="*/ 1187864 w 1467165"/>
              <a:gd name="connsiteY2" fmla="*/ 186241 h 736241"/>
              <a:gd name="connsiteX3" fmla="*/ 1226288 w 1467165"/>
              <a:gd name="connsiteY3" fmla="*/ 58305 h 736241"/>
              <a:gd name="connsiteX4" fmla="*/ 1467165 w 1467165"/>
              <a:gd name="connsiteY4" fmla="*/ 326115 h 736241"/>
              <a:gd name="connsiteX5" fmla="*/ 1133469 w 1467165"/>
              <a:gd name="connsiteY5" fmla="*/ 396210 h 736241"/>
              <a:gd name="connsiteX6" fmla="*/ 1156040 w 1467165"/>
              <a:gd name="connsiteY6" fmla="*/ 261509 h 736241"/>
              <a:gd name="connsiteX7" fmla="*/ 599505 w 1467165"/>
              <a:gd name="connsiteY7" fmla="*/ 224531 h 736241"/>
              <a:gd name="connsiteX8" fmla="*/ 158189 w 1467165"/>
              <a:gd name="connsiteY8" fmla="*/ 736241 h 736241"/>
              <a:gd name="connsiteX9" fmla="*/ 0 w 1467165"/>
              <a:gd name="connsiteY9" fmla="*/ 221345 h 736241"/>
              <a:gd name="connsiteX0" fmla="*/ 0 w 1467165"/>
              <a:gd name="connsiteY0" fmla="*/ 221345 h 736241"/>
              <a:gd name="connsiteX1" fmla="*/ 528753 w 1467165"/>
              <a:gd name="connsiteY1" fmla="*/ 352 h 736241"/>
              <a:gd name="connsiteX2" fmla="*/ 1187864 w 1467165"/>
              <a:gd name="connsiteY2" fmla="*/ 186241 h 736241"/>
              <a:gd name="connsiteX3" fmla="*/ 1226288 w 1467165"/>
              <a:gd name="connsiteY3" fmla="*/ 58305 h 736241"/>
              <a:gd name="connsiteX4" fmla="*/ 1467165 w 1467165"/>
              <a:gd name="connsiteY4" fmla="*/ 326115 h 736241"/>
              <a:gd name="connsiteX5" fmla="*/ 1133469 w 1467165"/>
              <a:gd name="connsiteY5" fmla="*/ 396210 h 736241"/>
              <a:gd name="connsiteX6" fmla="*/ 1156040 w 1467165"/>
              <a:gd name="connsiteY6" fmla="*/ 261509 h 736241"/>
              <a:gd name="connsiteX7" fmla="*/ 599505 w 1467165"/>
              <a:gd name="connsiteY7" fmla="*/ 224531 h 736241"/>
              <a:gd name="connsiteX8" fmla="*/ 158189 w 1467165"/>
              <a:gd name="connsiteY8" fmla="*/ 736241 h 736241"/>
              <a:gd name="connsiteX9" fmla="*/ 0 w 1467165"/>
              <a:gd name="connsiteY9" fmla="*/ 221345 h 736241"/>
              <a:gd name="connsiteX0" fmla="*/ 0 w 1467165"/>
              <a:gd name="connsiteY0" fmla="*/ 220995 h 735891"/>
              <a:gd name="connsiteX1" fmla="*/ 528753 w 1467165"/>
              <a:gd name="connsiteY1" fmla="*/ 2 h 735891"/>
              <a:gd name="connsiteX2" fmla="*/ 1187864 w 1467165"/>
              <a:gd name="connsiteY2" fmla="*/ 185891 h 735891"/>
              <a:gd name="connsiteX3" fmla="*/ 1226288 w 1467165"/>
              <a:gd name="connsiteY3" fmla="*/ 57955 h 735891"/>
              <a:gd name="connsiteX4" fmla="*/ 1467165 w 1467165"/>
              <a:gd name="connsiteY4" fmla="*/ 325765 h 735891"/>
              <a:gd name="connsiteX5" fmla="*/ 1133469 w 1467165"/>
              <a:gd name="connsiteY5" fmla="*/ 395860 h 735891"/>
              <a:gd name="connsiteX6" fmla="*/ 1156040 w 1467165"/>
              <a:gd name="connsiteY6" fmla="*/ 261159 h 735891"/>
              <a:gd name="connsiteX7" fmla="*/ 599505 w 1467165"/>
              <a:gd name="connsiteY7" fmla="*/ 224181 h 735891"/>
              <a:gd name="connsiteX8" fmla="*/ 158189 w 1467165"/>
              <a:gd name="connsiteY8" fmla="*/ 735891 h 735891"/>
              <a:gd name="connsiteX9" fmla="*/ 0 w 1467165"/>
              <a:gd name="connsiteY9" fmla="*/ 220995 h 735891"/>
              <a:gd name="connsiteX0" fmla="*/ 0 w 1467165"/>
              <a:gd name="connsiteY0" fmla="*/ 220995 h 735891"/>
              <a:gd name="connsiteX1" fmla="*/ 528753 w 1467165"/>
              <a:gd name="connsiteY1" fmla="*/ 2 h 735891"/>
              <a:gd name="connsiteX2" fmla="*/ 1187864 w 1467165"/>
              <a:gd name="connsiteY2" fmla="*/ 185891 h 735891"/>
              <a:gd name="connsiteX3" fmla="*/ 1226288 w 1467165"/>
              <a:gd name="connsiteY3" fmla="*/ 57955 h 735891"/>
              <a:gd name="connsiteX4" fmla="*/ 1467165 w 1467165"/>
              <a:gd name="connsiteY4" fmla="*/ 325765 h 735891"/>
              <a:gd name="connsiteX5" fmla="*/ 1133469 w 1467165"/>
              <a:gd name="connsiteY5" fmla="*/ 395860 h 735891"/>
              <a:gd name="connsiteX6" fmla="*/ 1156040 w 1467165"/>
              <a:gd name="connsiteY6" fmla="*/ 261159 h 735891"/>
              <a:gd name="connsiteX7" fmla="*/ 599505 w 1467165"/>
              <a:gd name="connsiteY7" fmla="*/ 224181 h 735891"/>
              <a:gd name="connsiteX8" fmla="*/ 158189 w 1467165"/>
              <a:gd name="connsiteY8" fmla="*/ 735891 h 735891"/>
              <a:gd name="connsiteX9" fmla="*/ 0 w 1467165"/>
              <a:gd name="connsiteY9" fmla="*/ 220995 h 735891"/>
              <a:gd name="connsiteX0" fmla="*/ 0 w 1467165"/>
              <a:gd name="connsiteY0" fmla="*/ 220995 h 735891"/>
              <a:gd name="connsiteX1" fmla="*/ 528753 w 1467165"/>
              <a:gd name="connsiteY1" fmla="*/ 2 h 735891"/>
              <a:gd name="connsiteX2" fmla="*/ 1187864 w 1467165"/>
              <a:gd name="connsiteY2" fmla="*/ 185891 h 735891"/>
              <a:gd name="connsiteX3" fmla="*/ 1226288 w 1467165"/>
              <a:gd name="connsiteY3" fmla="*/ 57955 h 735891"/>
              <a:gd name="connsiteX4" fmla="*/ 1467165 w 1467165"/>
              <a:gd name="connsiteY4" fmla="*/ 325765 h 735891"/>
              <a:gd name="connsiteX5" fmla="*/ 1133469 w 1467165"/>
              <a:gd name="connsiteY5" fmla="*/ 395860 h 735891"/>
              <a:gd name="connsiteX6" fmla="*/ 1156040 w 1467165"/>
              <a:gd name="connsiteY6" fmla="*/ 261159 h 735891"/>
              <a:gd name="connsiteX7" fmla="*/ 599505 w 1467165"/>
              <a:gd name="connsiteY7" fmla="*/ 224181 h 735891"/>
              <a:gd name="connsiteX8" fmla="*/ 158189 w 1467165"/>
              <a:gd name="connsiteY8" fmla="*/ 735891 h 735891"/>
              <a:gd name="connsiteX9" fmla="*/ 0 w 1467165"/>
              <a:gd name="connsiteY9" fmla="*/ 220995 h 735891"/>
              <a:gd name="connsiteX0" fmla="*/ 0 w 1467165"/>
              <a:gd name="connsiteY0" fmla="*/ 220995 h 735891"/>
              <a:gd name="connsiteX1" fmla="*/ 528753 w 1467165"/>
              <a:gd name="connsiteY1" fmla="*/ 2 h 735891"/>
              <a:gd name="connsiteX2" fmla="*/ 1187864 w 1467165"/>
              <a:gd name="connsiteY2" fmla="*/ 185891 h 735891"/>
              <a:gd name="connsiteX3" fmla="*/ 1226288 w 1467165"/>
              <a:gd name="connsiteY3" fmla="*/ 57955 h 735891"/>
              <a:gd name="connsiteX4" fmla="*/ 1467165 w 1467165"/>
              <a:gd name="connsiteY4" fmla="*/ 325765 h 735891"/>
              <a:gd name="connsiteX5" fmla="*/ 1133469 w 1467165"/>
              <a:gd name="connsiteY5" fmla="*/ 395860 h 735891"/>
              <a:gd name="connsiteX6" fmla="*/ 1156040 w 1467165"/>
              <a:gd name="connsiteY6" fmla="*/ 261159 h 735891"/>
              <a:gd name="connsiteX7" fmla="*/ 599505 w 1467165"/>
              <a:gd name="connsiteY7" fmla="*/ 224181 h 735891"/>
              <a:gd name="connsiteX8" fmla="*/ 158189 w 1467165"/>
              <a:gd name="connsiteY8" fmla="*/ 735891 h 735891"/>
              <a:gd name="connsiteX9" fmla="*/ 0 w 1467165"/>
              <a:gd name="connsiteY9" fmla="*/ 220995 h 735891"/>
              <a:gd name="connsiteX0" fmla="*/ 0 w 1467165"/>
              <a:gd name="connsiteY0" fmla="*/ 230229 h 745125"/>
              <a:gd name="connsiteX1" fmla="*/ 528753 w 1467165"/>
              <a:gd name="connsiteY1" fmla="*/ 9236 h 745125"/>
              <a:gd name="connsiteX2" fmla="*/ 1187864 w 1467165"/>
              <a:gd name="connsiteY2" fmla="*/ 195125 h 745125"/>
              <a:gd name="connsiteX3" fmla="*/ 1226288 w 1467165"/>
              <a:gd name="connsiteY3" fmla="*/ 67189 h 745125"/>
              <a:gd name="connsiteX4" fmla="*/ 1467165 w 1467165"/>
              <a:gd name="connsiteY4" fmla="*/ 334999 h 745125"/>
              <a:gd name="connsiteX5" fmla="*/ 1133469 w 1467165"/>
              <a:gd name="connsiteY5" fmla="*/ 405094 h 745125"/>
              <a:gd name="connsiteX6" fmla="*/ 1156040 w 1467165"/>
              <a:gd name="connsiteY6" fmla="*/ 270393 h 745125"/>
              <a:gd name="connsiteX7" fmla="*/ 599505 w 1467165"/>
              <a:gd name="connsiteY7" fmla="*/ 233415 h 745125"/>
              <a:gd name="connsiteX8" fmla="*/ 158189 w 1467165"/>
              <a:gd name="connsiteY8" fmla="*/ 745125 h 745125"/>
              <a:gd name="connsiteX9" fmla="*/ 0 w 1467165"/>
              <a:gd name="connsiteY9" fmla="*/ 230229 h 745125"/>
              <a:gd name="connsiteX0" fmla="*/ 0 w 1467165"/>
              <a:gd name="connsiteY0" fmla="*/ 230229 h 745125"/>
              <a:gd name="connsiteX1" fmla="*/ 528753 w 1467165"/>
              <a:gd name="connsiteY1" fmla="*/ 9236 h 745125"/>
              <a:gd name="connsiteX2" fmla="*/ 1187864 w 1467165"/>
              <a:gd name="connsiteY2" fmla="*/ 195125 h 745125"/>
              <a:gd name="connsiteX3" fmla="*/ 1226288 w 1467165"/>
              <a:gd name="connsiteY3" fmla="*/ 67189 h 745125"/>
              <a:gd name="connsiteX4" fmla="*/ 1467165 w 1467165"/>
              <a:gd name="connsiteY4" fmla="*/ 334999 h 745125"/>
              <a:gd name="connsiteX5" fmla="*/ 1133469 w 1467165"/>
              <a:gd name="connsiteY5" fmla="*/ 405094 h 745125"/>
              <a:gd name="connsiteX6" fmla="*/ 1156040 w 1467165"/>
              <a:gd name="connsiteY6" fmla="*/ 270393 h 745125"/>
              <a:gd name="connsiteX7" fmla="*/ 599505 w 1467165"/>
              <a:gd name="connsiteY7" fmla="*/ 233415 h 745125"/>
              <a:gd name="connsiteX8" fmla="*/ 158189 w 1467165"/>
              <a:gd name="connsiteY8" fmla="*/ 745125 h 745125"/>
              <a:gd name="connsiteX9" fmla="*/ 0 w 1467165"/>
              <a:gd name="connsiteY9" fmla="*/ 230229 h 745125"/>
              <a:gd name="connsiteX0" fmla="*/ 0 w 1462033"/>
              <a:gd name="connsiteY0" fmla="*/ 211987 h 736023"/>
              <a:gd name="connsiteX1" fmla="*/ 523621 w 1462033"/>
              <a:gd name="connsiteY1" fmla="*/ 134 h 736023"/>
              <a:gd name="connsiteX2" fmla="*/ 1182732 w 1462033"/>
              <a:gd name="connsiteY2" fmla="*/ 186023 h 736023"/>
              <a:gd name="connsiteX3" fmla="*/ 1221156 w 1462033"/>
              <a:gd name="connsiteY3" fmla="*/ 58087 h 736023"/>
              <a:gd name="connsiteX4" fmla="*/ 1462033 w 1462033"/>
              <a:gd name="connsiteY4" fmla="*/ 325897 h 736023"/>
              <a:gd name="connsiteX5" fmla="*/ 1128337 w 1462033"/>
              <a:gd name="connsiteY5" fmla="*/ 395992 h 736023"/>
              <a:gd name="connsiteX6" fmla="*/ 1150908 w 1462033"/>
              <a:gd name="connsiteY6" fmla="*/ 261291 h 736023"/>
              <a:gd name="connsiteX7" fmla="*/ 594373 w 1462033"/>
              <a:gd name="connsiteY7" fmla="*/ 224313 h 736023"/>
              <a:gd name="connsiteX8" fmla="*/ 153057 w 1462033"/>
              <a:gd name="connsiteY8" fmla="*/ 736023 h 736023"/>
              <a:gd name="connsiteX9" fmla="*/ 0 w 1462033"/>
              <a:gd name="connsiteY9" fmla="*/ 211987 h 736023"/>
              <a:gd name="connsiteX0" fmla="*/ 0 w 1462033"/>
              <a:gd name="connsiteY0" fmla="*/ 211987 h 736023"/>
              <a:gd name="connsiteX1" fmla="*/ 523621 w 1462033"/>
              <a:gd name="connsiteY1" fmla="*/ 134 h 736023"/>
              <a:gd name="connsiteX2" fmla="*/ 1182732 w 1462033"/>
              <a:gd name="connsiteY2" fmla="*/ 186023 h 736023"/>
              <a:gd name="connsiteX3" fmla="*/ 1221156 w 1462033"/>
              <a:gd name="connsiteY3" fmla="*/ 58087 h 736023"/>
              <a:gd name="connsiteX4" fmla="*/ 1462033 w 1462033"/>
              <a:gd name="connsiteY4" fmla="*/ 325897 h 736023"/>
              <a:gd name="connsiteX5" fmla="*/ 1128337 w 1462033"/>
              <a:gd name="connsiteY5" fmla="*/ 395992 h 736023"/>
              <a:gd name="connsiteX6" fmla="*/ 1150908 w 1462033"/>
              <a:gd name="connsiteY6" fmla="*/ 261291 h 736023"/>
              <a:gd name="connsiteX7" fmla="*/ 594373 w 1462033"/>
              <a:gd name="connsiteY7" fmla="*/ 224313 h 736023"/>
              <a:gd name="connsiteX8" fmla="*/ 153057 w 1462033"/>
              <a:gd name="connsiteY8" fmla="*/ 736023 h 736023"/>
              <a:gd name="connsiteX9" fmla="*/ 0 w 1462033"/>
              <a:gd name="connsiteY9" fmla="*/ 211987 h 736023"/>
              <a:gd name="connsiteX0" fmla="*/ 0 w 1456121"/>
              <a:gd name="connsiteY0" fmla="*/ 204743 h 735961"/>
              <a:gd name="connsiteX1" fmla="*/ 517709 w 1456121"/>
              <a:gd name="connsiteY1" fmla="*/ 72 h 735961"/>
              <a:gd name="connsiteX2" fmla="*/ 1176820 w 1456121"/>
              <a:gd name="connsiteY2" fmla="*/ 185961 h 735961"/>
              <a:gd name="connsiteX3" fmla="*/ 1215244 w 1456121"/>
              <a:gd name="connsiteY3" fmla="*/ 58025 h 735961"/>
              <a:gd name="connsiteX4" fmla="*/ 1456121 w 1456121"/>
              <a:gd name="connsiteY4" fmla="*/ 325835 h 735961"/>
              <a:gd name="connsiteX5" fmla="*/ 1122425 w 1456121"/>
              <a:gd name="connsiteY5" fmla="*/ 395930 h 735961"/>
              <a:gd name="connsiteX6" fmla="*/ 1144996 w 1456121"/>
              <a:gd name="connsiteY6" fmla="*/ 261229 h 735961"/>
              <a:gd name="connsiteX7" fmla="*/ 588461 w 1456121"/>
              <a:gd name="connsiteY7" fmla="*/ 224251 h 735961"/>
              <a:gd name="connsiteX8" fmla="*/ 147145 w 1456121"/>
              <a:gd name="connsiteY8" fmla="*/ 735961 h 735961"/>
              <a:gd name="connsiteX9" fmla="*/ 0 w 1456121"/>
              <a:gd name="connsiteY9" fmla="*/ 204743 h 735961"/>
              <a:gd name="connsiteX0" fmla="*/ 0 w 1481243"/>
              <a:gd name="connsiteY0" fmla="*/ 230674 h 736261"/>
              <a:gd name="connsiteX1" fmla="*/ 542831 w 1481243"/>
              <a:gd name="connsiteY1" fmla="*/ 372 h 736261"/>
              <a:gd name="connsiteX2" fmla="*/ 1201942 w 1481243"/>
              <a:gd name="connsiteY2" fmla="*/ 186261 h 736261"/>
              <a:gd name="connsiteX3" fmla="*/ 1240366 w 1481243"/>
              <a:gd name="connsiteY3" fmla="*/ 58325 h 736261"/>
              <a:gd name="connsiteX4" fmla="*/ 1481243 w 1481243"/>
              <a:gd name="connsiteY4" fmla="*/ 326135 h 736261"/>
              <a:gd name="connsiteX5" fmla="*/ 1147547 w 1481243"/>
              <a:gd name="connsiteY5" fmla="*/ 396230 h 736261"/>
              <a:gd name="connsiteX6" fmla="*/ 1170118 w 1481243"/>
              <a:gd name="connsiteY6" fmla="*/ 261529 h 736261"/>
              <a:gd name="connsiteX7" fmla="*/ 613583 w 1481243"/>
              <a:gd name="connsiteY7" fmla="*/ 224551 h 736261"/>
              <a:gd name="connsiteX8" fmla="*/ 172267 w 1481243"/>
              <a:gd name="connsiteY8" fmla="*/ 736261 h 736261"/>
              <a:gd name="connsiteX9" fmla="*/ 0 w 1481243"/>
              <a:gd name="connsiteY9" fmla="*/ 230674 h 736261"/>
              <a:gd name="connsiteX0" fmla="*/ 0 w 1481243"/>
              <a:gd name="connsiteY0" fmla="*/ 230674 h 732176"/>
              <a:gd name="connsiteX1" fmla="*/ 542831 w 1481243"/>
              <a:gd name="connsiteY1" fmla="*/ 372 h 732176"/>
              <a:gd name="connsiteX2" fmla="*/ 1201942 w 1481243"/>
              <a:gd name="connsiteY2" fmla="*/ 186261 h 732176"/>
              <a:gd name="connsiteX3" fmla="*/ 1240366 w 1481243"/>
              <a:gd name="connsiteY3" fmla="*/ 58325 h 732176"/>
              <a:gd name="connsiteX4" fmla="*/ 1481243 w 1481243"/>
              <a:gd name="connsiteY4" fmla="*/ 326135 h 732176"/>
              <a:gd name="connsiteX5" fmla="*/ 1147547 w 1481243"/>
              <a:gd name="connsiteY5" fmla="*/ 396230 h 732176"/>
              <a:gd name="connsiteX6" fmla="*/ 1170118 w 1481243"/>
              <a:gd name="connsiteY6" fmla="*/ 261529 h 732176"/>
              <a:gd name="connsiteX7" fmla="*/ 613583 w 1481243"/>
              <a:gd name="connsiteY7" fmla="*/ 224551 h 732176"/>
              <a:gd name="connsiteX8" fmla="*/ 180932 w 1481243"/>
              <a:gd name="connsiteY8" fmla="*/ 732176 h 732176"/>
              <a:gd name="connsiteX9" fmla="*/ 0 w 1481243"/>
              <a:gd name="connsiteY9" fmla="*/ 230674 h 732176"/>
              <a:gd name="connsiteX0" fmla="*/ 0 w 1481243"/>
              <a:gd name="connsiteY0" fmla="*/ 230674 h 732176"/>
              <a:gd name="connsiteX1" fmla="*/ 542831 w 1481243"/>
              <a:gd name="connsiteY1" fmla="*/ 372 h 732176"/>
              <a:gd name="connsiteX2" fmla="*/ 1201942 w 1481243"/>
              <a:gd name="connsiteY2" fmla="*/ 186261 h 732176"/>
              <a:gd name="connsiteX3" fmla="*/ 1240366 w 1481243"/>
              <a:gd name="connsiteY3" fmla="*/ 58325 h 732176"/>
              <a:gd name="connsiteX4" fmla="*/ 1481243 w 1481243"/>
              <a:gd name="connsiteY4" fmla="*/ 326135 h 732176"/>
              <a:gd name="connsiteX5" fmla="*/ 1147547 w 1481243"/>
              <a:gd name="connsiteY5" fmla="*/ 396230 h 732176"/>
              <a:gd name="connsiteX6" fmla="*/ 1170118 w 1481243"/>
              <a:gd name="connsiteY6" fmla="*/ 261529 h 732176"/>
              <a:gd name="connsiteX7" fmla="*/ 613583 w 1481243"/>
              <a:gd name="connsiteY7" fmla="*/ 224551 h 732176"/>
              <a:gd name="connsiteX8" fmla="*/ 180932 w 1481243"/>
              <a:gd name="connsiteY8" fmla="*/ 732176 h 732176"/>
              <a:gd name="connsiteX9" fmla="*/ 0 w 1481243"/>
              <a:gd name="connsiteY9" fmla="*/ 230674 h 7321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481243" h="732176">
                <a:moveTo>
                  <a:pt x="0" y="230674"/>
                </a:moveTo>
                <a:cubicBezTo>
                  <a:pt x="0" y="11430"/>
                  <a:pt x="342507" y="7774"/>
                  <a:pt x="542831" y="372"/>
                </a:cubicBezTo>
                <a:cubicBezTo>
                  <a:pt x="743155" y="-7030"/>
                  <a:pt x="1010212" y="97382"/>
                  <a:pt x="1201942" y="186261"/>
                </a:cubicBezTo>
                <a:lnTo>
                  <a:pt x="1240366" y="58325"/>
                </a:lnTo>
                <a:lnTo>
                  <a:pt x="1481243" y="326135"/>
                </a:lnTo>
                <a:lnTo>
                  <a:pt x="1147547" y="396230"/>
                </a:lnTo>
                <a:lnTo>
                  <a:pt x="1170118" y="261529"/>
                </a:lnTo>
                <a:cubicBezTo>
                  <a:pt x="1081124" y="232916"/>
                  <a:pt x="784285" y="207125"/>
                  <a:pt x="613583" y="224551"/>
                </a:cubicBezTo>
                <a:cubicBezTo>
                  <a:pt x="442881" y="241977"/>
                  <a:pt x="241770" y="591886"/>
                  <a:pt x="180932" y="732176"/>
                </a:cubicBezTo>
                <a:cubicBezTo>
                  <a:pt x="147064" y="538319"/>
                  <a:pt x="34494" y="254332"/>
                  <a:pt x="0" y="230674"/>
                </a:cubicBezTo>
                <a:close/>
              </a:path>
            </a:pathLst>
          </a:custGeom>
          <a:solidFill>
            <a:srgbClr val="92D050"/>
          </a:solidFill>
          <a:ln w="38100">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chemeClr val="tx1"/>
              </a:solidFill>
            </a:endParaRPr>
          </a:p>
        </p:txBody>
      </p:sp>
      <p:sp>
        <p:nvSpPr>
          <p:cNvPr id="157" name="Rectangle 1119"/>
          <p:cNvSpPr txBox="1"/>
          <p:nvPr/>
        </p:nvSpPr>
        <p:spPr>
          <a:xfrm>
            <a:off x="3610107" y="2634936"/>
            <a:ext cx="1876293" cy="518345"/>
          </a:xfrm>
          <a:prstGeom prst="rect">
            <a:avLst/>
          </a:prstGeom>
        </p:spPr>
        <p:txBody>
          <a:bodyPr vert="horz" wrap="square" lIns="91440" tIns="45720" rIns="91440" bIns="45720" rtlCol="0">
            <a:spAutoFit/>
          </a:bodyPr>
          <a:lstStyle>
            <a:lvl1pPr marL="342900" lvl="0" indent="-342900">
              <a:spcBef>
                <a:spcPct val="20000"/>
              </a:spcBef>
              <a:buFont typeface="Arial" pitchFamily="34" charset="0"/>
              <a:buChar char="•"/>
              <a:defRPr sz="3200"/>
            </a:lvl1pPr>
            <a:lvl2pPr marL="742950" lvl="1" indent="-285750">
              <a:spcBef>
                <a:spcPct val="20000"/>
              </a:spcBef>
              <a:buFont typeface="Arial" pitchFamily="34" charset="0"/>
              <a:buChar char="–"/>
              <a:defRPr sz="2800"/>
            </a:lvl2pPr>
            <a:lvl3pPr marL="1143000" lvl="2" indent="-228600">
              <a:spcBef>
                <a:spcPct val="20000"/>
              </a:spcBef>
              <a:buFont typeface="Arial" pitchFamily="34" charset="0"/>
              <a:buChar char="•"/>
              <a:defRPr sz="2400"/>
            </a:lvl3pPr>
            <a:lvl4pPr marL="1600200" lvl="3" indent="-228600">
              <a:spcBef>
                <a:spcPct val="20000"/>
              </a:spcBef>
              <a:buFont typeface="Arial" pitchFamily="34" charset="0"/>
              <a:buChar char="–"/>
              <a:defRPr sz="2000"/>
            </a:lvl4pPr>
            <a:lvl5pPr marL="2057400" lvl="4" indent="-228600">
              <a:spcBef>
                <a:spcPct val="20000"/>
              </a:spcBef>
              <a:buFont typeface="Arial" pitchFamily="34" charset="0"/>
              <a:buChar char="»"/>
              <a:defRPr sz="20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indent="0" algn="ctr">
              <a:buNone/>
            </a:pPr>
            <a:r>
              <a:rPr lang="en-US" sz="1200" b="1" dirty="0" smtClean="0"/>
              <a:t>VERMONT </a:t>
            </a:r>
            <a:br>
              <a:rPr lang="en-US" sz="1200" b="1" dirty="0" smtClean="0"/>
            </a:br>
            <a:r>
              <a:rPr lang="en-US" sz="1200" b="1" dirty="0" smtClean="0"/>
              <a:t>GREEN LINE</a:t>
            </a:r>
            <a:endParaRPr lang="en-US" sz="1200" b="1" dirty="0"/>
          </a:p>
        </p:txBody>
      </p:sp>
      <p:grpSp>
        <p:nvGrpSpPr>
          <p:cNvPr id="1145" name="Group 1144"/>
          <p:cNvGrpSpPr/>
          <p:nvPr/>
        </p:nvGrpSpPr>
        <p:grpSpPr>
          <a:xfrm>
            <a:off x="5002524" y="1046443"/>
            <a:ext cx="2094410" cy="1115264"/>
            <a:chOff x="5231124" y="1046443"/>
            <a:chExt cx="2094410" cy="1115264"/>
          </a:xfrm>
        </p:grpSpPr>
        <p:sp>
          <p:nvSpPr>
            <p:cNvPr id="1125" name="Oval 1124"/>
            <p:cNvSpPr/>
            <p:nvPr/>
          </p:nvSpPr>
          <p:spPr>
            <a:xfrm rot="1857183">
              <a:off x="5243993" y="1046443"/>
              <a:ext cx="2081541" cy="1115264"/>
            </a:xfrm>
            <a:prstGeom prst="ellipse">
              <a:avLst/>
            </a:prstGeom>
            <a:noFill/>
            <a:ln w="76200">
              <a:solidFill>
                <a:srgbClr val="92D050"/>
              </a:solidFill>
            </a:ln>
          </p:spPr>
          <p:style>
            <a:lnRef idx="2">
              <a:schemeClr val="accent3"/>
            </a:lnRef>
            <a:fillRef idx="1">
              <a:schemeClr val="lt1"/>
            </a:fillRef>
            <a:effectRef idx="0">
              <a:schemeClr val="accent3"/>
            </a:effectRef>
            <a:fontRef idx="minor">
              <a:schemeClr val="dk1"/>
            </a:fontRef>
          </p:style>
          <p:txBody>
            <a:bodyPr rtlCol="0" anchor="ctr"/>
            <a:lstStyle/>
            <a:p>
              <a:pPr algn="ctr"/>
              <a:endParaRPr lang="en-US"/>
            </a:p>
          </p:txBody>
        </p:sp>
        <p:sp>
          <p:nvSpPr>
            <p:cNvPr id="171" name="Rectangle 1119"/>
            <p:cNvSpPr txBox="1"/>
            <p:nvPr/>
          </p:nvSpPr>
          <p:spPr>
            <a:xfrm rot="2048423">
              <a:off x="5231124" y="1334535"/>
              <a:ext cx="2016140" cy="539078"/>
            </a:xfrm>
            <a:prstGeom prst="rect">
              <a:avLst/>
            </a:prstGeom>
          </p:spPr>
          <p:txBody>
            <a:bodyPr vert="horz" wrap="square" lIns="91440" tIns="45720" rIns="91440" bIns="45720" rtlCol="0">
              <a:spAutoFit/>
            </a:bodyPr>
            <a:lstStyle>
              <a:lvl1pPr marL="342900" lvl="0" indent="-342900">
                <a:spcBef>
                  <a:spcPct val="20000"/>
                </a:spcBef>
                <a:buFont typeface="Arial" pitchFamily="34" charset="0"/>
                <a:buChar char="•"/>
                <a:defRPr sz="3200"/>
              </a:lvl1pPr>
              <a:lvl2pPr marL="742950" lvl="1" indent="-285750">
                <a:spcBef>
                  <a:spcPct val="20000"/>
                </a:spcBef>
                <a:buFont typeface="Arial" pitchFamily="34" charset="0"/>
                <a:buChar char="–"/>
                <a:defRPr sz="2800"/>
              </a:lvl2pPr>
              <a:lvl3pPr marL="1143000" lvl="2" indent="-228600">
                <a:spcBef>
                  <a:spcPct val="20000"/>
                </a:spcBef>
                <a:buFont typeface="Arial" pitchFamily="34" charset="0"/>
                <a:buChar char="•"/>
                <a:defRPr sz="2400"/>
              </a:lvl3pPr>
              <a:lvl4pPr marL="1600200" lvl="3" indent="-228600">
                <a:spcBef>
                  <a:spcPct val="20000"/>
                </a:spcBef>
                <a:buFont typeface="Arial" pitchFamily="34" charset="0"/>
                <a:buChar char="–"/>
                <a:defRPr sz="2000"/>
              </a:lvl4pPr>
              <a:lvl5pPr marL="2057400" lvl="4" indent="-228600">
                <a:spcBef>
                  <a:spcPct val="20000"/>
                </a:spcBef>
                <a:buFont typeface="Arial" pitchFamily="34" charset="0"/>
                <a:buChar char="»"/>
                <a:defRPr sz="20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indent="0" algn="ctr">
                <a:lnSpc>
                  <a:spcPct val="90000"/>
                </a:lnSpc>
                <a:buNone/>
              </a:pPr>
              <a:r>
                <a:rPr lang="en-US" sz="1400" b="1" dirty="0" smtClean="0">
                  <a:solidFill>
                    <a:schemeClr val="bg1"/>
                  </a:solidFill>
                </a:rPr>
                <a:t>MAINE </a:t>
              </a:r>
              <a:br>
                <a:rPr lang="en-US" sz="1400" b="1" dirty="0" smtClean="0">
                  <a:solidFill>
                    <a:schemeClr val="bg1"/>
                  </a:solidFill>
                </a:rPr>
              </a:br>
              <a:r>
                <a:rPr lang="en-US" sz="1400" b="1" dirty="0" smtClean="0">
                  <a:solidFill>
                    <a:schemeClr val="bg1"/>
                  </a:solidFill>
                </a:rPr>
                <a:t>WIND RESOURCES</a:t>
              </a:r>
              <a:endParaRPr lang="en-US" sz="1400" b="1" dirty="0">
                <a:solidFill>
                  <a:schemeClr val="bg1"/>
                </a:solidFill>
              </a:endParaRPr>
            </a:p>
          </p:txBody>
        </p:sp>
      </p:grpSp>
      <p:grpSp>
        <p:nvGrpSpPr>
          <p:cNvPr id="1146" name="Group 1145"/>
          <p:cNvGrpSpPr/>
          <p:nvPr/>
        </p:nvGrpSpPr>
        <p:grpSpPr>
          <a:xfrm rot="550428">
            <a:off x="2751374" y="2257252"/>
            <a:ext cx="977263" cy="1782615"/>
            <a:chOff x="3306469" y="2440077"/>
            <a:chExt cx="977263" cy="1805766"/>
          </a:xfrm>
        </p:grpSpPr>
        <p:sp>
          <p:nvSpPr>
            <p:cNvPr id="193" name="Oval 192"/>
            <p:cNvSpPr/>
            <p:nvPr/>
          </p:nvSpPr>
          <p:spPr>
            <a:xfrm rot="18000396">
              <a:off x="2892218" y="2854328"/>
              <a:ext cx="1805766" cy="977263"/>
            </a:xfrm>
            <a:prstGeom prst="ellipse">
              <a:avLst/>
            </a:prstGeom>
            <a:noFill/>
            <a:ln w="76200">
              <a:solidFill>
                <a:srgbClr val="92D050"/>
              </a:solidFill>
            </a:ln>
          </p:spPr>
          <p:style>
            <a:lnRef idx="2">
              <a:schemeClr val="accent3"/>
            </a:lnRef>
            <a:fillRef idx="1">
              <a:schemeClr val="lt1"/>
            </a:fillRef>
            <a:effectRef idx="0">
              <a:schemeClr val="accent3"/>
            </a:effectRef>
            <a:fontRef idx="minor">
              <a:schemeClr val="dk1"/>
            </a:fontRef>
          </p:style>
          <p:txBody>
            <a:bodyPr rtlCol="0" anchor="ctr"/>
            <a:lstStyle/>
            <a:p>
              <a:pPr algn="ctr"/>
              <a:endParaRPr lang="en-US"/>
            </a:p>
          </p:txBody>
        </p:sp>
        <p:sp>
          <p:nvSpPr>
            <p:cNvPr id="187" name="Rectangle 1119"/>
            <p:cNvSpPr txBox="1"/>
            <p:nvPr/>
          </p:nvSpPr>
          <p:spPr>
            <a:xfrm rot="18196964">
              <a:off x="3005684" y="3012438"/>
              <a:ext cx="1673772" cy="756784"/>
            </a:xfrm>
            <a:prstGeom prst="rect">
              <a:avLst/>
            </a:prstGeom>
          </p:spPr>
          <p:txBody>
            <a:bodyPr vert="horz" wrap="square" lIns="91440" tIns="45720" rIns="91440" bIns="45720" rtlCol="0">
              <a:spAutoFit/>
            </a:bodyPr>
            <a:lstStyle>
              <a:lvl1pPr marL="342900" lvl="0" indent="-342900">
                <a:spcBef>
                  <a:spcPct val="20000"/>
                </a:spcBef>
                <a:buFont typeface="Arial" pitchFamily="34" charset="0"/>
                <a:buChar char="•"/>
                <a:defRPr sz="3200"/>
              </a:lvl1pPr>
              <a:lvl2pPr marL="742950" lvl="1" indent="-285750">
                <a:spcBef>
                  <a:spcPct val="20000"/>
                </a:spcBef>
                <a:buFont typeface="Arial" pitchFamily="34" charset="0"/>
                <a:buChar char="–"/>
                <a:defRPr sz="2800"/>
              </a:lvl2pPr>
              <a:lvl3pPr marL="1143000" lvl="2" indent="-228600">
                <a:spcBef>
                  <a:spcPct val="20000"/>
                </a:spcBef>
                <a:buFont typeface="Arial" pitchFamily="34" charset="0"/>
                <a:buChar char="•"/>
                <a:defRPr sz="2400"/>
              </a:lvl3pPr>
              <a:lvl4pPr marL="1600200" lvl="3" indent="-228600">
                <a:spcBef>
                  <a:spcPct val="20000"/>
                </a:spcBef>
                <a:buFont typeface="Arial" pitchFamily="34" charset="0"/>
                <a:buChar char="–"/>
                <a:defRPr sz="2000"/>
              </a:lvl4pPr>
              <a:lvl5pPr marL="2057400" lvl="4" indent="-228600">
                <a:spcBef>
                  <a:spcPct val="20000"/>
                </a:spcBef>
                <a:buFont typeface="Arial" pitchFamily="34" charset="0"/>
                <a:buChar char="»"/>
                <a:defRPr sz="20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indent="0" algn="ctr">
                <a:lnSpc>
                  <a:spcPct val="90000"/>
                </a:lnSpc>
                <a:buNone/>
              </a:pPr>
              <a:r>
                <a:rPr lang="en-US" sz="1400" b="1" dirty="0" smtClean="0">
                  <a:solidFill>
                    <a:schemeClr val="bg1"/>
                  </a:solidFill>
                </a:rPr>
                <a:t>NEW YORK </a:t>
              </a:r>
              <a:br>
                <a:rPr lang="en-US" sz="1400" b="1" dirty="0" smtClean="0">
                  <a:solidFill>
                    <a:schemeClr val="bg1"/>
                  </a:solidFill>
                </a:rPr>
              </a:br>
              <a:r>
                <a:rPr lang="en-US" sz="1400" b="1" dirty="0" smtClean="0">
                  <a:solidFill>
                    <a:schemeClr val="bg1"/>
                  </a:solidFill>
                </a:rPr>
                <a:t>WIND &amp; HYDRO RESOURCES</a:t>
              </a:r>
              <a:endParaRPr lang="en-US" sz="1400" b="1" dirty="0">
                <a:solidFill>
                  <a:schemeClr val="bg1"/>
                </a:solidFill>
              </a:endParaRPr>
            </a:p>
          </p:txBody>
        </p:sp>
      </p:grpSp>
      <p:sp>
        <p:nvSpPr>
          <p:cNvPr id="6" name="Rectangle 1119"/>
          <p:cNvSpPr txBox="1"/>
          <p:nvPr/>
        </p:nvSpPr>
        <p:spPr>
          <a:xfrm rot="20361549">
            <a:off x="1376421" y="534398"/>
            <a:ext cx="4742121" cy="1474301"/>
          </a:xfrm>
          <a:prstGeom prst="rect">
            <a:avLst/>
          </a:prstGeom>
        </p:spPr>
        <p:txBody>
          <a:bodyPr vert="horz" lIns="91440" tIns="45720" rIns="91440" bIns="45720" rtlCol="0">
            <a:prstTxWarp prst="textArchUp">
              <a:avLst/>
            </a:prstTxWarp>
            <a:spAutoFit/>
          </a:bodyPr>
          <a:lstStyle>
            <a:lvl1pPr marL="342900" lvl="0" indent="-342900">
              <a:spcBef>
                <a:spcPct val="20000"/>
              </a:spcBef>
              <a:buFont typeface="Arial" pitchFamily="34" charset="0"/>
              <a:buChar char="•"/>
              <a:defRPr sz="3200"/>
            </a:lvl1pPr>
            <a:lvl2pPr marL="742950" lvl="1" indent="-285750">
              <a:spcBef>
                <a:spcPct val="20000"/>
              </a:spcBef>
              <a:buFont typeface="Arial" pitchFamily="34" charset="0"/>
              <a:buChar char="–"/>
              <a:defRPr sz="2800"/>
            </a:lvl2pPr>
            <a:lvl3pPr marL="1143000" lvl="2" indent="-228600">
              <a:spcBef>
                <a:spcPct val="20000"/>
              </a:spcBef>
              <a:buFont typeface="Arial" pitchFamily="34" charset="0"/>
              <a:buChar char="•"/>
              <a:defRPr sz="2400"/>
            </a:lvl3pPr>
            <a:lvl4pPr marL="1600200" lvl="3" indent="-228600">
              <a:spcBef>
                <a:spcPct val="20000"/>
              </a:spcBef>
              <a:buFont typeface="Arial" pitchFamily="34" charset="0"/>
              <a:buChar char="–"/>
              <a:defRPr sz="2000"/>
            </a:lvl4pPr>
            <a:lvl5pPr marL="2057400" lvl="4" indent="-228600">
              <a:spcBef>
                <a:spcPct val="20000"/>
              </a:spcBef>
              <a:buFont typeface="Arial" pitchFamily="34" charset="0"/>
              <a:buChar char="»"/>
              <a:defRPr sz="20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indent="0" algn="ctr">
              <a:buNone/>
            </a:pPr>
            <a:r>
              <a:rPr lang="en-US" sz="2000" dirty="0" smtClean="0"/>
              <a:t>CANADIAN HYDRO RESOURCES</a:t>
            </a:r>
            <a:endParaRPr lang="en-US" sz="2000" dirty="0"/>
          </a:p>
        </p:txBody>
      </p:sp>
      <p:sp>
        <p:nvSpPr>
          <p:cNvPr id="1123" name="Freeform 1122"/>
          <p:cNvSpPr/>
          <p:nvPr/>
        </p:nvSpPr>
        <p:spPr>
          <a:xfrm>
            <a:off x="1535870" y="1295516"/>
            <a:ext cx="1207331" cy="1598591"/>
          </a:xfrm>
          <a:custGeom>
            <a:avLst/>
            <a:gdLst>
              <a:gd name="connsiteX0" fmla="*/ 381104 w 381104"/>
              <a:gd name="connsiteY0" fmla="*/ 0 h 1051560"/>
              <a:gd name="connsiteX1" fmla="*/ 175364 w 381104"/>
              <a:gd name="connsiteY1" fmla="*/ 175260 h 1051560"/>
              <a:gd name="connsiteX2" fmla="*/ 38204 w 381104"/>
              <a:gd name="connsiteY2" fmla="*/ 411480 h 1051560"/>
              <a:gd name="connsiteX3" fmla="*/ 104 w 381104"/>
              <a:gd name="connsiteY3" fmla="*/ 685800 h 1051560"/>
              <a:gd name="connsiteX4" fmla="*/ 45824 w 381104"/>
              <a:gd name="connsiteY4" fmla="*/ 1051560 h 1051560"/>
              <a:gd name="connsiteX0" fmla="*/ 405494 w 432175"/>
              <a:gd name="connsiteY0" fmla="*/ 0 h 1235744"/>
              <a:gd name="connsiteX1" fmla="*/ 199754 w 432175"/>
              <a:gd name="connsiteY1" fmla="*/ 175260 h 1235744"/>
              <a:gd name="connsiteX2" fmla="*/ 62594 w 432175"/>
              <a:gd name="connsiteY2" fmla="*/ 411480 h 1235744"/>
              <a:gd name="connsiteX3" fmla="*/ 24494 w 432175"/>
              <a:gd name="connsiteY3" fmla="*/ 685800 h 1235744"/>
              <a:gd name="connsiteX4" fmla="*/ 432175 w 432175"/>
              <a:gd name="connsiteY4" fmla="*/ 1235744 h 1235744"/>
              <a:gd name="connsiteX0" fmla="*/ 405494 w 432175"/>
              <a:gd name="connsiteY0" fmla="*/ 0 h 1235744"/>
              <a:gd name="connsiteX1" fmla="*/ 199754 w 432175"/>
              <a:gd name="connsiteY1" fmla="*/ 175260 h 1235744"/>
              <a:gd name="connsiteX2" fmla="*/ 62594 w 432175"/>
              <a:gd name="connsiteY2" fmla="*/ 411480 h 1235744"/>
              <a:gd name="connsiteX3" fmla="*/ 24494 w 432175"/>
              <a:gd name="connsiteY3" fmla="*/ 685800 h 1235744"/>
              <a:gd name="connsiteX4" fmla="*/ 432175 w 432175"/>
              <a:gd name="connsiteY4" fmla="*/ 1235744 h 1235744"/>
              <a:gd name="connsiteX0" fmla="*/ 470653 w 497334"/>
              <a:gd name="connsiteY0" fmla="*/ 0 h 1235744"/>
              <a:gd name="connsiteX1" fmla="*/ 264913 w 497334"/>
              <a:gd name="connsiteY1" fmla="*/ 175260 h 1235744"/>
              <a:gd name="connsiteX2" fmla="*/ 127753 w 497334"/>
              <a:gd name="connsiteY2" fmla="*/ 411480 h 1235744"/>
              <a:gd name="connsiteX3" fmla="*/ 16129 w 497334"/>
              <a:gd name="connsiteY3" fmla="*/ 736451 h 1235744"/>
              <a:gd name="connsiteX4" fmla="*/ 497334 w 497334"/>
              <a:gd name="connsiteY4" fmla="*/ 1235744 h 1235744"/>
              <a:gd name="connsiteX0" fmla="*/ 480509 w 507190"/>
              <a:gd name="connsiteY0" fmla="*/ 0 h 1235744"/>
              <a:gd name="connsiteX1" fmla="*/ 274769 w 507190"/>
              <a:gd name="connsiteY1" fmla="*/ 175260 h 1235744"/>
              <a:gd name="connsiteX2" fmla="*/ 86709 w 507190"/>
              <a:gd name="connsiteY2" fmla="*/ 383852 h 1235744"/>
              <a:gd name="connsiteX3" fmla="*/ 25985 w 507190"/>
              <a:gd name="connsiteY3" fmla="*/ 736451 h 1235744"/>
              <a:gd name="connsiteX4" fmla="*/ 507190 w 507190"/>
              <a:gd name="connsiteY4" fmla="*/ 1235744 h 1235744"/>
              <a:gd name="connsiteX0" fmla="*/ 484166 w 561748"/>
              <a:gd name="connsiteY0" fmla="*/ 0 h 1157466"/>
              <a:gd name="connsiteX1" fmla="*/ 278426 w 561748"/>
              <a:gd name="connsiteY1" fmla="*/ 175260 h 1157466"/>
              <a:gd name="connsiteX2" fmla="*/ 90366 w 561748"/>
              <a:gd name="connsiteY2" fmla="*/ 383852 h 1157466"/>
              <a:gd name="connsiteX3" fmla="*/ 29642 w 561748"/>
              <a:gd name="connsiteY3" fmla="*/ 736451 h 1157466"/>
              <a:gd name="connsiteX4" fmla="*/ 561748 w 561748"/>
              <a:gd name="connsiteY4" fmla="*/ 1157466 h 1157466"/>
              <a:gd name="connsiteX0" fmla="*/ 484166 w 561748"/>
              <a:gd name="connsiteY0" fmla="*/ 0 h 1157466"/>
              <a:gd name="connsiteX1" fmla="*/ 278426 w 561748"/>
              <a:gd name="connsiteY1" fmla="*/ 175260 h 1157466"/>
              <a:gd name="connsiteX2" fmla="*/ 90366 w 561748"/>
              <a:gd name="connsiteY2" fmla="*/ 383852 h 1157466"/>
              <a:gd name="connsiteX3" fmla="*/ 29642 w 561748"/>
              <a:gd name="connsiteY3" fmla="*/ 736451 h 1157466"/>
              <a:gd name="connsiteX4" fmla="*/ 561748 w 561748"/>
              <a:gd name="connsiteY4" fmla="*/ 1157466 h 1157466"/>
              <a:gd name="connsiteX0" fmla="*/ 484166 w 561748"/>
              <a:gd name="connsiteY0" fmla="*/ 0 h 1157466"/>
              <a:gd name="connsiteX1" fmla="*/ 278426 w 561748"/>
              <a:gd name="connsiteY1" fmla="*/ 175260 h 1157466"/>
              <a:gd name="connsiteX2" fmla="*/ 90366 w 561748"/>
              <a:gd name="connsiteY2" fmla="*/ 383852 h 1157466"/>
              <a:gd name="connsiteX3" fmla="*/ 29642 w 561748"/>
              <a:gd name="connsiteY3" fmla="*/ 736451 h 1157466"/>
              <a:gd name="connsiteX4" fmla="*/ 561748 w 561748"/>
              <a:gd name="connsiteY4" fmla="*/ 1157466 h 1157466"/>
              <a:gd name="connsiteX0" fmla="*/ 474472 w 552054"/>
              <a:gd name="connsiteY0" fmla="*/ 0 h 1157466"/>
              <a:gd name="connsiteX1" fmla="*/ 268732 w 552054"/>
              <a:gd name="connsiteY1" fmla="*/ 175260 h 1157466"/>
              <a:gd name="connsiteX2" fmla="*/ 80672 w 552054"/>
              <a:gd name="connsiteY2" fmla="*/ 383852 h 1157466"/>
              <a:gd name="connsiteX3" fmla="*/ 19948 w 552054"/>
              <a:gd name="connsiteY3" fmla="*/ 736451 h 1157466"/>
              <a:gd name="connsiteX4" fmla="*/ 552054 w 552054"/>
              <a:gd name="connsiteY4" fmla="*/ 1157466 h 1157466"/>
              <a:gd name="connsiteX0" fmla="*/ 478192 w 555774"/>
              <a:gd name="connsiteY0" fmla="*/ 0 h 1157466"/>
              <a:gd name="connsiteX1" fmla="*/ 272452 w 555774"/>
              <a:gd name="connsiteY1" fmla="*/ 175260 h 1157466"/>
              <a:gd name="connsiteX2" fmla="*/ 84392 w 555774"/>
              <a:gd name="connsiteY2" fmla="*/ 383852 h 1157466"/>
              <a:gd name="connsiteX3" fmla="*/ 23668 w 555774"/>
              <a:gd name="connsiteY3" fmla="*/ 736451 h 1157466"/>
              <a:gd name="connsiteX4" fmla="*/ 555774 w 555774"/>
              <a:gd name="connsiteY4" fmla="*/ 1157466 h 1157466"/>
              <a:gd name="connsiteX0" fmla="*/ 491927 w 620410"/>
              <a:gd name="connsiteY0" fmla="*/ 0 h 1212721"/>
              <a:gd name="connsiteX1" fmla="*/ 286187 w 620410"/>
              <a:gd name="connsiteY1" fmla="*/ 175260 h 1212721"/>
              <a:gd name="connsiteX2" fmla="*/ 98127 w 620410"/>
              <a:gd name="connsiteY2" fmla="*/ 383852 h 1212721"/>
              <a:gd name="connsiteX3" fmla="*/ 37403 w 620410"/>
              <a:gd name="connsiteY3" fmla="*/ 736451 h 1212721"/>
              <a:gd name="connsiteX4" fmla="*/ 620410 w 620410"/>
              <a:gd name="connsiteY4" fmla="*/ 1212721 h 1212721"/>
              <a:gd name="connsiteX0" fmla="*/ 479438 w 607921"/>
              <a:gd name="connsiteY0" fmla="*/ 0 h 1212721"/>
              <a:gd name="connsiteX1" fmla="*/ 273698 w 607921"/>
              <a:gd name="connsiteY1" fmla="*/ 175260 h 1212721"/>
              <a:gd name="connsiteX2" fmla="*/ 85638 w 607921"/>
              <a:gd name="connsiteY2" fmla="*/ 383852 h 1212721"/>
              <a:gd name="connsiteX3" fmla="*/ 24914 w 607921"/>
              <a:gd name="connsiteY3" fmla="*/ 736451 h 1212721"/>
              <a:gd name="connsiteX4" fmla="*/ 607921 w 607921"/>
              <a:gd name="connsiteY4" fmla="*/ 1212721 h 1212721"/>
              <a:gd name="connsiteX0" fmla="*/ 467039 w 595522"/>
              <a:gd name="connsiteY0" fmla="*/ 0 h 1212721"/>
              <a:gd name="connsiteX1" fmla="*/ 261299 w 595522"/>
              <a:gd name="connsiteY1" fmla="*/ 175260 h 1212721"/>
              <a:gd name="connsiteX2" fmla="*/ 73239 w 595522"/>
              <a:gd name="connsiteY2" fmla="*/ 383852 h 1212721"/>
              <a:gd name="connsiteX3" fmla="*/ 12515 w 595522"/>
              <a:gd name="connsiteY3" fmla="*/ 736451 h 1212721"/>
              <a:gd name="connsiteX4" fmla="*/ 595522 w 595522"/>
              <a:gd name="connsiteY4" fmla="*/ 1212721 h 1212721"/>
              <a:gd name="connsiteX0" fmla="*/ 464597 w 593080"/>
              <a:gd name="connsiteY0" fmla="*/ 0 h 1212721"/>
              <a:gd name="connsiteX1" fmla="*/ 258857 w 593080"/>
              <a:gd name="connsiteY1" fmla="*/ 175260 h 1212721"/>
              <a:gd name="connsiteX2" fmla="*/ 70797 w 593080"/>
              <a:gd name="connsiteY2" fmla="*/ 383852 h 1212721"/>
              <a:gd name="connsiteX3" fmla="*/ 10073 w 593080"/>
              <a:gd name="connsiteY3" fmla="*/ 736451 h 1212721"/>
              <a:gd name="connsiteX4" fmla="*/ 593080 w 593080"/>
              <a:gd name="connsiteY4" fmla="*/ 1212721 h 1212721"/>
              <a:gd name="connsiteX0" fmla="*/ 464597 w 464597"/>
              <a:gd name="connsiteY0" fmla="*/ 0 h 1185849"/>
              <a:gd name="connsiteX1" fmla="*/ 258857 w 464597"/>
              <a:gd name="connsiteY1" fmla="*/ 175260 h 1185849"/>
              <a:gd name="connsiteX2" fmla="*/ 70797 w 464597"/>
              <a:gd name="connsiteY2" fmla="*/ 383852 h 1185849"/>
              <a:gd name="connsiteX3" fmla="*/ 10073 w 464597"/>
              <a:gd name="connsiteY3" fmla="*/ 736451 h 1185849"/>
              <a:gd name="connsiteX4" fmla="*/ 282749 w 464597"/>
              <a:gd name="connsiteY4" fmla="*/ 1185849 h 1185849"/>
              <a:gd name="connsiteX0" fmla="*/ 534404 w 534404"/>
              <a:gd name="connsiteY0" fmla="*/ 0 h 1185849"/>
              <a:gd name="connsiteX1" fmla="*/ 328664 w 534404"/>
              <a:gd name="connsiteY1" fmla="*/ 175260 h 1185849"/>
              <a:gd name="connsiteX2" fmla="*/ 140604 w 534404"/>
              <a:gd name="connsiteY2" fmla="*/ 383852 h 1185849"/>
              <a:gd name="connsiteX3" fmla="*/ 5171 w 534404"/>
              <a:gd name="connsiteY3" fmla="*/ 736451 h 1185849"/>
              <a:gd name="connsiteX4" fmla="*/ 352556 w 534404"/>
              <a:gd name="connsiteY4" fmla="*/ 1185849 h 1185849"/>
              <a:gd name="connsiteX0" fmla="*/ 529233 w 529233"/>
              <a:gd name="connsiteY0" fmla="*/ 0 h 1185849"/>
              <a:gd name="connsiteX1" fmla="*/ 323493 w 529233"/>
              <a:gd name="connsiteY1" fmla="*/ 175260 h 1185849"/>
              <a:gd name="connsiteX2" fmla="*/ 135433 w 529233"/>
              <a:gd name="connsiteY2" fmla="*/ 383852 h 1185849"/>
              <a:gd name="connsiteX3" fmla="*/ 0 w 529233"/>
              <a:gd name="connsiteY3" fmla="*/ 736451 h 1185849"/>
              <a:gd name="connsiteX4" fmla="*/ 347385 w 529233"/>
              <a:gd name="connsiteY4" fmla="*/ 1185849 h 1185849"/>
              <a:gd name="connsiteX0" fmla="*/ 529233 w 529233"/>
              <a:gd name="connsiteY0" fmla="*/ 0 h 1185849"/>
              <a:gd name="connsiteX1" fmla="*/ 323493 w 529233"/>
              <a:gd name="connsiteY1" fmla="*/ 175260 h 1185849"/>
              <a:gd name="connsiteX2" fmla="*/ 135433 w 529233"/>
              <a:gd name="connsiteY2" fmla="*/ 383852 h 1185849"/>
              <a:gd name="connsiteX3" fmla="*/ 0 w 529233"/>
              <a:gd name="connsiteY3" fmla="*/ 736451 h 1185849"/>
              <a:gd name="connsiteX4" fmla="*/ 347385 w 529233"/>
              <a:gd name="connsiteY4" fmla="*/ 1185849 h 1185849"/>
              <a:gd name="connsiteX0" fmla="*/ 529233 w 1928922"/>
              <a:gd name="connsiteY0" fmla="*/ 0 h 1180086"/>
              <a:gd name="connsiteX1" fmla="*/ 323493 w 1928922"/>
              <a:gd name="connsiteY1" fmla="*/ 175260 h 1180086"/>
              <a:gd name="connsiteX2" fmla="*/ 135433 w 1928922"/>
              <a:gd name="connsiteY2" fmla="*/ 383852 h 1180086"/>
              <a:gd name="connsiteX3" fmla="*/ 0 w 1928922"/>
              <a:gd name="connsiteY3" fmla="*/ 736451 h 1180086"/>
              <a:gd name="connsiteX4" fmla="*/ 1928922 w 1928922"/>
              <a:gd name="connsiteY4" fmla="*/ 1180086 h 1180086"/>
              <a:gd name="connsiteX0" fmla="*/ 398091 w 1797780"/>
              <a:gd name="connsiteY0" fmla="*/ 0 h 1180086"/>
              <a:gd name="connsiteX1" fmla="*/ 192351 w 1797780"/>
              <a:gd name="connsiteY1" fmla="*/ 175260 h 1180086"/>
              <a:gd name="connsiteX2" fmla="*/ 4291 w 1797780"/>
              <a:gd name="connsiteY2" fmla="*/ 383852 h 1180086"/>
              <a:gd name="connsiteX3" fmla="*/ 383777 w 1797780"/>
              <a:gd name="connsiteY3" fmla="*/ 684584 h 1180086"/>
              <a:gd name="connsiteX4" fmla="*/ 1797780 w 1797780"/>
              <a:gd name="connsiteY4" fmla="*/ 1180086 h 1180086"/>
              <a:gd name="connsiteX0" fmla="*/ 216813 w 1616502"/>
              <a:gd name="connsiteY0" fmla="*/ 0 h 1180086"/>
              <a:gd name="connsiteX1" fmla="*/ 11073 w 1616502"/>
              <a:gd name="connsiteY1" fmla="*/ 175260 h 1180086"/>
              <a:gd name="connsiteX2" fmla="*/ 202499 w 1616502"/>
              <a:gd name="connsiteY2" fmla="*/ 684584 h 1180086"/>
              <a:gd name="connsiteX3" fmla="*/ 1616502 w 1616502"/>
              <a:gd name="connsiteY3" fmla="*/ 1180086 h 1180086"/>
              <a:gd name="connsiteX0" fmla="*/ 223443 w 1623132"/>
              <a:gd name="connsiteY0" fmla="*/ 0 h 1180086"/>
              <a:gd name="connsiteX1" fmla="*/ 8508 w 1623132"/>
              <a:gd name="connsiteY1" fmla="*/ 307810 h 1180086"/>
              <a:gd name="connsiteX2" fmla="*/ 209129 w 1623132"/>
              <a:gd name="connsiteY2" fmla="*/ 684584 h 1180086"/>
              <a:gd name="connsiteX3" fmla="*/ 1623132 w 1623132"/>
              <a:gd name="connsiteY3" fmla="*/ 1180086 h 1180086"/>
              <a:gd name="connsiteX0" fmla="*/ 223443 w 1623132"/>
              <a:gd name="connsiteY0" fmla="*/ 0 h 1180086"/>
              <a:gd name="connsiteX1" fmla="*/ 8508 w 1623132"/>
              <a:gd name="connsiteY1" fmla="*/ 307810 h 1180086"/>
              <a:gd name="connsiteX2" fmla="*/ 209129 w 1623132"/>
              <a:gd name="connsiteY2" fmla="*/ 684584 h 1180086"/>
              <a:gd name="connsiteX3" fmla="*/ 1623132 w 1623132"/>
              <a:gd name="connsiteY3" fmla="*/ 1180086 h 1180086"/>
              <a:gd name="connsiteX0" fmla="*/ 215210 w 1614899"/>
              <a:gd name="connsiteY0" fmla="*/ 0 h 1180086"/>
              <a:gd name="connsiteX1" fmla="*/ 275 w 1614899"/>
              <a:gd name="connsiteY1" fmla="*/ 307810 h 1180086"/>
              <a:gd name="connsiteX2" fmla="*/ 200896 w 1614899"/>
              <a:gd name="connsiteY2" fmla="*/ 684584 h 1180086"/>
              <a:gd name="connsiteX3" fmla="*/ 1614899 w 1614899"/>
              <a:gd name="connsiteY3" fmla="*/ 1180086 h 1180086"/>
              <a:gd name="connsiteX0" fmla="*/ 214961 w 1614650"/>
              <a:gd name="connsiteY0" fmla="*/ 0 h 1180086"/>
              <a:gd name="connsiteX1" fmla="*/ 26 w 1614650"/>
              <a:gd name="connsiteY1" fmla="*/ 307810 h 1180086"/>
              <a:gd name="connsiteX2" fmla="*/ 200647 w 1614650"/>
              <a:gd name="connsiteY2" fmla="*/ 684584 h 1180086"/>
              <a:gd name="connsiteX3" fmla="*/ 189104 w 1614650"/>
              <a:gd name="connsiteY3" fmla="*/ 785928 h 1180086"/>
              <a:gd name="connsiteX4" fmla="*/ 1614650 w 1614650"/>
              <a:gd name="connsiteY4" fmla="*/ 1180086 h 1180086"/>
              <a:gd name="connsiteX0" fmla="*/ 214961 w 1393970"/>
              <a:gd name="connsiteY0" fmla="*/ 0 h 1318399"/>
              <a:gd name="connsiteX1" fmla="*/ 26 w 1393970"/>
              <a:gd name="connsiteY1" fmla="*/ 307810 h 1318399"/>
              <a:gd name="connsiteX2" fmla="*/ 200647 w 1393970"/>
              <a:gd name="connsiteY2" fmla="*/ 684584 h 1318399"/>
              <a:gd name="connsiteX3" fmla="*/ 189104 w 1393970"/>
              <a:gd name="connsiteY3" fmla="*/ 785928 h 1318399"/>
              <a:gd name="connsiteX4" fmla="*/ 1393970 w 1393970"/>
              <a:gd name="connsiteY4" fmla="*/ 1318399 h 1318399"/>
              <a:gd name="connsiteX0" fmla="*/ 219984 w 1398993"/>
              <a:gd name="connsiteY0" fmla="*/ 0 h 1318399"/>
              <a:gd name="connsiteX1" fmla="*/ 5049 w 1398993"/>
              <a:gd name="connsiteY1" fmla="*/ 307810 h 1318399"/>
              <a:gd name="connsiteX2" fmla="*/ 194127 w 1398993"/>
              <a:gd name="connsiteY2" fmla="*/ 785928 h 1318399"/>
              <a:gd name="connsiteX3" fmla="*/ 1398993 w 1398993"/>
              <a:gd name="connsiteY3" fmla="*/ 1318399 h 1318399"/>
              <a:gd name="connsiteX0" fmla="*/ 219614 w 1398623"/>
              <a:gd name="connsiteY0" fmla="*/ 0 h 1318399"/>
              <a:gd name="connsiteX1" fmla="*/ 4679 w 1398623"/>
              <a:gd name="connsiteY1" fmla="*/ 307810 h 1318399"/>
              <a:gd name="connsiteX2" fmla="*/ 432827 w 1398623"/>
              <a:gd name="connsiteY2" fmla="*/ 941530 h 1318399"/>
              <a:gd name="connsiteX3" fmla="*/ 1398623 w 1398623"/>
              <a:gd name="connsiteY3" fmla="*/ 1318399 h 1318399"/>
              <a:gd name="connsiteX0" fmla="*/ 219614 w 1508963"/>
              <a:gd name="connsiteY0" fmla="*/ 0 h 1260769"/>
              <a:gd name="connsiteX1" fmla="*/ 4679 w 1508963"/>
              <a:gd name="connsiteY1" fmla="*/ 307810 h 1260769"/>
              <a:gd name="connsiteX2" fmla="*/ 432827 w 1508963"/>
              <a:gd name="connsiteY2" fmla="*/ 941530 h 1260769"/>
              <a:gd name="connsiteX3" fmla="*/ 1508963 w 1508963"/>
              <a:gd name="connsiteY3" fmla="*/ 1260769 h 1260769"/>
              <a:gd name="connsiteX0" fmla="*/ 219614 w 1508963"/>
              <a:gd name="connsiteY0" fmla="*/ 0 h 1260769"/>
              <a:gd name="connsiteX1" fmla="*/ 4679 w 1508963"/>
              <a:gd name="connsiteY1" fmla="*/ 307810 h 1260769"/>
              <a:gd name="connsiteX2" fmla="*/ 432827 w 1508963"/>
              <a:gd name="connsiteY2" fmla="*/ 941530 h 1260769"/>
              <a:gd name="connsiteX3" fmla="*/ 1508963 w 1508963"/>
              <a:gd name="connsiteY3" fmla="*/ 1260769 h 1260769"/>
              <a:gd name="connsiteX0" fmla="*/ 219614 w 1508963"/>
              <a:gd name="connsiteY0" fmla="*/ 0 h 1260769"/>
              <a:gd name="connsiteX1" fmla="*/ 4679 w 1508963"/>
              <a:gd name="connsiteY1" fmla="*/ 307810 h 1260769"/>
              <a:gd name="connsiteX2" fmla="*/ 432827 w 1508963"/>
              <a:gd name="connsiteY2" fmla="*/ 941530 h 1260769"/>
              <a:gd name="connsiteX3" fmla="*/ 1508963 w 1508963"/>
              <a:gd name="connsiteY3" fmla="*/ 1260769 h 1260769"/>
              <a:gd name="connsiteX0" fmla="*/ 219614 w 1508963"/>
              <a:gd name="connsiteY0" fmla="*/ 0 h 1260769"/>
              <a:gd name="connsiteX1" fmla="*/ 4679 w 1508963"/>
              <a:gd name="connsiteY1" fmla="*/ 307810 h 1260769"/>
              <a:gd name="connsiteX2" fmla="*/ 432827 w 1508963"/>
              <a:gd name="connsiteY2" fmla="*/ 941530 h 1260769"/>
              <a:gd name="connsiteX3" fmla="*/ 1508963 w 1508963"/>
              <a:gd name="connsiteY3" fmla="*/ 1260769 h 1260769"/>
              <a:gd name="connsiteX0" fmla="*/ 214954 w 1504303"/>
              <a:gd name="connsiteY0" fmla="*/ 0 h 1260769"/>
              <a:gd name="connsiteX1" fmla="*/ 19 w 1504303"/>
              <a:gd name="connsiteY1" fmla="*/ 307810 h 1260769"/>
              <a:gd name="connsiteX2" fmla="*/ 428167 w 1504303"/>
              <a:gd name="connsiteY2" fmla="*/ 941530 h 1260769"/>
              <a:gd name="connsiteX3" fmla="*/ 1504303 w 1504303"/>
              <a:gd name="connsiteY3" fmla="*/ 1260769 h 1260769"/>
              <a:gd name="connsiteX0" fmla="*/ 697888 w 1513660"/>
              <a:gd name="connsiteY0" fmla="*/ 0 h 1323874"/>
              <a:gd name="connsiteX1" fmla="*/ 9376 w 1513660"/>
              <a:gd name="connsiteY1" fmla="*/ 370915 h 1323874"/>
              <a:gd name="connsiteX2" fmla="*/ 437524 w 1513660"/>
              <a:gd name="connsiteY2" fmla="*/ 1004635 h 1323874"/>
              <a:gd name="connsiteX3" fmla="*/ 1513660 w 1513660"/>
              <a:gd name="connsiteY3" fmla="*/ 1323874 h 1323874"/>
              <a:gd name="connsiteX0" fmla="*/ 545983 w 1361755"/>
              <a:gd name="connsiteY0" fmla="*/ 0 h 1323874"/>
              <a:gd name="connsiteX1" fmla="*/ 38545 w 1361755"/>
              <a:gd name="connsiteY1" fmla="*/ 539196 h 1323874"/>
              <a:gd name="connsiteX2" fmla="*/ 285619 w 1361755"/>
              <a:gd name="connsiteY2" fmla="*/ 1004635 h 1323874"/>
              <a:gd name="connsiteX3" fmla="*/ 1361755 w 1361755"/>
              <a:gd name="connsiteY3" fmla="*/ 1323874 h 1323874"/>
              <a:gd name="connsiteX0" fmla="*/ 545983 w 1361755"/>
              <a:gd name="connsiteY0" fmla="*/ 0 h 1323874"/>
              <a:gd name="connsiteX1" fmla="*/ 38545 w 1361755"/>
              <a:gd name="connsiteY1" fmla="*/ 539196 h 1323874"/>
              <a:gd name="connsiteX2" fmla="*/ 285619 w 1361755"/>
              <a:gd name="connsiteY2" fmla="*/ 1004635 h 1323874"/>
              <a:gd name="connsiteX3" fmla="*/ 1361755 w 1361755"/>
              <a:gd name="connsiteY3" fmla="*/ 1323874 h 1323874"/>
              <a:gd name="connsiteX0" fmla="*/ 558198 w 1373970"/>
              <a:gd name="connsiteY0" fmla="*/ 0 h 1323874"/>
              <a:gd name="connsiteX1" fmla="*/ 50760 w 1373970"/>
              <a:gd name="connsiteY1" fmla="*/ 539196 h 1323874"/>
              <a:gd name="connsiteX2" fmla="*/ 297834 w 1373970"/>
              <a:gd name="connsiteY2" fmla="*/ 1004635 h 1323874"/>
              <a:gd name="connsiteX3" fmla="*/ 1373970 w 1373970"/>
              <a:gd name="connsiteY3" fmla="*/ 1323874 h 1323874"/>
              <a:gd name="connsiteX0" fmla="*/ 510604 w 1326376"/>
              <a:gd name="connsiteY0" fmla="*/ 0 h 1323874"/>
              <a:gd name="connsiteX1" fmla="*/ 3166 w 1326376"/>
              <a:gd name="connsiteY1" fmla="*/ 539196 h 1323874"/>
              <a:gd name="connsiteX2" fmla="*/ 403456 w 1326376"/>
              <a:gd name="connsiteY2" fmla="*/ 1078258 h 1323874"/>
              <a:gd name="connsiteX3" fmla="*/ 1326376 w 1326376"/>
              <a:gd name="connsiteY3" fmla="*/ 1323874 h 1323874"/>
              <a:gd name="connsiteX0" fmla="*/ 508369 w 1324141"/>
              <a:gd name="connsiteY0" fmla="*/ 0 h 1323874"/>
              <a:gd name="connsiteX1" fmla="*/ 931 w 1324141"/>
              <a:gd name="connsiteY1" fmla="*/ 539196 h 1323874"/>
              <a:gd name="connsiteX2" fmla="*/ 401221 w 1324141"/>
              <a:gd name="connsiteY2" fmla="*/ 1078258 h 1323874"/>
              <a:gd name="connsiteX3" fmla="*/ 1324141 w 1324141"/>
              <a:gd name="connsiteY3" fmla="*/ 1323874 h 1323874"/>
              <a:gd name="connsiteX0" fmla="*/ 508369 w 1324141"/>
              <a:gd name="connsiteY0" fmla="*/ 0 h 1323874"/>
              <a:gd name="connsiteX1" fmla="*/ 931 w 1324141"/>
              <a:gd name="connsiteY1" fmla="*/ 539196 h 1323874"/>
              <a:gd name="connsiteX2" fmla="*/ 401221 w 1324141"/>
              <a:gd name="connsiteY2" fmla="*/ 1078258 h 1323874"/>
              <a:gd name="connsiteX3" fmla="*/ 1324141 w 1324141"/>
              <a:gd name="connsiteY3" fmla="*/ 1323874 h 1323874"/>
              <a:gd name="connsiteX0" fmla="*/ 508369 w 1324141"/>
              <a:gd name="connsiteY0" fmla="*/ 0 h 1323874"/>
              <a:gd name="connsiteX1" fmla="*/ 931 w 1324141"/>
              <a:gd name="connsiteY1" fmla="*/ 539196 h 1323874"/>
              <a:gd name="connsiteX2" fmla="*/ 401221 w 1324141"/>
              <a:gd name="connsiteY2" fmla="*/ 1078258 h 1323874"/>
              <a:gd name="connsiteX3" fmla="*/ 1324141 w 1324141"/>
              <a:gd name="connsiteY3" fmla="*/ 1323874 h 1323874"/>
            </a:gdLst>
            <a:ahLst/>
            <a:cxnLst>
              <a:cxn ang="0">
                <a:pos x="connsiteX0" y="connsiteY0"/>
              </a:cxn>
              <a:cxn ang="0">
                <a:pos x="connsiteX1" y="connsiteY1"/>
              </a:cxn>
              <a:cxn ang="0">
                <a:pos x="connsiteX2" y="connsiteY2"/>
              </a:cxn>
              <a:cxn ang="0">
                <a:pos x="connsiteX3" y="connsiteY3"/>
              </a:cxn>
            </a:cxnLst>
            <a:rect l="l" t="t" r="r" b="b"/>
            <a:pathLst>
              <a:path w="1324141" h="1323874">
                <a:moveTo>
                  <a:pt x="508369" y="0"/>
                </a:moveTo>
                <a:cubicBezTo>
                  <a:pt x="434074" y="53340"/>
                  <a:pt x="18789" y="201723"/>
                  <a:pt x="931" y="539196"/>
                </a:cubicBezTo>
                <a:cubicBezTo>
                  <a:pt x="-16927" y="876669"/>
                  <a:pt x="225975" y="1018749"/>
                  <a:pt x="401221" y="1078258"/>
                </a:cubicBezTo>
                <a:cubicBezTo>
                  <a:pt x="651362" y="1166893"/>
                  <a:pt x="1091148" y="1244734"/>
                  <a:pt x="1324141" y="1323874"/>
                </a:cubicBezTo>
              </a:path>
            </a:pathLst>
          </a:custGeom>
          <a:noFill/>
          <a:ln>
            <a:solidFill>
              <a:schemeClr val="tx1"/>
            </a:solidFill>
            <a:prstDash val="dash"/>
            <a:headEnd type="none" w="med" len="med"/>
            <a:tailEnd type="triangle" w="lg" len="lg"/>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24" name="Freeform 1123"/>
          <p:cNvSpPr/>
          <p:nvPr/>
        </p:nvSpPr>
        <p:spPr>
          <a:xfrm>
            <a:off x="5187152" y="96216"/>
            <a:ext cx="1809058" cy="983321"/>
          </a:xfrm>
          <a:custGeom>
            <a:avLst/>
            <a:gdLst>
              <a:gd name="connsiteX0" fmla="*/ 53340 w 267169"/>
              <a:gd name="connsiteY0" fmla="*/ 0 h 1097280"/>
              <a:gd name="connsiteX1" fmla="*/ 160020 w 267169"/>
              <a:gd name="connsiteY1" fmla="*/ 99060 h 1097280"/>
              <a:gd name="connsiteX2" fmla="*/ 266700 w 267169"/>
              <a:gd name="connsiteY2" fmla="*/ 342900 h 1097280"/>
              <a:gd name="connsiteX3" fmla="*/ 190500 w 267169"/>
              <a:gd name="connsiteY3" fmla="*/ 754380 h 1097280"/>
              <a:gd name="connsiteX4" fmla="*/ 0 w 267169"/>
              <a:gd name="connsiteY4" fmla="*/ 1097280 h 1097280"/>
              <a:gd name="connsiteX0" fmla="*/ 0 w 213829"/>
              <a:gd name="connsiteY0" fmla="*/ 0 h 1001086"/>
              <a:gd name="connsiteX1" fmla="*/ 106680 w 213829"/>
              <a:gd name="connsiteY1" fmla="*/ 99060 h 1001086"/>
              <a:gd name="connsiteX2" fmla="*/ 213360 w 213829"/>
              <a:gd name="connsiteY2" fmla="*/ 342900 h 1001086"/>
              <a:gd name="connsiteX3" fmla="*/ 137160 w 213829"/>
              <a:gd name="connsiteY3" fmla="*/ 754380 h 1001086"/>
              <a:gd name="connsiteX4" fmla="*/ 128449 w 213829"/>
              <a:gd name="connsiteY4" fmla="*/ 1001086 h 1001086"/>
              <a:gd name="connsiteX0" fmla="*/ 0 w 227520"/>
              <a:gd name="connsiteY0" fmla="*/ 0 h 1001086"/>
              <a:gd name="connsiteX1" fmla="*/ 106680 w 227520"/>
              <a:gd name="connsiteY1" fmla="*/ 99060 h 1001086"/>
              <a:gd name="connsiteX2" fmla="*/ 213360 w 227520"/>
              <a:gd name="connsiteY2" fmla="*/ 342900 h 1001086"/>
              <a:gd name="connsiteX3" fmla="*/ 197017 w 227520"/>
              <a:gd name="connsiteY3" fmla="*/ 733004 h 1001086"/>
              <a:gd name="connsiteX4" fmla="*/ 128449 w 227520"/>
              <a:gd name="connsiteY4" fmla="*/ 1001086 h 1001086"/>
              <a:gd name="connsiteX0" fmla="*/ 0 w 213494"/>
              <a:gd name="connsiteY0" fmla="*/ 0 h 1001086"/>
              <a:gd name="connsiteX1" fmla="*/ 106680 w 213494"/>
              <a:gd name="connsiteY1" fmla="*/ 99060 h 1001086"/>
              <a:gd name="connsiteX2" fmla="*/ 213360 w 213494"/>
              <a:gd name="connsiteY2" fmla="*/ 342900 h 1001086"/>
              <a:gd name="connsiteX3" fmla="*/ 128449 w 213494"/>
              <a:gd name="connsiteY3" fmla="*/ 1001086 h 1001086"/>
              <a:gd name="connsiteX0" fmla="*/ 0 w 213494"/>
              <a:gd name="connsiteY0" fmla="*/ 0 h 1001086"/>
              <a:gd name="connsiteX1" fmla="*/ 106680 w 213494"/>
              <a:gd name="connsiteY1" fmla="*/ 99060 h 1001086"/>
              <a:gd name="connsiteX2" fmla="*/ 213360 w 213494"/>
              <a:gd name="connsiteY2" fmla="*/ 342900 h 1001086"/>
              <a:gd name="connsiteX3" fmla="*/ 128449 w 213494"/>
              <a:gd name="connsiteY3" fmla="*/ 1001086 h 1001086"/>
              <a:gd name="connsiteX0" fmla="*/ 0 w 213494"/>
              <a:gd name="connsiteY0" fmla="*/ 0 h 1001086"/>
              <a:gd name="connsiteX1" fmla="*/ 106680 w 213494"/>
              <a:gd name="connsiteY1" fmla="*/ 99060 h 1001086"/>
              <a:gd name="connsiteX2" fmla="*/ 213360 w 213494"/>
              <a:gd name="connsiteY2" fmla="*/ 342900 h 1001086"/>
              <a:gd name="connsiteX3" fmla="*/ 128449 w 213494"/>
              <a:gd name="connsiteY3" fmla="*/ 1001086 h 1001086"/>
              <a:gd name="connsiteX0" fmla="*/ 0 w 213426"/>
              <a:gd name="connsiteY0" fmla="*/ 0 h 1001086"/>
              <a:gd name="connsiteX1" fmla="*/ 113331 w 213426"/>
              <a:gd name="connsiteY1" fmla="*/ 45619 h 1001086"/>
              <a:gd name="connsiteX2" fmla="*/ 213360 w 213426"/>
              <a:gd name="connsiteY2" fmla="*/ 342900 h 1001086"/>
              <a:gd name="connsiteX3" fmla="*/ 128449 w 213426"/>
              <a:gd name="connsiteY3" fmla="*/ 1001086 h 1001086"/>
              <a:gd name="connsiteX0" fmla="*/ 0 w 213426"/>
              <a:gd name="connsiteY0" fmla="*/ 0 h 1001086"/>
              <a:gd name="connsiteX1" fmla="*/ 113331 w 213426"/>
              <a:gd name="connsiteY1" fmla="*/ 45619 h 1001086"/>
              <a:gd name="connsiteX2" fmla="*/ 213360 w 213426"/>
              <a:gd name="connsiteY2" fmla="*/ 342900 h 1001086"/>
              <a:gd name="connsiteX3" fmla="*/ 128449 w 213426"/>
              <a:gd name="connsiteY3" fmla="*/ 1001086 h 1001086"/>
              <a:gd name="connsiteX0" fmla="*/ 0 w 317969"/>
              <a:gd name="connsiteY0" fmla="*/ 0 h 1001086"/>
              <a:gd name="connsiteX1" fmla="*/ 113331 w 317969"/>
              <a:gd name="connsiteY1" fmla="*/ 45619 h 1001086"/>
              <a:gd name="connsiteX2" fmla="*/ 315887 w 317969"/>
              <a:gd name="connsiteY2" fmla="*/ 290363 h 1001086"/>
              <a:gd name="connsiteX3" fmla="*/ 213360 w 317969"/>
              <a:gd name="connsiteY3" fmla="*/ 342900 h 1001086"/>
              <a:gd name="connsiteX4" fmla="*/ 128449 w 317969"/>
              <a:gd name="connsiteY4" fmla="*/ 1001086 h 1001086"/>
              <a:gd name="connsiteX0" fmla="*/ 0 w 335281"/>
              <a:gd name="connsiteY0" fmla="*/ 0 h 1001086"/>
              <a:gd name="connsiteX1" fmla="*/ 113331 w 335281"/>
              <a:gd name="connsiteY1" fmla="*/ 45619 h 1001086"/>
              <a:gd name="connsiteX2" fmla="*/ 315887 w 335281"/>
              <a:gd name="connsiteY2" fmla="*/ 290363 h 1001086"/>
              <a:gd name="connsiteX3" fmla="*/ 317556 w 335281"/>
              <a:gd name="connsiteY3" fmla="*/ 652858 h 1001086"/>
              <a:gd name="connsiteX4" fmla="*/ 128449 w 335281"/>
              <a:gd name="connsiteY4" fmla="*/ 1001086 h 1001086"/>
              <a:gd name="connsiteX0" fmla="*/ 0 w 326188"/>
              <a:gd name="connsiteY0" fmla="*/ 0 h 1321733"/>
              <a:gd name="connsiteX1" fmla="*/ 113331 w 326188"/>
              <a:gd name="connsiteY1" fmla="*/ 45619 h 1321733"/>
              <a:gd name="connsiteX2" fmla="*/ 315887 w 326188"/>
              <a:gd name="connsiteY2" fmla="*/ 290363 h 1321733"/>
              <a:gd name="connsiteX3" fmla="*/ 317556 w 326188"/>
              <a:gd name="connsiteY3" fmla="*/ 652858 h 1321733"/>
              <a:gd name="connsiteX4" fmla="*/ 265899 w 326188"/>
              <a:gd name="connsiteY4" fmla="*/ 1321733 h 1321733"/>
              <a:gd name="connsiteX0" fmla="*/ 0 w 317806"/>
              <a:gd name="connsiteY0" fmla="*/ 0 h 1321733"/>
              <a:gd name="connsiteX1" fmla="*/ 113331 w 317806"/>
              <a:gd name="connsiteY1" fmla="*/ 45619 h 1321733"/>
              <a:gd name="connsiteX2" fmla="*/ 282633 w 317806"/>
              <a:gd name="connsiteY2" fmla="*/ 151416 h 1321733"/>
              <a:gd name="connsiteX3" fmla="*/ 317556 w 317806"/>
              <a:gd name="connsiteY3" fmla="*/ 652858 h 1321733"/>
              <a:gd name="connsiteX4" fmla="*/ 265899 w 317806"/>
              <a:gd name="connsiteY4" fmla="*/ 1321733 h 1321733"/>
              <a:gd name="connsiteX0" fmla="*/ 0 w 317806"/>
              <a:gd name="connsiteY0" fmla="*/ 75505 h 1397238"/>
              <a:gd name="connsiteX1" fmla="*/ 113331 w 317806"/>
              <a:gd name="connsiteY1" fmla="*/ 3553 h 1397238"/>
              <a:gd name="connsiteX2" fmla="*/ 282633 w 317806"/>
              <a:gd name="connsiteY2" fmla="*/ 226921 h 1397238"/>
              <a:gd name="connsiteX3" fmla="*/ 317556 w 317806"/>
              <a:gd name="connsiteY3" fmla="*/ 728363 h 1397238"/>
              <a:gd name="connsiteX4" fmla="*/ 265899 w 317806"/>
              <a:gd name="connsiteY4" fmla="*/ 1397238 h 1397238"/>
              <a:gd name="connsiteX0" fmla="*/ 0 w 359928"/>
              <a:gd name="connsiteY0" fmla="*/ 116192 h 1395172"/>
              <a:gd name="connsiteX1" fmla="*/ 155453 w 359928"/>
              <a:gd name="connsiteY1" fmla="*/ 1487 h 1395172"/>
              <a:gd name="connsiteX2" fmla="*/ 324755 w 359928"/>
              <a:gd name="connsiteY2" fmla="*/ 224855 h 1395172"/>
              <a:gd name="connsiteX3" fmla="*/ 359678 w 359928"/>
              <a:gd name="connsiteY3" fmla="*/ 726297 h 1395172"/>
              <a:gd name="connsiteX4" fmla="*/ 308021 w 359928"/>
              <a:gd name="connsiteY4" fmla="*/ 1395172 h 1395172"/>
              <a:gd name="connsiteX0" fmla="*/ 0 w 359928"/>
              <a:gd name="connsiteY0" fmla="*/ 117666 h 1396646"/>
              <a:gd name="connsiteX1" fmla="*/ 155453 w 359928"/>
              <a:gd name="connsiteY1" fmla="*/ 2961 h 1396646"/>
              <a:gd name="connsiteX2" fmla="*/ 324755 w 359928"/>
              <a:gd name="connsiteY2" fmla="*/ 226329 h 1396646"/>
              <a:gd name="connsiteX3" fmla="*/ 359678 w 359928"/>
              <a:gd name="connsiteY3" fmla="*/ 727771 h 1396646"/>
              <a:gd name="connsiteX4" fmla="*/ 308021 w 359928"/>
              <a:gd name="connsiteY4" fmla="*/ 1396646 h 1396646"/>
              <a:gd name="connsiteX0" fmla="*/ 0 w 357711"/>
              <a:gd name="connsiteY0" fmla="*/ 158265 h 1394492"/>
              <a:gd name="connsiteX1" fmla="*/ 153236 w 357711"/>
              <a:gd name="connsiteY1" fmla="*/ 807 h 1394492"/>
              <a:gd name="connsiteX2" fmla="*/ 322538 w 357711"/>
              <a:gd name="connsiteY2" fmla="*/ 224175 h 1394492"/>
              <a:gd name="connsiteX3" fmla="*/ 357461 w 357711"/>
              <a:gd name="connsiteY3" fmla="*/ 725617 h 1394492"/>
              <a:gd name="connsiteX4" fmla="*/ 305804 w 357711"/>
              <a:gd name="connsiteY4" fmla="*/ 1394492 h 1394492"/>
              <a:gd name="connsiteX0" fmla="*/ 0 w 357711"/>
              <a:gd name="connsiteY0" fmla="*/ 159195 h 1395422"/>
              <a:gd name="connsiteX1" fmla="*/ 153236 w 357711"/>
              <a:gd name="connsiteY1" fmla="*/ 1737 h 1395422"/>
              <a:gd name="connsiteX2" fmla="*/ 322538 w 357711"/>
              <a:gd name="connsiteY2" fmla="*/ 225105 h 1395422"/>
              <a:gd name="connsiteX3" fmla="*/ 357461 w 357711"/>
              <a:gd name="connsiteY3" fmla="*/ 726547 h 1395422"/>
              <a:gd name="connsiteX4" fmla="*/ 305804 w 357711"/>
              <a:gd name="connsiteY4" fmla="*/ 1395422 h 1395422"/>
              <a:gd name="connsiteX0" fmla="*/ 0 w 357711"/>
              <a:gd name="connsiteY0" fmla="*/ 159195 h 1395422"/>
              <a:gd name="connsiteX1" fmla="*/ 153236 w 357711"/>
              <a:gd name="connsiteY1" fmla="*/ 1737 h 1395422"/>
              <a:gd name="connsiteX2" fmla="*/ 322538 w 357711"/>
              <a:gd name="connsiteY2" fmla="*/ 225105 h 1395422"/>
              <a:gd name="connsiteX3" fmla="*/ 357461 w 357711"/>
              <a:gd name="connsiteY3" fmla="*/ 726547 h 1395422"/>
              <a:gd name="connsiteX4" fmla="*/ 305804 w 357711"/>
              <a:gd name="connsiteY4" fmla="*/ 1395422 h 1395422"/>
              <a:gd name="connsiteX0" fmla="*/ 0 w 358655"/>
              <a:gd name="connsiteY0" fmla="*/ 159195 h 1395422"/>
              <a:gd name="connsiteX1" fmla="*/ 153236 w 358655"/>
              <a:gd name="connsiteY1" fmla="*/ 1737 h 1395422"/>
              <a:gd name="connsiteX2" fmla="*/ 322538 w 358655"/>
              <a:gd name="connsiteY2" fmla="*/ 225105 h 1395422"/>
              <a:gd name="connsiteX3" fmla="*/ 357461 w 358655"/>
              <a:gd name="connsiteY3" fmla="*/ 726547 h 1395422"/>
              <a:gd name="connsiteX4" fmla="*/ 305804 w 358655"/>
              <a:gd name="connsiteY4" fmla="*/ 1395422 h 1395422"/>
              <a:gd name="connsiteX0" fmla="*/ 0 w 363089"/>
              <a:gd name="connsiteY0" fmla="*/ 130996 h 1399288"/>
              <a:gd name="connsiteX1" fmla="*/ 157670 w 363089"/>
              <a:gd name="connsiteY1" fmla="*/ 5603 h 1399288"/>
              <a:gd name="connsiteX2" fmla="*/ 326972 w 363089"/>
              <a:gd name="connsiteY2" fmla="*/ 228971 h 1399288"/>
              <a:gd name="connsiteX3" fmla="*/ 361895 w 363089"/>
              <a:gd name="connsiteY3" fmla="*/ 730413 h 1399288"/>
              <a:gd name="connsiteX4" fmla="*/ 310238 w 363089"/>
              <a:gd name="connsiteY4" fmla="*/ 1399288 h 1399288"/>
              <a:gd name="connsiteX0" fmla="*/ 0 w 363089"/>
              <a:gd name="connsiteY0" fmla="*/ 127047 h 1395339"/>
              <a:gd name="connsiteX1" fmla="*/ 157670 w 363089"/>
              <a:gd name="connsiteY1" fmla="*/ 1654 h 1395339"/>
              <a:gd name="connsiteX2" fmla="*/ 326972 w 363089"/>
              <a:gd name="connsiteY2" fmla="*/ 225022 h 1395339"/>
              <a:gd name="connsiteX3" fmla="*/ 361895 w 363089"/>
              <a:gd name="connsiteY3" fmla="*/ 726464 h 1395339"/>
              <a:gd name="connsiteX4" fmla="*/ 310238 w 363089"/>
              <a:gd name="connsiteY4" fmla="*/ 1395339 h 1395339"/>
              <a:gd name="connsiteX0" fmla="*/ 0 w 363089"/>
              <a:gd name="connsiteY0" fmla="*/ 127883 h 1396175"/>
              <a:gd name="connsiteX1" fmla="*/ 157670 w 363089"/>
              <a:gd name="connsiteY1" fmla="*/ 2490 h 1396175"/>
              <a:gd name="connsiteX2" fmla="*/ 326972 w 363089"/>
              <a:gd name="connsiteY2" fmla="*/ 225858 h 1396175"/>
              <a:gd name="connsiteX3" fmla="*/ 361895 w 363089"/>
              <a:gd name="connsiteY3" fmla="*/ 727300 h 1396175"/>
              <a:gd name="connsiteX4" fmla="*/ 310238 w 363089"/>
              <a:gd name="connsiteY4" fmla="*/ 1396175 h 1396175"/>
              <a:gd name="connsiteX0" fmla="*/ 0 w 205419"/>
              <a:gd name="connsiteY0" fmla="*/ 0 h 1393685"/>
              <a:gd name="connsiteX1" fmla="*/ 169302 w 205419"/>
              <a:gd name="connsiteY1" fmla="*/ 223368 h 1393685"/>
              <a:gd name="connsiteX2" fmla="*/ 204225 w 205419"/>
              <a:gd name="connsiteY2" fmla="*/ 724810 h 1393685"/>
              <a:gd name="connsiteX3" fmla="*/ 152568 w 205419"/>
              <a:gd name="connsiteY3" fmla="*/ 1393685 h 1393685"/>
            </a:gdLst>
            <a:ahLst/>
            <a:cxnLst>
              <a:cxn ang="0">
                <a:pos x="connsiteX0" y="connsiteY0"/>
              </a:cxn>
              <a:cxn ang="0">
                <a:pos x="connsiteX1" y="connsiteY1"/>
              </a:cxn>
              <a:cxn ang="0">
                <a:pos x="connsiteX2" y="connsiteY2"/>
              </a:cxn>
              <a:cxn ang="0">
                <a:pos x="connsiteX3" y="connsiteY3"/>
              </a:cxn>
            </a:cxnLst>
            <a:rect l="l" t="t" r="r" b="b"/>
            <a:pathLst>
              <a:path w="205419" h="1393685">
                <a:moveTo>
                  <a:pt x="0" y="0"/>
                </a:moveTo>
                <a:cubicBezTo>
                  <a:pt x="54495" y="16329"/>
                  <a:pt x="137112" y="99004"/>
                  <a:pt x="169302" y="223368"/>
                </a:cubicBezTo>
                <a:cubicBezTo>
                  <a:pt x="208142" y="379797"/>
                  <a:pt x="207014" y="529757"/>
                  <a:pt x="204225" y="724810"/>
                </a:cubicBezTo>
                <a:cubicBezTo>
                  <a:pt x="201436" y="919863"/>
                  <a:pt x="170258" y="1256563"/>
                  <a:pt x="152568" y="1393685"/>
                </a:cubicBezTo>
              </a:path>
            </a:pathLst>
          </a:custGeom>
          <a:noFill/>
          <a:ln>
            <a:solidFill>
              <a:schemeClr val="tx1"/>
            </a:solidFill>
            <a:prstDash val="dash"/>
            <a:headEnd type="none" w="med" len="med"/>
            <a:tailEnd type="triangle" w="lg" len="lg"/>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26" name="Freeform 1125"/>
          <p:cNvSpPr/>
          <p:nvPr/>
        </p:nvSpPr>
        <p:spPr>
          <a:xfrm>
            <a:off x="1823970" y="1996431"/>
            <a:ext cx="2112881" cy="945382"/>
          </a:xfrm>
          <a:custGeom>
            <a:avLst/>
            <a:gdLst>
              <a:gd name="connsiteX0" fmla="*/ 0 w 1068048"/>
              <a:gd name="connsiteY0" fmla="*/ 0 h 753695"/>
              <a:gd name="connsiteX1" fmla="*/ 160020 w 1068048"/>
              <a:gd name="connsiteY1" fmla="*/ 358140 h 753695"/>
              <a:gd name="connsiteX2" fmla="*/ 457200 w 1068048"/>
              <a:gd name="connsiteY2" fmla="*/ 457200 h 753695"/>
              <a:gd name="connsiteX3" fmla="*/ 800100 w 1068048"/>
              <a:gd name="connsiteY3" fmla="*/ 563880 h 753695"/>
              <a:gd name="connsiteX4" fmla="*/ 1036320 w 1068048"/>
              <a:gd name="connsiteY4" fmla="*/ 739140 h 753695"/>
              <a:gd name="connsiteX5" fmla="*/ 1059180 w 1068048"/>
              <a:gd name="connsiteY5" fmla="*/ 731520 h 753695"/>
              <a:gd name="connsiteX0" fmla="*/ 0 w 1036320"/>
              <a:gd name="connsiteY0" fmla="*/ 0 h 739140"/>
              <a:gd name="connsiteX1" fmla="*/ 160020 w 1036320"/>
              <a:gd name="connsiteY1" fmla="*/ 358140 h 739140"/>
              <a:gd name="connsiteX2" fmla="*/ 457200 w 1036320"/>
              <a:gd name="connsiteY2" fmla="*/ 457200 h 739140"/>
              <a:gd name="connsiteX3" fmla="*/ 800100 w 1036320"/>
              <a:gd name="connsiteY3" fmla="*/ 563880 h 739140"/>
              <a:gd name="connsiteX4" fmla="*/ 1036320 w 1036320"/>
              <a:gd name="connsiteY4" fmla="*/ 739140 h 7391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6320" h="739140">
                <a:moveTo>
                  <a:pt x="0" y="0"/>
                </a:moveTo>
                <a:cubicBezTo>
                  <a:pt x="41910" y="140970"/>
                  <a:pt x="83820" y="281940"/>
                  <a:pt x="160020" y="358140"/>
                </a:cubicBezTo>
                <a:cubicBezTo>
                  <a:pt x="236220" y="434340"/>
                  <a:pt x="350520" y="422910"/>
                  <a:pt x="457200" y="457200"/>
                </a:cubicBezTo>
                <a:cubicBezTo>
                  <a:pt x="563880" y="491490"/>
                  <a:pt x="703580" y="516890"/>
                  <a:pt x="800100" y="563880"/>
                </a:cubicBezTo>
                <a:cubicBezTo>
                  <a:pt x="896620" y="610870"/>
                  <a:pt x="993140" y="711200"/>
                  <a:pt x="1036320" y="739140"/>
                </a:cubicBezTo>
              </a:path>
            </a:pathLst>
          </a:custGeom>
          <a:noFill/>
          <a:ln w="38100">
            <a:solidFill>
              <a:srgbClr val="FF33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27" name="Freeform 1126"/>
          <p:cNvSpPr/>
          <p:nvPr/>
        </p:nvSpPr>
        <p:spPr>
          <a:xfrm>
            <a:off x="3916122" y="2941813"/>
            <a:ext cx="427278" cy="620537"/>
          </a:xfrm>
          <a:custGeom>
            <a:avLst/>
            <a:gdLst>
              <a:gd name="connsiteX0" fmla="*/ 0 w 261812"/>
              <a:gd name="connsiteY0" fmla="*/ 0 h 441960"/>
              <a:gd name="connsiteX1" fmla="*/ 91440 w 261812"/>
              <a:gd name="connsiteY1" fmla="*/ 68580 h 441960"/>
              <a:gd name="connsiteX2" fmla="*/ 83820 w 261812"/>
              <a:gd name="connsiteY2" fmla="*/ 175260 h 441960"/>
              <a:gd name="connsiteX3" fmla="*/ 175260 w 261812"/>
              <a:gd name="connsiteY3" fmla="*/ 251460 h 441960"/>
              <a:gd name="connsiteX4" fmla="*/ 251460 w 261812"/>
              <a:gd name="connsiteY4" fmla="*/ 304800 h 441960"/>
              <a:gd name="connsiteX5" fmla="*/ 259080 w 261812"/>
              <a:gd name="connsiteY5" fmla="*/ 441960 h 441960"/>
              <a:gd name="connsiteX0" fmla="*/ 0 w 287212"/>
              <a:gd name="connsiteY0" fmla="*/ 0 h 524510"/>
              <a:gd name="connsiteX1" fmla="*/ 116840 w 287212"/>
              <a:gd name="connsiteY1" fmla="*/ 151130 h 524510"/>
              <a:gd name="connsiteX2" fmla="*/ 109220 w 287212"/>
              <a:gd name="connsiteY2" fmla="*/ 257810 h 524510"/>
              <a:gd name="connsiteX3" fmla="*/ 200660 w 287212"/>
              <a:gd name="connsiteY3" fmla="*/ 334010 h 524510"/>
              <a:gd name="connsiteX4" fmla="*/ 276860 w 287212"/>
              <a:gd name="connsiteY4" fmla="*/ 387350 h 524510"/>
              <a:gd name="connsiteX5" fmla="*/ 284480 w 287212"/>
              <a:gd name="connsiteY5" fmla="*/ 524510 h 524510"/>
              <a:gd name="connsiteX0" fmla="*/ 0 w 287212"/>
              <a:gd name="connsiteY0" fmla="*/ 0 h 524510"/>
              <a:gd name="connsiteX1" fmla="*/ 116840 w 287212"/>
              <a:gd name="connsiteY1" fmla="*/ 151130 h 524510"/>
              <a:gd name="connsiteX2" fmla="*/ 109220 w 287212"/>
              <a:gd name="connsiteY2" fmla="*/ 257810 h 524510"/>
              <a:gd name="connsiteX3" fmla="*/ 276860 w 287212"/>
              <a:gd name="connsiteY3" fmla="*/ 387350 h 524510"/>
              <a:gd name="connsiteX4" fmla="*/ 284480 w 287212"/>
              <a:gd name="connsiteY4" fmla="*/ 524510 h 524510"/>
              <a:gd name="connsiteX0" fmla="*/ 0 w 287212"/>
              <a:gd name="connsiteY0" fmla="*/ 0 h 524510"/>
              <a:gd name="connsiteX1" fmla="*/ 116840 w 287212"/>
              <a:gd name="connsiteY1" fmla="*/ 151130 h 524510"/>
              <a:gd name="connsiteX2" fmla="*/ 109220 w 287212"/>
              <a:gd name="connsiteY2" fmla="*/ 257810 h 524510"/>
              <a:gd name="connsiteX3" fmla="*/ 276860 w 287212"/>
              <a:gd name="connsiteY3" fmla="*/ 387350 h 524510"/>
              <a:gd name="connsiteX4" fmla="*/ 284480 w 287212"/>
              <a:gd name="connsiteY4" fmla="*/ 524510 h 524510"/>
              <a:gd name="connsiteX0" fmla="*/ 0 w 312493"/>
              <a:gd name="connsiteY0" fmla="*/ 0 h 524510"/>
              <a:gd name="connsiteX1" fmla="*/ 116840 w 312493"/>
              <a:gd name="connsiteY1" fmla="*/ 151130 h 524510"/>
              <a:gd name="connsiteX2" fmla="*/ 109220 w 312493"/>
              <a:gd name="connsiteY2" fmla="*/ 257810 h 524510"/>
              <a:gd name="connsiteX3" fmla="*/ 276860 w 312493"/>
              <a:gd name="connsiteY3" fmla="*/ 387350 h 524510"/>
              <a:gd name="connsiteX4" fmla="*/ 284480 w 312493"/>
              <a:gd name="connsiteY4" fmla="*/ 524510 h 524510"/>
              <a:gd name="connsiteX0" fmla="*/ 0 w 354508"/>
              <a:gd name="connsiteY0" fmla="*/ 0 h 556260"/>
              <a:gd name="connsiteX1" fmla="*/ 116840 w 354508"/>
              <a:gd name="connsiteY1" fmla="*/ 151130 h 556260"/>
              <a:gd name="connsiteX2" fmla="*/ 109220 w 354508"/>
              <a:gd name="connsiteY2" fmla="*/ 257810 h 556260"/>
              <a:gd name="connsiteX3" fmla="*/ 276860 w 354508"/>
              <a:gd name="connsiteY3" fmla="*/ 387350 h 556260"/>
              <a:gd name="connsiteX4" fmla="*/ 354330 w 354508"/>
              <a:gd name="connsiteY4" fmla="*/ 556260 h 556260"/>
              <a:gd name="connsiteX0" fmla="*/ 0 w 354485"/>
              <a:gd name="connsiteY0" fmla="*/ 0 h 556260"/>
              <a:gd name="connsiteX1" fmla="*/ 116840 w 354485"/>
              <a:gd name="connsiteY1" fmla="*/ 151130 h 556260"/>
              <a:gd name="connsiteX2" fmla="*/ 147320 w 354485"/>
              <a:gd name="connsiteY2" fmla="*/ 289560 h 556260"/>
              <a:gd name="connsiteX3" fmla="*/ 276860 w 354485"/>
              <a:gd name="connsiteY3" fmla="*/ 387350 h 556260"/>
              <a:gd name="connsiteX4" fmla="*/ 354330 w 354485"/>
              <a:gd name="connsiteY4" fmla="*/ 556260 h 5562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4485" h="556260">
                <a:moveTo>
                  <a:pt x="0" y="0"/>
                </a:moveTo>
                <a:cubicBezTo>
                  <a:pt x="38735" y="19685"/>
                  <a:pt x="92287" y="102870"/>
                  <a:pt x="116840" y="151130"/>
                </a:cubicBezTo>
                <a:cubicBezTo>
                  <a:pt x="141393" y="199390"/>
                  <a:pt x="120650" y="250190"/>
                  <a:pt x="147320" y="289560"/>
                </a:cubicBezTo>
                <a:cubicBezTo>
                  <a:pt x="173990" y="328930"/>
                  <a:pt x="242358" y="342900"/>
                  <a:pt x="276860" y="387350"/>
                </a:cubicBezTo>
                <a:cubicBezTo>
                  <a:pt x="311362" y="431800"/>
                  <a:pt x="357505" y="503555"/>
                  <a:pt x="354330" y="556260"/>
                </a:cubicBezTo>
              </a:path>
            </a:pathLst>
          </a:custGeom>
          <a:noFill/>
          <a:ln w="57150" cap="rnd">
            <a:solidFill>
              <a:srgbClr val="FFC0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28" name="Freeform 1127"/>
          <p:cNvSpPr/>
          <p:nvPr/>
        </p:nvSpPr>
        <p:spPr>
          <a:xfrm>
            <a:off x="3279333" y="834399"/>
            <a:ext cx="1813901" cy="989867"/>
          </a:xfrm>
          <a:custGeom>
            <a:avLst/>
            <a:gdLst>
              <a:gd name="connsiteX0" fmla="*/ 0 w 1059180"/>
              <a:gd name="connsiteY0" fmla="*/ 0 h 937260"/>
              <a:gd name="connsiteX1" fmla="*/ 182880 w 1059180"/>
              <a:gd name="connsiteY1" fmla="*/ 53340 h 937260"/>
              <a:gd name="connsiteX2" fmla="*/ 274320 w 1059180"/>
              <a:gd name="connsiteY2" fmla="*/ 243840 h 937260"/>
              <a:gd name="connsiteX3" fmla="*/ 175260 w 1059180"/>
              <a:gd name="connsiteY3" fmla="*/ 472440 h 937260"/>
              <a:gd name="connsiteX4" fmla="*/ 358140 w 1059180"/>
              <a:gd name="connsiteY4" fmla="*/ 708660 h 937260"/>
              <a:gd name="connsiteX5" fmla="*/ 533400 w 1059180"/>
              <a:gd name="connsiteY5" fmla="*/ 762000 h 937260"/>
              <a:gd name="connsiteX6" fmla="*/ 815340 w 1059180"/>
              <a:gd name="connsiteY6" fmla="*/ 845820 h 937260"/>
              <a:gd name="connsiteX7" fmla="*/ 1059180 w 1059180"/>
              <a:gd name="connsiteY7" fmla="*/ 937260 h 937260"/>
              <a:gd name="connsiteX0" fmla="*/ 0 w 1059180"/>
              <a:gd name="connsiteY0" fmla="*/ 0 h 937260"/>
              <a:gd name="connsiteX1" fmla="*/ 182880 w 1059180"/>
              <a:gd name="connsiteY1" fmla="*/ 53340 h 937260"/>
              <a:gd name="connsiteX2" fmla="*/ 274320 w 1059180"/>
              <a:gd name="connsiteY2" fmla="*/ 243840 h 937260"/>
              <a:gd name="connsiteX3" fmla="*/ 175260 w 1059180"/>
              <a:gd name="connsiteY3" fmla="*/ 472440 h 937260"/>
              <a:gd name="connsiteX4" fmla="*/ 358140 w 1059180"/>
              <a:gd name="connsiteY4" fmla="*/ 708660 h 937260"/>
              <a:gd name="connsiteX5" fmla="*/ 815340 w 1059180"/>
              <a:gd name="connsiteY5" fmla="*/ 845820 h 937260"/>
              <a:gd name="connsiteX6" fmla="*/ 1059180 w 1059180"/>
              <a:gd name="connsiteY6" fmla="*/ 937260 h 937260"/>
              <a:gd name="connsiteX0" fmla="*/ 0 w 1059180"/>
              <a:gd name="connsiteY0" fmla="*/ 0 h 937260"/>
              <a:gd name="connsiteX1" fmla="*/ 182880 w 1059180"/>
              <a:gd name="connsiteY1" fmla="*/ 53340 h 937260"/>
              <a:gd name="connsiteX2" fmla="*/ 274320 w 1059180"/>
              <a:gd name="connsiteY2" fmla="*/ 243840 h 937260"/>
              <a:gd name="connsiteX3" fmla="*/ 175260 w 1059180"/>
              <a:gd name="connsiteY3" fmla="*/ 499428 h 937260"/>
              <a:gd name="connsiteX4" fmla="*/ 358140 w 1059180"/>
              <a:gd name="connsiteY4" fmla="*/ 708660 h 937260"/>
              <a:gd name="connsiteX5" fmla="*/ 815340 w 1059180"/>
              <a:gd name="connsiteY5" fmla="*/ 845820 h 937260"/>
              <a:gd name="connsiteX6" fmla="*/ 1059180 w 1059180"/>
              <a:gd name="connsiteY6" fmla="*/ 937260 h 937260"/>
              <a:gd name="connsiteX0" fmla="*/ 0 w 1059180"/>
              <a:gd name="connsiteY0" fmla="*/ 2553 h 939813"/>
              <a:gd name="connsiteX1" fmla="*/ 182880 w 1059180"/>
              <a:gd name="connsiteY1" fmla="*/ 55893 h 939813"/>
              <a:gd name="connsiteX2" fmla="*/ 175260 w 1059180"/>
              <a:gd name="connsiteY2" fmla="*/ 501981 h 939813"/>
              <a:gd name="connsiteX3" fmla="*/ 358140 w 1059180"/>
              <a:gd name="connsiteY3" fmla="*/ 711213 h 939813"/>
              <a:gd name="connsiteX4" fmla="*/ 815340 w 1059180"/>
              <a:gd name="connsiteY4" fmla="*/ 848373 h 939813"/>
              <a:gd name="connsiteX5" fmla="*/ 1059180 w 1059180"/>
              <a:gd name="connsiteY5" fmla="*/ 939813 h 939813"/>
              <a:gd name="connsiteX0" fmla="*/ 0 w 1059180"/>
              <a:gd name="connsiteY0" fmla="*/ 0 h 937260"/>
              <a:gd name="connsiteX1" fmla="*/ 294118 w 1059180"/>
              <a:gd name="connsiteY1" fmla="*/ 77607 h 937260"/>
              <a:gd name="connsiteX2" fmla="*/ 175260 w 1059180"/>
              <a:gd name="connsiteY2" fmla="*/ 499428 h 937260"/>
              <a:gd name="connsiteX3" fmla="*/ 358140 w 1059180"/>
              <a:gd name="connsiteY3" fmla="*/ 708660 h 937260"/>
              <a:gd name="connsiteX4" fmla="*/ 815340 w 1059180"/>
              <a:gd name="connsiteY4" fmla="*/ 845820 h 937260"/>
              <a:gd name="connsiteX5" fmla="*/ 1059180 w 1059180"/>
              <a:gd name="connsiteY5" fmla="*/ 937260 h 937260"/>
              <a:gd name="connsiteX0" fmla="*/ 0 w 1059180"/>
              <a:gd name="connsiteY0" fmla="*/ 8459 h 945719"/>
              <a:gd name="connsiteX1" fmla="*/ 294118 w 1059180"/>
              <a:gd name="connsiteY1" fmla="*/ 86066 h 945719"/>
              <a:gd name="connsiteX2" fmla="*/ 175260 w 1059180"/>
              <a:gd name="connsiteY2" fmla="*/ 507887 h 945719"/>
              <a:gd name="connsiteX3" fmla="*/ 358140 w 1059180"/>
              <a:gd name="connsiteY3" fmla="*/ 717119 h 945719"/>
              <a:gd name="connsiteX4" fmla="*/ 815340 w 1059180"/>
              <a:gd name="connsiteY4" fmla="*/ 854279 h 945719"/>
              <a:gd name="connsiteX5" fmla="*/ 1059180 w 1059180"/>
              <a:gd name="connsiteY5" fmla="*/ 945719 h 945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59180" h="945719">
                <a:moveTo>
                  <a:pt x="0" y="8459"/>
                </a:moveTo>
                <a:cubicBezTo>
                  <a:pt x="68580" y="14809"/>
                  <a:pt x="235245" y="-45706"/>
                  <a:pt x="294118" y="86066"/>
                </a:cubicBezTo>
                <a:cubicBezTo>
                  <a:pt x="352991" y="217838"/>
                  <a:pt x="164590" y="402712"/>
                  <a:pt x="175260" y="507887"/>
                </a:cubicBezTo>
                <a:cubicBezTo>
                  <a:pt x="185930" y="613063"/>
                  <a:pt x="251460" y="659387"/>
                  <a:pt x="358140" y="717119"/>
                </a:cubicBezTo>
                <a:cubicBezTo>
                  <a:pt x="464820" y="774851"/>
                  <a:pt x="698500" y="816179"/>
                  <a:pt x="815340" y="854279"/>
                </a:cubicBezTo>
                <a:cubicBezTo>
                  <a:pt x="902970" y="883489"/>
                  <a:pt x="981075" y="914604"/>
                  <a:pt x="1059180" y="945719"/>
                </a:cubicBezTo>
              </a:path>
            </a:pathLst>
          </a:custGeom>
          <a:noFill/>
          <a:ln w="38100">
            <a:solidFill>
              <a:srgbClr val="FF33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29" name="Freeform 1128"/>
          <p:cNvSpPr/>
          <p:nvPr/>
        </p:nvSpPr>
        <p:spPr>
          <a:xfrm>
            <a:off x="5105138" y="1825322"/>
            <a:ext cx="1536167" cy="1323238"/>
          </a:xfrm>
          <a:custGeom>
            <a:avLst/>
            <a:gdLst>
              <a:gd name="connsiteX0" fmla="*/ 0 w 793635"/>
              <a:gd name="connsiteY0" fmla="*/ 0 h 822960"/>
              <a:gd name="connsiteX1" fmla="*/ 114300 w 793635"/>
              <a:gd name="connsiteY1" fmla="*/ 205740 h 822960"/>
              <a:gd name="connsiteX2" fmla="*/ 251460 w 793635"/>
              <a:gd name="connsiteY2" fmla="*/ 342900 h 822960"/>
              <a:gd name="connsiteX3" fmla="*/ 426720 w 793635"/>
              <a:gd name="connsiteY3" fmla="*/ 388620 h 822960"/>
              <a:gd name="connsiteX4" fmla="*/ 670560 w 793635"/>
              <a:gd name="connsiteY4" fmla="*/ 419100 h 822960"/>
              <a:gd name="connsiteX5" fmla="*/ 784860 w 793635"/>
              <a:gd name="connsiteY5" fmla="*/ 624840 h 822960"/>
              <a:gd name="connsiteX6" fmla="*/ 777240 w 793635"/>
              <a:gd name="connsiteY6" fmla="*/ 822960 h 822960"/>
              <a:gd name="connsiteX0" fmla="*/ 0 w 797600"/>
              <a:gd name="connsiteY0" fmla="*/ 0 h 822960"/>
              <a:gd name="connsiteX1" fmla="*/ 114300 w 797600"/>
              <a:gd name="connsiteY1" fmla="*/ 205740 h 822960"/>
              <a:gd name="connsiteX2" fmla="*/ 251460 w 797600"/>
              <a:gd name="connsiteY2" fmla="*/ 342900 h 822960"/>
              <a:gd name="connsiteX3" fmla="*/ 426720 w 797600"/>
              <a:gd name="connsiteY3" fmla="*/ 388620 h 822960"/>
              <a:gd name="connsiteX4" fmla="*/ 616924 w 797600"/>
              <a:gd name="connsiteY4" fmla="*/ 488950 h 822960"/>
              <a:gd name="connsiteX5" fmla="*/ 784860 w 797600"/>
              <a:gd name="connsiteY5" fmla="*/ 624840 h 822960"/>
              <a:gd name="connsiteX6" fmla="*/ 777240 w 797600"/>
              <a:gd name="connsiteY6" fmla="*/ 822960 h 822960"/>
              <a:gd name="connsiteX0" fmla="*/ 0 w 787513"/>
              <a:gd name="connsiteY0" fmla="*/ 0 h 943610"/>
              <a:gd name="connsiteX1" fmla="*/ 114300 w 787513"/>
              <a:gd name="connsiteY1" fmla="*/ 205740 h 943610"/>
              <a:gd name="connsiteX2" fmla="*/ 251460 w 787513"/>
              <a:gd name="connsiteY2" fmla="*/ 342900 h 943610"/>
              <a:gd name="connsiteX3" fmla="*/ 426720 w 787513"/>
              <a:gd name="connsiteY3" fmla="*/ 388620 h 943610"/>
              <a:gd name="connsiteX4" fmla="*/ 616924 w 787513"/>
              <a:gd name="connsiteY4" fmla="*/ 488950 h 943610"/>
              <a:gd name="connsiteX5" fmla="*/ 784860 w 787513"/>
              <a:gd name="connsiteY5" fmla="*/ 624840 h 943610"/>
              <a:gd name="connsiteX6" fmla="*/ 719135 w 787513"/>
              <a:gd name="connsiteY6" fmla="*/ 943610 h 943610"/>
              <a:gd name="connsiteX0" fmla="*/ 0 w 735200"/>
              <a:gd name="connsiteY0" fmla="*/ 0 h 943610"/>
              <a:gd name="connsiteX1" fmla="*/ 114300 w 735200"/>
              <a:gd name="connsiteY1" fmla="*/ 205740 h 943610"/>
              <a:gd name="connsiteX2" fmla="*/ 251460 w 735200"/>
              <a:gd name="connsiteY2" fmla="*/ 342900 h 943610"/>
              <a:gd name="connsiteX3" fmla="*/ 426720 w 735200"/>
              <a:gd name="connsiteY3" fmla="*/ 388620 h 943610"/>
              <a:gd name="connsiteX4" fmla="*/ 616924 w 735200"/>
              <a:gd name="connsiteY4" fmla="*/ 488950 h 943610"/>
              <a:gd name="connsiteX5" fmla="*/ 726755 w 735200"/>
              <a:gd name="connsiteY5" fmla="*/ 624840 h 943610"/>
              <a:gd name="connsiteX6" fmla="*/ 719135 w 735200"/>
              <a:gd name="connsiteY6" fmla="*/ 943610 h 943610"/>
              <a:gd name="connsiteX0" fmla="*/ 0 w 737060"/>
              <a:gd name="connsiteY0" fmla="*/ 0 h 912416"/>
              <a:gd name="connsiteX1" fmla="*/ 114300 w 737060"/>
              <a:gd name="connsiteY1" fmla="*/ 205740 h 912416"/>
              <a:gd name="connsiteX2" fmla="*/ 251460 w 737060"/>
              <a:gd name="connsiteY2" fmla="*/ 342900 h 912416"/>
              <a:gd name="connsiteX3" fmla="*/ 426720 w 737060"/>
              <a:gd name="connsiteY3" fmla="*/ 388620 h 912416"/>
              <a:gd name="connsiteX4" fmla="*/ 616924 w 737060"/>
              <a:gd name="connsiteY4" fmla="*/ 488950 h 912416"/>
              <a:gd name="connsiteX5" fmla="*/ 726755 w 737060"/>
              <a:gd name="connsiteY5" fmla="*/ 624840 h 912416"/>
              <a:gd name="connsiteX6" fmla="*/ 723759 w 737060"/>
              <a:gd name="connsiteY6" fmla="*/ 912416 h 912416"/>
              <a:gd name="connsiteX0" fmla="*/ 0 w 737060"/>
              <a:gd name="connsiteY0" fmla="*/ 0 h 912416"/>
              <a:gd name="connsiteX1" fmla="*/ 114300 w 737060"/>
              <a:gd name="connsiteY1" fmla="*/ 205740 h 912416"/>
              <a:gd name="connsiteX2" fmla="*/ 251460 w 737060"/>
              <a:gd name="connsiteY2" fmla="*/ 342900 h 912416"/>
              <a:gd name="connsiteX3" fmla="*/ 426720 w 737060"/>
              <a:gd name="connsiteY3" fmla="*/ 432291 h 912416"/>
              <a:gd name="connsiteX4" fmla="*/ 616924 w 737060"/>
              <a:gd name="connsiteY4" fmla="*/ 488950 h 912416"/>
              <a:gd name="connsiteX5" fmla="*/ 726755 w 737060"/>
              <a:gd name="connsiteY5" fmla="*/ 624840 h 912416"/>
              <a:gd name="connsiteX6" fmla="*/ 723759 w 737060"/>
              <a:gd name="connsiteY6" fmla="*/ 912416 h 912416"/>
              <a:gd name="connsiteX0" fmla="*/ 0 w 737060"/>
              <a:gd name="connsiteY0" fmla="*/ 0 h 912416"/>
              <a:gd name="connsiteX1" fmla="*/ 114300 w 737060"/>
              <a:gd name="connsiteY1" fmla="*/ 205740 h 912416"/>
              <a:gd name="connsiteX2" fmla="*/ 214472 w 737060"/>
              <a:gd name="connsiteY2" fmla="*/ 342900 h 912416"/>
              <a:gd name="connsiteX3" fmla="*/ 426720 w 737060"/>
              <a:gd name="connsiteY3" fmla="*/ 432291 h 912416"/>
              <a:gd name="connsiteX4" fmla="*/ 616924 w 737060"/>
              <a:gd name="connsiteY4" fmla="*/ 488950 h 912416"/>
              <a:gd name="connsiteX5" fmla="*/ 726755 w 737060"/>
              <a:gd name="connsiteY5" fmla="*/ 624840 h 912416"/>
              <a:gd name="connsiteX6" fmla="*/ 723759 w 737060"/>
              <a:gd name="connsiteY6" fmla="*/ 912416 h 912416"/>
              <a:gd name="connsiteX0" fmla="*/ 0 w 737694"/>
              <a:gd name="connsiteY0" fmla="*/ 0 h 902672"/>
              <a:gd name="connsiteX1" fmla="*/ 114300 w 737694"/>
              <a:gd name="connsiteY1" fmla="*/ 205740 h 902672"/>
              <a:gd name="connsiteX2" fmla="*/ 214472 w 737694"/>
              <a:gd name="connsiteY2" fmla="*/ 342900 h 902672"/>
              <a:gd name="connsiteX3" fmla="*/ 426720 w 737694"/>
              <a:gd name="connsiteY3" fmla="*/ 432291 h 902672"/>
              <a:gd name="connsiteX4" fmla="*/ 616924 w 737694"/>
              <a:gd name="connsiteY4" fmla="*/ 488950 h 902672"/>
              <a:gd name="connsiteX5" fmla="*/ 726755 w 737694"/>
              <a:gd name="connsiteY5" fmla="*/ 624840 h 902672"/>
              <a:gd name="connsiteX6" fmla="*/ 725385 w 737694"/>
              <a:gd name="connsiteY6" fmla="*/ 902672 h 902672"/>
              <a:gd name="connsiteX0" fmla="*/ 0 w 737694"/>
              <a:gd name="connsiteY0" fmla="*/ 0 h 902672"/>
              <a:gd name="connsiteX1" fmla="*/ 114300 w 737694"/>
              <a:gd name="connsiteY1" fmla="*/ 205740 h 902672"/>
              <a:gd name="connsiteX2" fmla="*/ 247297 w 737694"/>
              <a:gd name="connsiteY2" fmla="*/ 363687 h 902672"/>
              <a:gd name="connsiteX3" fmla="*/ 426720 w 737694"/>
              <a:gd name="connsiteY3" fmla="*/ 432291 h 902672"/>
              <a:gd name="connsiteX4" fmla="*/ 616924 w 737694"/>
              <a:gd name="connsiteY4" fmla="*/ 488950 h 902672"/>
              <a:gd name="connsiteX5" fmla="*/ 726755 w 737694"/>
              <a:gd name="connsiteY5" fmla="*/ 624840 h 902672"/>
              <a:gd name="connsiteX6" fmla="*/ 725385 w 737694"/>
              <a:gd name="connsiteY6" fmla="*/ 902672 h 902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37694" h="902672">
                <a:moveTo>
                  <a:pt x="0" y="0"/>
                </a:moveTo>
                <a:cubicBezTo>
                  <a:pt x="36195" y="74295"/>
                  <a:pt x="73084" y="145126"/>
                  <a:pt x="114300" y="205740"/>
                </a:cubicBezTo>
                <a:cubicBezTo>
                  <a:pt x="155516" y="266354"/>
                  <a:pt x="195227" y="325929"/>
                  <a:pt x="247297" y="363687"/>
                </a:cubicBezTo>
                <a:cubicBezTo>
                  <a:pt x="299367" y="401445"/>
                  <a:pt x="365116" y="411414"/>
                  <a:pt x="426720" y="432291"/>
                </a:cubicBezTo>
                <a:cubicBezTo>
                  <a:pt x="488324" y="453168"/>
                  <a:pt x="566918" y="456859"/>
                  <a:pt x="616924" y="488950"/>
                </a:cubicBezTo>
                <a:cubicBezTo>
                  <a:pt x="666930" y="521042"/>
                  <a:pt x="708949" y="554262"/>
                  <a:pt x="726755" y="624840"/>
                </a:cubicBezTo>
                <a:cubicBezTo>
                  <a:pt x="744561" y="695418"/>
                  <a:pt x="738085" y="837267"/>
                  <a:pt x="725385" y="902672"/>
                </a:cubicBezTo>
              </a:path>
            </a:pathLst>
          </a:custGeom>
          <a:noFill/>
          <a:ln w="57150" cap="rnd">
            <a:solidFill>
              <a:srgbClr val="FFC0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30" name="Freeform 1129"/>
          <p:cNvSpPr/>
          <p:nvPr/>
        </p:nvSpPr>
        <p:spPr>
          <a:xfrm rot="1193301">
            <a:off x="6587108" y="52932"/>
            <a:ext cx="2254738" cy="2120334"/>
          </a:xfrm>
          <a:custGeom>
            <a:avLst/>
            <a:gdLst>
              <a:gd name="connsiteX0" fmla="*/ 1000178 w 1000178"/>
              <a:gd name="connsiteY0" fmla="*/ 0 h 1310640"/>
              <a:gd name="connsiteX1" fmla="*/ 840158 w 1000178"/>
              <a:gd name="connsiteY1" fmla="*/ 289560 h 1310640"/>
              <a:gd name="connsiteX2" fmla="*/ 520118 w 1000178"/>
              <a:gd name="connsiteY2" fmla="*/ 396240 h 1310640"/>
              <a:gd name="connsiteX3" fmla="*/ 283898 w 1000178"/>
              <a:gd name="connsiteY3" fmla="*/ 632460 h 1310640"/>
              <a:gd name="connsiteX4" fmla="*/ 222938 w 1000178"/>
              <a:gd name="connsiteY4" fmla="*/ 701040 h 1310640"/>
              <a:gd name="connsiteX5" fmla="*/ 24818 w 1000178"/>
              <a:gd name="connsiteY5" fmla="*/ 1066800 h 1310640"/>
              <a:gd name="connsiteX6" fmla="*/ 9578 w 1000178"/>
              <a:gd name="connsiteY6" fmla="*/ 1310640 h 1310640"/>
              <a:gd name="connsiteX0" fmla="*/ 1000178 w 1000178"/>
              <a:gd name="connsiteY0" fmla="*/ 0 h 1310640"/>
              <a:gd name="connsiteX1" fmla="*/ 840158 w 1000178"/>
              <a:gd name="connsiteY1" fmla="*/ 289560 h 1310640"/>
              <a:gd name="connsiteX2" fmla="*/ 520118 w 1000178"/>
              <a:gd name="connsiteY2" fmla="*/ 396240 h 1310640"/>
              <a:gd name="connsiteX3" fmla="*/ 222938 w 1000178"/>
              <a:gd name="connsiteY3" fmla="*/ 701040 h 1310640"/>
              <a:gd name="connsiteX4" fmla="*/ 24818 w 1000178"/>
              <a:gd name="connsiteY4" fmla="*/ 1066800 h 1310640"/>
              <a:gd name="connsiteX5" fmla="*/ 9578 w 1000178"/>
              <a:gd name="connsiteY5" fmla="*/ 1310640 h 1310640"/>
              <a:gd name="connsiteX0" fmla="*/ 996808 w 996808"/>
              <a:gd name="connsiteY0" fmla="*/ 0 h 1310640"/>
              <a:gd name="connsiteX1" fmla="*/ 836788 w 996808"/>
              <a:gd name="connsiteY1" fmla="*/ 289560 h 1310640"/>
              <a:gd name="connsiteX2" fmla="*/ 516748 w 996808"/>
              <a:gd name="connsiteY2" fmla="*/ 396240 h 1310640"/>
              <a:gd name="connsiteX3" fmla="*/ 155533 w 996808"/>
              <a:gd name="connsiteY3" fmla="*/ 614098 h 1310640"/>
              <a:gd name="connsiteX4" fmla="*/ 21448 w 996808"/>
              <a:gd name="connsiteY4" fmla="*/ 1066800 h 1310640"/>
              <a:gd name="connsiteX5" fmla="*/ 6208 w 996808"/>
              <a:gd name="connsiteY5" fmla="*/ 1310640 h 1310640"/>
              <a:gd name="connsiteX0" fmla="*/ 996808 w 996808"/>
              <a:gd name="connsiteY0" fmla="*/ 0 h 1310640"/>
              <a:gd name="connsiteX1" fmla="*/ 836788 w 996808"/>
              <a:gd name="connsiteY1" fmla="*/ 289560 h 1310640"/>
              <a:gd name="connsiteX2" fmla="*/ 516748 w 996808"/>
              <a:gd name="connsiteY2" fmla="*/ 396240 h 1310640"/>
              <a:gd name="connsiteX3" fmla="*/ 155533 w 996808"/>
              <a:gd name="connsiteY3" fmla="*/ 614098 h 1310640"/>
              <a:gd name="connsiteX4" fmla="*/ 21448 w 996808"/>
              <a:gd name="connsiteY4" fmla="*/ 1066800 h 1310640"/>
              <a:gd name="connsiteX5" fmla="*/ 6208 w 996808"/>
              <a:gd name="connsiteY5" fmla="*/ 1310640 h 1310640"/>
              <a:gd name="connsiteX0" fmla="*/ 991942 w 991942"/>
              <a:gd name="connsiteY0" fmla="*/ 0 h 1310640"/>
              <a:gd name="connsiteX1" fmla="*/ 831922 w 991942"/>
              <a:gd name="connsiteY1" fmla="*/ 289560 h 1310640"/>
              <a:gd name="connsiteX2" fmla="*/ 511882 w 991942"/>
              <a:gd name="connsiteY2" fmla="*/ 396240 h 1310640"/>
              <a:gd name="connsiteX3" fmla="*/ 150667 w 991942"/>
              <a:gd name="connsiteY3" fmla="*/ 614098 h 1310640"/>
              <a:gd name="connsiteX4" fmla="*/ 16582 w 991942"/>
              <a:gd name="connsiteY4" fmla="*/ 1066800 h 1310640"/>
              <a:gd name="connsiteX5" fmla="*/ 1342 w 991942"/>
              <a:gd name="connsiteY5" fmla="*/ 1310640 h 1310640"/>
              <a:gd name="connsiteX0" fmla="*/ 991942 w 991942"/>
              <a:gd name="connsiteY0" fmla="*/ 0 h 1310640"/>
              <a:gd name="connsiteX1" fmla="*/ 831922 w 991942"/>
              <a:gd name="connsiteY1" fmla="*/ 289560 h 1310640"/>
              <a:gd name="connsiteX2" fmla="*/ 150667 w 991942"/>
              <a:gd name="connsiteY2" fmla="*/ 614098 h 1310640"/>
              <a:gd name="connsiteX3" fmla="*/ 16582 w 991942"/>
              <a:gd name="connsiteY3" fmla="*/ 1066800 h 1310640"/>
              <a:gd name="connsiteX4" fmla="*/ 1342 w 991942"/>
              <a:gd name="connsiteY4" fmla="*/ 1310640 h 1310640"/>
              <a:gd name="connsiteX0" fmla="*/ 1177223 w 1177223"/>
              <a:gd name="connsiteY0" fmla="*/ 0 h 1310640"/>
              <a:gd name="connsiteX1" fmla="*/ 1017203 w 1177223"/>
              <a:gd name="connsiteY1" fmla="*/ 289560 h 1310640"/>
              <a:gd name="connsiteX2" fmla="*/ 335948 w 1177223"/>
              <a:gd name="connsiteY2" fmla="*/ 614098 h 1310640"/>
              <a:gd name="connsiteX3" fmla="*/ 2453 w 1177223"/>
              <a:gd name="connsiteY3" fmla="*/ 937587 h 1310640"/>
              <a:gd name="connsiteX4" fmla="*/ 186623 w 1177223"/>
              <a:gd name="connsiteY4" fmla="*/ 1310640 h 1310640"/>
              <a:gd name="connsiteX0" fmla="*/ 1175957 w 1175957"/>
              <a:gd name="connsiteY0" fmla="*/ 0 h 1310640"/>
              <a:gd name="connsiteX1" fmla="*/ 1015937 w 1175957"/>
              <a:gd name="connsiteY1" fmla="*/ 289560 h 1310640"/>
              <a:gd name="connsiteX2" fmla="*/ 562776 w 1175957"/>
              <a:gd name="connsiteY2" fmla="*/ 544447 h 1310640"/>
              <a:gd name="connsiteX3" fmla="*/ 1187 w 1175957"/>
              <a:gd name="connsiteY3" fmla="*/ 937587 h 1310640"/>
              <a:gd name="connsiteX4" fmla="*/ 185357 w 1175957"/>
              <a:gd name="connsiteY4" fmla="*/ 1310640 h 1310640"/>
              <a:gd name="connsiteX0" fmla="*/ 1176244 w 1176244"/>
              <a:gd name="connsiteY0" fmla="*/ 0 h 1310640"/>
              <a:gd name="connsiteX1" fmla="*/ 1016224 w 1176244"/>
              <a:gd name="connsiteY1" fmla="*/ 289560 h 1310640"/>
              <a:gd name="connsiteX2" fmla="*/ 563063 w 1176244"/>
              <a:gd name="connsiteY2" fmla="*/ 544447 h 1310640"/>
              <a:gd name="connsiteX3" fmla="*/ 1474 w 1176244"/>
              <a:gd name="connsiteY3" fmla="*/ 937587 h 1310640"/>
              <a:gd name="connsiteX4" fmla="*/ 185644 w 1176244"/>
              <a:gd name="connsiteY4" fmla="*/ 1310640 h 1310640"/>
              <a:gd name="connsiteX0" fmla="*/ 1176244 w 1176244"/>
              <a:gd name="connsiteY0" fmla="*/ 0 h 1310640"/>
              <a:gd name="connsiteX1" fmla="*/ 1016224 w 1176244"/>
              <a:gd name="connsiteY1" fmla="*/ 289560 h 1310640"/>
              <a:gd name="connsiteX2" fmla="*/ 563063 w 1176244"/>
              <a:gd name="connsiteY2" fmla="*/ 544447 h 1310640"/>
              <a:gd name="connsiteX3" fmla="*/ 1474 w 1176244"/>
              <a:gd name="connsiteY3" fmla="*/ 937587 h 1310640"/>
              <a:gd name="connsiteX4" fmla="*/ 185644 w 1176244"/>
              <a:gd name="connsiteY4" fmla="*/ 1310640 h 1310640"/>
              <a:gd name="connsiteX0" fmla="*/ 1176244 w 1176244"/>
              <a:gd name="connsiteY0" fmla="*/ 0 h 1310640"/>
              <a:gd name="connsiteX1" fmla="*/ 1016224 w 1176244"/>
              <a:gd name="connsiteY1" fmla="*/ 289560 h 1310640"/>
              <a:gd name="connsiteX2" fmla="*/ 563063 w 1176244"/>
              <a:gd name="connsiteY2" fmla="*/ 544447 h 1310640"/>
              <a:gd name="connsiteX3" fmla="*/ 1474 w 1176244"/>
              <a:gd name="connsiteY3" fmla="*/ 937587 h 1310640"/>
              <a:gd name="connsiteX4" fmla="*/ 185644 w 1176244"/>
              <a:gd name="connsiteY4" fmla="*/ 1310640 h 1310640"/>
              <a:gd name="connsiteX0" fmla="*/ 1177202 w 1177202"/>
              <a:gd name="connsiteY0" fmla="*/ 0 h 1310640"/>
              <a:gd name="connsiteX1" fmla="*/ 1017182 w 1177202"/>
              <a:gd name="connsiteY1" fmla="*/ 289560 h 1310640"/>
              <a:gd name="connsiteX2" fmla="*/ 422670 w 1177202"/>
              <a:gd name="connsiteY2" fmla="*/ 576135 h 1310640"/>
              <a:gd name="connsiteX3" fmla="*/ 2432 w 1177202"/>
              <a:gd name="connsiteY3" fmla="*/ 937587 h 1310640"/>
              <a:gd name="connsiteX4" fmla="*/ 186602 w 1177202"/>
              <a:gd name="connsiteY4" fmla="*/ 1310640 h 1310640"/>
              <a:gd name="connsiteX0" fmla="*/ 1175817 w 1175817"/>
              <a:gd name="connsiteY0" fmla="*/ 0 h 1310640"/>
              <a:gd name="connsiteX1" fmla="*/ 1015797 w 1175817"/>
              <a:gd name="connsiteY1" fmla="*/ 289560 h 1310640"/>
              <a:gd name="connsiteX2" fmla="*/ 707743 w 1175817"/>
              <a:gd name="connsiteY2" fmla="*/ 581968 h 1310640"/>
              <a:gd name="connsiteX3" fmla="*/ 1047 w 1175817"/>
              <a:gd name="connsiteY3" fmla="*/ 937587 h 1310640"/>
              <a:gd name="connsiteX4" fmla="*/ 185217 w 1175817"/>
              <a:gd name="connsiteY4" fmla="*/ 1310640 h 1310640"/>
              <a:gd name="connsiteX0" fmla="*/ 901526 w 1019573"/>
              <a:gd name="connsiteY0" fmla="*/ 0 h 1365094"/>
              <a:gd name="connsiteX1" fmla="*/ 1015797 w 1019573"/>
              <a:gd name="connsiteY1" fmla="*/ 344014 h 1365094"/>
              <a:gd name="connsiteX2" fmla="*/ 707743 w 1019573"/>
              <a:gd name="connsiteY2" fmla="*/ 636422 h 1365094"/>
              <a:gd name="connsiteX3" fmla="*/ 1047 w 1019573"/>
              <a:gd name="connsiteY3" fmla="*/ 992041 h 1365094"/>
              <a:gd name="connsiteX4" fmla="*/ 185217 w 1019573"/>
              <a:gd name="connsiteY4" fmla="*/ 1365094 h 1365094"/>
              <a:gd name="connsiteX0" fmla="*/ 900480 w 1018528"/>
              <a:gd name="connsiteY0" fmla="*/ 0 h 1365094"/>
              <a:gd name="connsiteX1" fmla="*/ 1014751 w 1018528"/>
              <a:gd name="connsiteY1" fmla="*/ 344014 h 1365094"/>
              <a:gd name="connsiteX2" fmla="*/ 706697 w 1018528"/>
              <a:gd name="connsiteY2" fmla="*/ 636422 h 1365094"/>
              <a:gd name="connsiteX3" fmla="*/ 1 w 1018528"/>
              <a:gd name="connsiteY3" fmla="*/ 992041 h 1365094"/>
              <a:gd name="connsiteX4" fmla="*/ 184171 w 1018528"/>
              <a:gd name="connsiteY4" fmla="*/ 1365094 h 1365094"/>
              <a:gd name="connsiteX0" fmla="*/ 916534 w 1034582"/>
              <a:gd name="connsiteY0" fmla="*/ 0 h 1365094"/>
              <a:gd name="connsiteX1" fmla="*/ 1030805 w 1034582"/>
              <a:gd name="connsiteY1" fmla="*/ 344014 h 1365094"/>
              <a:gd name="connsiteX2" fmla="*/ 722751 w 1034582"/>
              <a:gd name="connsiteY2" fmla="*/ 636422 h 1365094"/>
              <a:gd name="connsiteX3" fmla="*/ 16055 w 1034582"/>
              <a:gd name="connsiteY3" fmla="*/ 992041 h 1365094"/>
              <a:gd name="connsiteX4" fmla="*/ 200225 w 1034582"/>
              <a:gd name="connsiteY4" fmla="*/ 1365094 h 1365094"/>
              <a:gd name="connsiteX0" fmla="*/ 3360134 w 3360134"/>
              <a:gd name="connsiteY0" fmla="*/ 0 h 1335722"/>
              <a:gd name="connsiteX1" fmla="*/ 1030807 w 3360134"/>
              <a:gd name="connsiteY1" fmla="*/ 314642 h 1335722"/>
              <a:gd name="connsiteX2" fmla="*/ 722753 w 3360134"/>
              <a:gd name="connsiteY2" fmla="*/ 607050 h 1335722"/>
              <a:gd name="connsiteX3" fmla="*/ 16057 w 3360134"/>
              <a:gd name="connsiteY3" fmla="*/ 962669 h 1335722"/>
              <a:gd name="connsiteX4" fmla="*/ 200227 w 3360134"/>
              <a:gd name="connsiteY4" fmla="*/ 1335722 h 1335722"/>
              <a:gd name="connsiteX0" fmla="*/ 3493777 w 3493778"/>
              <a:gd name="connsiteY0" fmla="*/ 0 h 1863622"/>
              <a:gd name="connsiteX1" fmla="*/ 1030807 w 3493778"/>
              <a:gd name="connsiteY1" fmla="*/ 842542 h 1863622"/>
              <a:gd name="connsiteX2" fmla="*/ 722753 w 3493778"/>
              <a:gd name="connsiteY2" fmla="*/ 1134950 h 1863622"/>
              <a:gd name="connsiteX3" fmla="*/ 16057 w 3493778"/>
              <a:gd name="connsiteY3" fmla="*/ 1490569 h 1863622"/>
              <a:gd name="connsiteX4" fmla="*/ 200227 w 3493778"/>
              <a:gd name="connsiteY4" fmla="*/ 1863622 h 1863622"/>
              <a:gd name="connsiteX0" fmla="*/ 3493777 w 3493776"/>
              <a:gd name="connsiteY0" fmla="*/ 0 h 1863622"/>
              <a:gd name="connsiteX1" fmla="*/ 2189532 w 3493776"/>
              <a:gd name="connsiteY1" fmla="*/ 470536 h 1863622"/>
              <a:gd name="connsiteX2" fmla="*/ 1030807 w 3493776"/>
              <a:gd name="connsiteY2" fmla="*/ 842542 h 1863622"/>
              <a:gd name="connsiteX3" fmla="*/ 722753 w 3493776"/>
              <a:gd name="connsiteY3" fmla="*/ 1134950 h 1863622"/>
              <a:gd name="connsiteX4" fmla="*/ 16057 w 3493776"/>
              <a:gd name="connsiteY4" fmla="*/ 1490569 h 1863622"/>
              <a:gd name="connsiteX5" fmla="*/ 200227 w 3493776"/>
              <a:gd name="connsiteY5" fmla="*/ 1863622 h 1863622"/>
              <a:gd name="connsiteX0" fmla="*/ 3493777 w 3493778"/>
              <a:gd name="connsiteY0" fmla="*/ 0 h 1863622"/>
              <a:gd name="connsiteX1" fmla="*/ 1995542 w 3493778"/>
              <a:gd name="connsiteY1" fmla="*/ 274693 h 1863622"/>
              <a:gd name="connsiteX2" fmla="*/ 1030807 w 3493778"/>
              <a:gd name="connsiteY2" fmla="*/ 842542 h 1863622"/>
              <a:gd name="connsiteX3" fmla="*/ 722753 w 3493778"/>
              <a:gd name="connsiteY3" fmla="*/ 1134950 h 1863622"/>
              <a:gd name="connsiteX4" fmla="*/ 16057 w 3493778"/>
              <a:gd name="connsiteY4" fmla="*/ 1490569 h 1863622"/>
              <a:gd name="connsiteX5" fmla="*/ 200227 w 3493778"/>
              <a:gd name="connsiteY5" fmla="*/ 1863622 h 1863622"/>
              <a:gd name="connsiteX0" fmla="*/ 3493777 w 3493776"/>
              <a:gd name="connsiteY0" fmla="*/ 0 h 1863622"/>
              <a:gd name="connsiteX1" fmla="*/ 1995542 w 3493776"/>
              <a:gd name="connsiteY1" fmla="*/ 274693 h 1863622"/>
              <a:gd name="connsiteX2" fmla="*/ 1178171 w 3493776"/>
              <a:gd name="connsiteY2" fmla="*/ 747559 h 1863622"/>
              <a:gd name="connsiteX3" fmla="*/ 722753 w 3493776"/>
              <a:gd name="connsiteY3" fmla="*/ 1134950 h 1863622"/>
              <a:gd name="connsiteX4" fmla="*/ 16057 w 3493776"/>
              <a:gd name="connsiteY4" fmla="*/ 1490569 h 1863622"/>
              <a:gd name="connsiteX5" fmla="*/ 200227 w 3493776"/>
              <a:gd name="connsiteY5" fmla="*/ 1863622 h 1863622"/>
              <a:gd name="connsiteX0" fmla="*/ 3493777 w 3493778"/>
              <a:gd name="connsiteY0" fmla="*/ 0 h 1863622"/>
              <a:gd name="connsiteX1" fmla="*/ 1995542 w 3493778"/>
              <a:gd name="connsiteY1" fmla="*/ 274693 h 1863622"/>
              <a:gd name="connsiteX2" fmla="*/ 1178171 w 3493778"/>
              <a:gd name="connsiteY2" fmla="*/ 747559 h 1863622"/>
              <a:gd name="connsiteX3" fmla="*/ 722753 w 3493778"/>
              <a:gd name="connsiteY3" fmla="*/ 1134950 h 1863622"/>
              <a:gd name="connsiteX4" fmla="*/ 16057 w 3493778"/>
              <a:gd name="connsiteY4" fmla="*/ 1490569 h 1863622"/>
              <a:gd name="connsiteX5" fmla="*/ 200227 w 3493778"/>
              <a:gd name="connsiteY5" fmla="*/ 1863622 h 1863622"/>
              <a:gd name="connsiteX0" fmla="*/ 3493777 w 3493776"/>
              <a:gd name="connsiteY0" fmla="*/ 0 h 1863622"/>
              <a:gd name="connsiteX1" fmla="*/ 1995541 w 3493776"/>
              <a:gd name="connsiteY1" fmla="*/ 274693 h 1863622"/>
              <a:gd name="connsiteX2" fmla="*/ 1178171 w 3493776"/>
              <a:gd name="connsiteY2" fmla="*/ 747559 h 1863622"/>
              <a:gd name="connsiteX3" fmla="*/ 722753 w 3493776"/>
              <a:gd name="connsiteY3" fmla="*/ 1134950 h 1863622"/>
              <a:gd name="connsiteX4" fmla="*/ 16057 w 3493776"/>
              <a:gd name="connsiteY4" fmla="*/ 1490569 h 1863622"/>
              <a:gd name="connsiteX5" fmla="*/ 200227 w 3493776"/>
              <a:gd name="connsiteY5" fmla="*/ 1863622 h 1863622"/>
              <a:gd name="connsiteX0" fmla="*/ 3493777 w 3493778"/>
              <a:gd name="connsiteY0" fmla="*/ 0 h 1863622"/>
              <a:gd name="connsiteX1" fmla="*/ 1995540 w 3493778"/>
              <a:gd name="connsiteY1" fmla="*/ 274693 h 1863622"/>
              <a:gd name="connsiteX2" fmla="*/ 1178171 w 3493778"/>
              <a:gd name="connsiteY2" fmla="*/ 747559 h 1863622"/>
              <a:gd name="connsiteX3" fmla="*/ 722753 w 3493778"/>
              <a:gd name="connsiteY3" fmla="*/ 1134950 h 1863622"/>
              <a:gd name="connsiteX4" fmla="*/ 16057 w 3493778"/>
              <a:gd name="connsiteY4" fmla="*/ 1490569 h 1863622"/>
              <a:gd name="connsiteX5" fmla="*/ 200227 w 3493778"/>
              <a:gd name="connsiteY5" fmla="*/ 1863622 h 1863622"/>
              <a:gd name="connsiteX0" fmla="*/ 3493777 w 3493776"/>
              <a:gd name="connsiteY0" fmla="*/ 0 h 1863622"/>
              <a:gd name="connsiteX1" fmla="*/ 1961095 w 3493776"/>
              <a:gd name="connsiteY1" fmla="*/ 226562 h 1863622"/>
              <a:gd name="connsiteX2" fmla="*/ 1178171 w 3493776"/>
              <a:gd name="connsiteY2" fmla="*/ 747559 h 1863622"/>
              <a:gd name="connsiteX3" fmla="*/ 722753 w 3493776"/>
              <a:gd name="connsiteY3" fmla="*/ 1134950 h 1863622"/>
              <a:gd name="connsiteX4" fmla="*/ 16057 w 3493776"/>
              <a:gd name="connsiteY4" fmla="*/ 1490569 h 1863622"/>
              <a:gd name="connsiteX5" fmla="*/ 200227 w 3493776"/>
              <a:gd name="connsiteY5" fmla="*/ 1863622 h 1863622"/>
              <a:gd name="connsiteX0" fmla="*/ 3493777 w 3493778"/>
              <a:gd name="connsiteY0" fmla="*/ 0 h 1863622"/>
              <a:gd name="connsiteX1" fmla="*/ 1961095 w 3493778"/>
              <a:gd name="connsiteY1" fmla="*/ 226562 h 1863622"/>
              <a:gd name="connsiteX2" fmla="*/ 1178171 w 3493778"/>
              <a:gd name="connsiteY2" fmla="*/ 747559 h 1863622"/>
              <a:gd name="connsiteX3" fmla="*/ 722753 w 3493778"/>
              <a:gd name="connsiteY3" fmla="*/ 1134950 h 1863622"/>
              <a:gd name="connsiteX4" fmla="*/ 16057 w 3493778"/>
              <a:gd name="connsiteY4" fmla="*/ 1490569 h 1863622"/>
              <a:gd name="connsiteX5" fmla="*/ 200227 w 3493778"/>
              <a:gd name="connsiteY5" fmla="*/ 1863622 h 1863622"/>
              <a:gd name="connsiteX0" fmla="*/ 3493777 w 3493776"/>
              <a:gd name="connsiteY0" fmla="*/ 0 h 1863622"/>
              <a:gd name="connsiteX1" fmla="*/ 1961095 w 3493776"/>
              <a:gd name="connsiteY1" fmla="*/ 226562 h 1863622"/>
              <a:gd name="connsiteX2" fmla="*/ 1178171 w 3493776"/>
              <a:gd name="connsiteY2" fmla="*/ 747559 h 1863622"/>
              <a:gd name="connsiteX3" fmla="*/ 722753 w 3493776"/>
              <a:gd name="connsiteY3" fmla="*/ 1134950 h 1863622"/>
              <a:gd name="connsiteX4" fmla="*/ 16057 w 3493776"/>
              <a:gd name="connsiteY4" fmla="*/ 1490569 h 1863622"/>
              <a:gd name="connsiteX5" fmla="*/ 200227 w 3493776"/>
              <a:gd name="connsiteY5" fmla="*/ 1863622 h 1863622"/>
              <a:gd name="connsiteX0" fmla="*/ 3493777 w 3493778"/>
              <a:gd name="connsiteY0" fmla="*/ 0 h 1863622"/>
              <a:gd name="connsiteX1" fmla="*/ 1961095 w 3493778"/>
              <a:gd name="connsiteY1" fmla="*/ 226562 h 1863622"/>
              <a:gd name="connsiteX2" fmla="*/ 1178171 w 3493778"/>
              <a:gd name="connsiteY2" fmla="*/ 747559 h 1863622"/>
              <a:gd name="connsiteX3" fmla="*/ 722753 w 3493778"/>
              <a:gd name="connsiteY3" fmla="*/ 1134950 h 1863622"/>
              <a:gd name="connsiteX4" fmla="*/ 16057 w 3493778"/>
              <a:gd name="connsiteY4" fmla="*/ 1490569 h 1863622"/>
              <a:gd name="connsiteX5" fmla="*/ 200227 w 3493778"/>
              <a:gd name="connsiteY5" fmla="*/ 1863622 h 1863622"/>
              <a:gd name="connsiteX0" fmla="*/ 3493777 w 3493776"/>
              <a:gd name="connsiteY0" fmla="*/ 0 h 1863622"/>
              <a:gd name="connsiteX1" fmla="*/ 1961095 w 3493776"/>
              <a:gd name="connsiteY1" fmla="*/ 226562 h 1863622"/>
              <a:gd name="connsiteX2" fmla="*/ 1178171 w 3493776"/>
              <a:gd name="connsiteY2" fmla="*/ 747559 h 1863622"/>
              <a:gd name="connsiteX3" fmla="*/ 722753 w 3493776"/>
              <a:gd name="connsiteY3" fmla="*/ 1134950 h 1863622"/>
              <a:gd name="connsiteX4" fmla="*/ 16057 w 3493776"/>
              <a:gd name="connsiteY4" fmla="*/ 1490569 h 1863622"/>
              <a:gd name="connsiteX5" fmla="*/ 200227 w 3493776"/>
              <a:gd name="connsiteY5" fmla="*/ 1863622 h 1863622"/>
              <a:gd name="connsiteX0" fmla="*/ 3493777 w 3493778"/>
              <a:gd name="connsiteY0" fmla="*/ 0 h 1863622"/>
              <a:gd name="connsiteX1" fmla="*/ 1961095 w 3493778"/>
              <a:gd name="connsiteY1" fmla="*/ 226562 h 1863622"/>
              <a:gd name="connsiteX2" fmla="*/ 1178171 w 3493778"/>
              <a:gd name="connsiteY2" fmla="*/ 747559 h 1863622"/>
              <a:gd name="connsiteX3" fmla="*/ 722753 w 3493778"/>
              <a:gd name="connsiteY3" fmla="*/ 1134950 h 1863622"/>
              <a:gd name="connsiteX4" fmla="*/ 16057 w 3493778"/>
              <a:gd name="connsiteY4" fmla="*/ 1490569 h 1863622"/>
              <a:gd name="connsiteX5" fmla="*/ 200227 w 3493778"/>
              <a:gd name="connsiteY5" fmla="*/ 1863622 h 1863622"/>
              <a:gd name="connsiteX0" fmla="*/ 3493777 w 3493776"/>
              <a:gd name="connsiteY0" fmla="*/ 0 h 1863622"/>
              <a:gd name="connsiteX1" fmla="*/ 1961095 w 3493776"/>
              <a:gd name="connsiteY1" fmla="*/ 226562 h 1863622"/>
              <a:gd name="connsiteX2" fmla="*/ 1178171 w 3493776"/>
              <a:gd name="connsiteY2" fmla="*/ 747559 h 1863622"/>
              <a:gd name="connsiteX3" fmla="*/ 722753 w 3493776"/>
              <a:gd name="connsiteY3" fmla="*/ 1134950 h 1863622"/>
              <a:gd name="connsiteX4" fmla="*/ 16057 w 3493776"/>
              <a:gd name="connsiteY4" fmla="*/ 1490569 h 1863622"/>
              <a:gd name="connsiteX5" fmla="*/ 200227 w 3493776"/>
              <a:gd name="connsiteY5" fmla="*/ 1863622 h 1863622"/>
              <a:gd name="connsiteX0" fmla="*/ 3493777 w 3493778"/>
              <a:gd name="connsiteY0" fmla="*/ 0 h 1863622"/>
              <a:gd name="connsiteX1" fmla="*/ 1961095 w 3493778"/>
              <a:gd name="connsiteY1" fmla="*/ 226562 h 1863622"/>
              <a:gd name="connsiteX2" fmla="*/ 1178171 w 3493778"/>
              <a:gd name="connsiteY2" fmla="*/ 747559 h 1863622"/>
              <a:gd name="connsiteX3" fmla="*/ 722753 w 3493778"/>
              <a:gd name="connsiteY3" fmla="*/ 1134950 h 1863622"/>
              <a:gd name="connsiteX4" fmla="*/ 16057 w 3493778"/>
              <a:gd name="connsiteY4" fmla="*/ 1490569 h 1863622"/>
              <a:gd name="connsiteX5" fmla="*/ 200227 w 3493778"/>
              <a:gd name="connsiteY5" fmla="*/ 1863622 h 1863622"/>
              <a:gd name="connsiteX0" fmla="*/ 3398894 w 3398894"/>
              <a:gd name="connsiteY0" fmla="*/ 0 h 1831361"/>
              <a:gd name="connsiteX1" fmla="*/ 1961095 w 3398894"/>
              <a:gd name="connsiteY1" fmla="*/ 194301 h 1831361"/>
              <a:gd name="connsiteX2" fmla="*/ 1178171 w 3398894"/>
              <a:gd name="connsiteY2" fmla="*/ 715298 h 1831361"/>
              <a:gd name="connsiteX3" fmla="*/ 722753 w 3398894"/>
              <a:gd name="connsiteY3" fmla="*/ 1102689 h 1831361"/>
              <a:gd name="connsiteX4" fmla="*/ 16057 w 3398894"/>
              <a:gd name="connsiteY4" fmla="*/ 1458308 h 1831361"/>
              <a:gd name="connsiteX5" fmla="*/ 200227 w 3398894"/>
              <a:gd name="connsiteY5" fmla="*/ 1831361 h 1831361"/>
              <a:gd name="connsiteX0" fmla="*/ 3932137 w 3932136"/>
              <a:gd name="connsiteY0" fmla="*/ 0 h 1869242"/>
              <a:gd name="connsiteX1" fmla="*/ 1961095 w 3932136"/>
              <a:gd name="connsiteY1" fmla="*/ 232182 h 1869242"/>
              <a:gd name="connsiteX2" fmla="*/ 1178171 w 3932136"/>
              <a:gd name="connsiteY2" fmla="*/ 753179 h 1869242"/>
              <a:gd name="connsiteX3" fmla="*/ 722753 w 3932136"/>
              <a:gd name="connsiteY3" fmla="*/ 1140570 h 1869242"/>
              <a:gd name="connsiteX4" fmla="*/ 16057 w 3932136"/>
              <a:gd name="connsiteY4" fmla="*/ 1496189 h 1869242"/>
              <a:gd name="connsiteX5" fmla="*/ 200227 w 3932136"/>
              <a:gd name="connsiteY5" fmla="*/ 1869242 h 18692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2136" h="1869242">
                <a:moveTo>
                  <a:pt x="3932137" y="0"/>
                </a:moveTo>
                <a:cubicBezTo>
                  <a:pt x="3421243" y="75521"/>
                  <a:pt x="2437858" y="88360"/>
                  <a:pt x="1961095" y="232182"/>
                </a:cubicBezTo>
                <a:cubicBezTo>
                  <a:pt x="1365822" y="361671"/>
                  <a:pt x="1384561" y="601781"/>
                  <a:pt x="1178171" y="753179"/>
                </a:cubicBezTo>
                <a:cubicBezTo>
                  <a:pt x="971781" y="904577"/>
                  <a:pt x="916439" y="1016735"/>
                  <a:pt x="722753" y="1140570"/>
                </a:cubicBezTo>
                <a:cubicBezTo>
                  <a:pt x="529067" y="1264405"/>
                  <a:pt x="112347" y="1352611"/>
                  <a:pt x="16057" y="1496189"/>
                </a:cubicBezTo>
                <a:cubicBezTo>
                  <a:pt x="-65568" y="1637284"/>
                  <a:pt x="190067" y="1798122"/>
                  <a:pt x="200227" y="1869242"/>
                </a:cubicBezTo>
              </a:path>
            </a:pathLst>
          </a:custGeom>
          <a:noFill/>
          <a:ln w="38100">
            <a:solidFill>
              <a:srgbClr val="FF33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31" name="Freeform 1130"/>
          <p:cNvSpPr/>
          <p:nvPr/>
        </p:nvSpPr>
        <p:spPr>
          <a:xfrm>
            <a:off x="5535664" y="1763619"/>
            <a:ext cx="1249473" cy="2461553"/>
          </a:xfrm>
          <a:custGeom>
            <a:avLst/>
            <a:gdLst>
              <a:gd name="connsiteX0" fmla="*/ 626151 w 687170"/>
              <a:gd name="connsiteY0" fmla="*/ 0 h 1600200"/>
              <a:gd name="connsiteX1" fmla="*/ 687111 w 687170"/>
              <a:gd name="connsiteY1" fmla="*/ 236220 h 1600200"/>
              <a:gd name="connsiteX2" fmla="*/ 633771 w 687170"/>
              <a:gd name="connsiteY2" fmla="*/ 541020 h 1600200"/>
              <a:gd name="connsiteX3" fmla="*/ 473751 w 687170"/>
              <a:gd name="connsiteY3" fmla="*/ 800100 h 1600200"/>
              <a:gd name="connsiteX4" fmla="*/ 344211 w 687170"/>
              <a:gd name="connsiteY4" fmla="*/ 1097280 h 1600200"/>
              <a:gd name="connsiteX5" fmla="*/ 214671 w 687170"/>
              <a:gd name="connsiteY5" fmla="*/ 1249680 h 1600200"/>
              <a:gd name="connsiteX6" fmla="*/ 31791 w 687170"/>
              <a:gd name="connsiteY6" fmla="*/ 1455420 h 1600200"/>
              <a:gd name="connsiteX7" fmla="*/ 1311 w 687170"/>
              <a:gd name="connsiteY7" fmla="*/ 1600200 h 1600200"/>
              <a:gd name="connsiteX0" fmla="*/ 386792 w 701157"/>
              <a:gd name="connsiteY0" fmla="*/ 0 h 1582180"/>
              <a:gd name="connsiteX1" fmla="*/ 687111 w 701157"/>
              <a:gd name="connsiteY1" fmla="*/ 218200 h 1582180"/>
              <a:gd name="connsiteX2" fmla="*/ 633771 w 701157"/>
              <a:gd name="connsiteY2" fmla="*/ 523000 h 1582180"/>
              <a:gd name="connsiteX3" fmla="*/ 473751 w 701157"/>
              <a:gd name="connsiteY3" fmla="*/ 782080 h 1582180"/>
              <a:gd name="connsiteX4" fmla="*/ 344211 w 701157"/>
              <a:gd name="connsiteY4" fmla="*/ 1079260 h 1582180"/>
              <a:gd name="connsiteX5" fmla="*/ 214671 w 701157"/>
              <a:gd name="connsiteY5" fmla="*/ 1231660 h 1582180"/>
              <a:gd name="connsiteX6" fmla="*/ 31791 w 701157"/>
              <a:gd name="connsiteY6" fmla="*/ 1437400 h 1582180"/>
              <a:gd name="connsiteX7" fmla="*/ 1311 w 701157"/>
              <a:gd name="connsiteY7" fmla="*/ 1582180 h 1582180"/>
              <a:gd name="connsiteX0" fmla="*/ 380808 w 701574"/>
              <a:gd name="connsiteY0" fmla="*/ 0 h 1609210"/>
              <a:gd name="connsiteX1" fmla="*/ 687111 w 701574"/>
              <a:gd name="connsiteY1" fmla="*/ 245230 h 1609210"/>
              <a:gd name="connsiteX2" fmla="*/ 633771 w 701574"/>
              <a:gd name="connsiteY2" fmla="*/ 550030 h 1609210"/>
              <a:gd name="connsiteX3" fmla="*/ 473751 w 701574"/>
              <a:gd name="connsiteY3" fmla="*/ 809110 h 1609210"/>
              <a:gd name="connsiteX4" fmla="*/ 344211 w 701574"/>
              <a:gd name="connsiteY4" fmla="*/ 1106290 h 1609210"/>
              <a:gd name="connsiteX5" fmla="*/ 214671 w 701574"/>
              <a:gd name="connsiteY5" fmla="*/ 1258690 h 1609210"/>
              <a:gd name="connsiteX6" fmla="*/ 31791 w 701574"/>
              <a:gd name="connsiteY6" fmla="*/ 1464430 h 1609210"/>
              <a:gd name="connsiteX7" fmla="*/ 1311 w 701574"/>
              <a:gd name="connsiteY7" fmla="*/ 1609210 h 1609210"/>
              <a:gd name="connsiteX0" fmla="*/ 380808 w 659574"/>
              <a:gd name="connsiteY0" fmla="*/ 0 h 1609210"/>
              <a:gd name="connsiteX1" fmla="*/ 633255 w 659574"/>
              <a:gd name="connsiteY1" fmla="*/ 224206 h 1609210"/>
              <a:gd name="connsiteX2" fmla="*/ 633771 w 659574"/>
              <a:gd name="connsiteY2" fmla="*/ 550030 h 1609210"/>
              <a:gd name="connsiteX3" fmla="*/ 473751 w 659574"/>
              <a:gd name="connsiteY3" fmla="*/ 809110 h 1609210"/>
              <a:gd name="connsiteX4" fmla="*/ 344211 w 659574"/>
              <a:gd name="connsiteY4" fmla="*/ 1106290 h 1609210"/>
              <a:gd name="connsiteX5" fmla="*/ 214671 w 659574"/>
              <a:gd name="connsiteY5" fmla="*/ 1258690 h 1609210"/>
              <a:gd name="connsiteX6" fmla="*/ 31791 w 659574"/>
              <a:gd name="connsiteY6" fmla="*/ 1464430 h 1609210"/>
              <a:gd name="connsiteX7" fmla="*/ 1311 w 659574"/>
              <a:gd name="connsiteY7" fmla="*/ 1609210 h 1609210"/>
              <a:gd name="connsiteX0" fmla="*/ 376819 w 659846"/>
              <a:gd name="connsiteY0" fmla="*/ 0 h 1705318"/>
              <a:gd name="connsiteX1" fmla="*/ 633255 w 659846"/>
              <a:gd name="connsiteY1" fmla="*/ 320314 h 1705318"/>
              <a:gd name="connsiteX2" fmla="*/ 633771 w 659846"/>
              <a:gd name="connsiteY2" fmla="*/ 646138 h 1705318"/>
              <a:gd name="connsiteX3" fmla="*/ 473751 w 659846"/>
              <a:gd name="connsiteY3" fmla="*/ 905218 h 1705318"/>
              <a:gd name="connsiteX4" fmla="*/ 344211 w 659846"/>
              <a:gd name="connsiteY4" fmla="*/ 1202398 h 1705318"/>
              <a:gd name="connsiteX5" fmla="*/ 214671 w 659846"/>
              <a:gd name="connsiteY5" fmla="*/ 1354798 h 1705318"/>
              <a:gd name="connsiteX6" fmla="*/ 31791 w 659846"/>
              <a:gd name="connsiteY6" fmla="*/ 1560538 h 1705318"/>
              <a:gd name="connsiteX7" fmla="*/ 1311 w 659846"/>
              <a:gd name="connsiteY7" fmla="*/ 1705318 h 1705318"/>
              <a:gd name="connsiteX0" fmla="*/ 388787 w 659031"/>
              <a:gd name="connsiteY0" fmla="*/ 0 h 1729345"/>
              <a:gd name="connsiteX1" fmla="*/ 633255 w 659031"/>
              <a:gd name="connsiteY1" fmla="*/ 344341 h 1729345"/>
              <a:gd name="connsiteX2" fmla="*/ 633771 w 659031"/>
              <a:gd name="connsiteY2" fmla="*/ 670165 h 1729345"/>
              <a:gd name="connsiteX3" fmla="*/ 473751 w 659031"/>
              <a:gd name="connsiteY3" fmla="*/ 929245 h 1729345"/>
              <a:gd name="connsiteX4" fmla="*/ 344211 w 659031"/>
              <a:gd name="connsiteY4" fmla="*/ 1226425 h 1729345"/>
              <a:gd name="connsiteX5" fmla="*/ 214671 w 659031"/>
              <a:gd name="connsiteY5" fmla="*/ 1378825 h 1729345"/>
              <a:gd name="connsiteX6" fmla="*/ 31791 w 659031"/>
              <a:gd name="connsiteY6" fmla="*/ 1584565 h 1729345"/>
              <a:gd name="connsiteX7" fmla="*/ 1311 w 659031"/>
              <a:gd name="connsiteY7" fmla="*/ 1729345 h 1729345"/>
              <a:gd name="connsiteX0" fmla="*/ 541186 w 649587"/>
              <a:gd name="connsiteY0" fmla="*/ 0 h 1592070"/>
              <a:gd name="connsiteX1" fmla="*/ 633255 w 649587"/>
              <a:gd name="connsiteY1" fmla="*/ 207066 h 1592070"/>
              <a:gd name="connsiteX2" fmla="*/ 633771 w 649587"/>
              <a:gd name="connsiteY2" fmla="*/ 532890 h 1592070"/>
              <a:gd name="connsiteX3" fmla="*/ 473751 w 649587"/>
              <a:gd name="connsiteY3" fmla="*/ 791970 h 1592070"/>
              <a:gd name="connsiteX4" fmla="*/ 344211 w 649587"/>
              <a:gd name="connsiteY4" fmla="*/ 1089150 h 1592070"/>
              <a:gd name="connsiteX5" fmla="*/ 214671 w 649587"/>
              <a:gd name="connsiteY5" fmla="*/ 1241550 h 1592070"/>
              <a:gd name="connsiteX6" fmla="*/ 31791 w 649587"/>
              <a:gd name="connsiteY6" fmla="*/ 1447290 h 1592070"/>
              <a:gd name="connsiteX7" fmla="*/ 1311 w 649587"/>
              <a:gd name="connsiteY7" fmla="*/ 1592070 h 1592070"/>
              <a:gd name="connsiteX0" fmla="*/ 541186 w 649328"/>
              <a:gd name="connsiteY0" fmla="*/ 0 h 1592070"/>
              <a:gd name="connsiteX1" fmla="*/ 633255 w 649328"/>
              <a:gd name="connsiteY1" fmla="*/ 207066 h 1592070"/>
              <a:gd name="connsiteX2" fmla="*/ 633771 w 649328"/>
              <a:gd name="connsiteY2" fmla="*/ 532890 h 1592070"/>
              <a:gd name="connsiteX3" fmla="*/ 477468 w 649328"/>
              <a:gd name="connsiteY3" fmla="*/ 805697 h 1592070"/>
              <a:gd name="connsiteX4" fmla="*/ 344211 w 649328"/>
              <a:gd name="connsiteY4" fmla="*/ 1089150 h 1592070"/>
              <a:gd name="connsiteX5" fmla="*/ 214671 w 649328"/>
              <a:gd name="connsiteY5" fmla="*/ 1241550 h 1592070"/>
              <a:gd name="connsiteX6" fmla="*/ 31791 w 649328"/>
              <a:gd name="connsiteY6" fmla="*/ 1447290 h 1592070"/>
              <a:gd name="connsiteX7" fmla="*/ 1311 w 649328"/>
              <a:gd name="connsiteY7" fmla="*/ 1592070 h 1592070"/>
              <a:gd name="connsiteX0" fmla="*/ 363207 w 660578"/>
              <a:gd name="connsiteY0" fmla="*/ 0 h 1587157"/>
              <a:gd name="connsiteX1" fmla="*/ 633255 w 660578"/>
              <a:gd name="connsiteY1" fmla="*/ 202153 h 1587157"/>
              <a:gd name="connsiteX2" fmla="*/ 633771 w 660578"/>
              <a:gd name="connsiteY2" fmla="*/ 527977 h 1587157"/>
              <a:gd name="connsiteX3" fmla="*/ 477468 w 660578"/>
              <a:gd name="connsiteY3" fmla="*/ 800784 h 1587157"/>
              <a:gd name="connsiteX4" fmla="*/ 344211 w 660578"/>
              <a:gd name="connsiteY4" fmla="*/ 1084237 h 1587157"/>
              <a:gd name="connsiteX5" fmla="*/ 214671 w 660578"/>
              <a:gd name="connsiteY5" fmla="*/ 1236637 h 1587157"/>
              <a:gd name="connsiteX6" fmla="*/ 31791 w 660578"/>
              <a:gd name="connsiteY6" fmla="*/ 1442377 h 1587157"/>
              <a:gd name="connsiteX7" fmla="*/ 1311 w 660578"/>
              <a:gd name="connsiteY7" fmla="*/ 1587157 h 1587157"/>
              <a:gd name="connsiteX0" fmla="*/ 363207 w 633771"/>
              <a:gd name="connsiteY0" fmla="*/ 0 h 1587157"/>
              <a:gd name="connsiteX1" fmla="*/ 477133 w 633771"/>
              <a:gd name="connsiteY1" fmla="*/ 256198 h 1587157"/>
              <a:gd name="connsiteX2" fmla="*/ 633771 w 633771"/>
              <a:gd name="connsiteY2" fmla="*/ 527977 h 1587157"/>
              <a:gd name="connsiteX3" fmla="*/ 477468 w 633771"/>
              <a:gd name="connsiteY3" fmla="*/ 800784 h 1587157"/>
              <a:gd name="connsiteX4" fmla="*/ 344211 w 633771"/>
              <a:gd name="connsiteY4" fmla="*/ 1084237 h 1587157"/>
              <a:gd name="connsiteX5" fmla="*/ 214671 w 633771"/>
              <a:gd name="connsiteY5" fmla="*/ 1236637 h 1587157"/>
              <a:gd name="connsiteX6" fmla="*/ 31791 w 633771"/>
              <a:gd name="connsiteY6" fmla="*/ 1442377 h 1587157"/>
              <a:gd name="connsiteX7" fmla="*/ 1311 w 633771"/>
              <a:gd name="connsiteY7" fmla="*/ 1587157 h 1587157"/>
              <a:gd name="connsiteX0" fmla="*/ 363207 w 511996"/>
              <a:gd name="connsiteY0" fmla="*/ 0 h 1587157"/>
              <a:gd name="connsiteX1" fmla="*/ 477133 w 511996"/>
              <a:gd name="connsiteY1" fmla="*/ 256198 h 1587157"/>
              <a:gd name="connsiteX2" fmla="*/ 511996 w 511996"/>
              <a:gd name="connsiteY2" fmla="*/ 527977 h 1587157"/>
              <a:gd name="connsiteX3" fmla="*/ 477468 w 511996"/>
              <a:gd name="connsiteY3" fmla="*/ 800784 h 1587157"/>
              <a:gd name="connsiteX4" fmla="*/ 344211 w 511996"/>
              <a:gd name="connsiteY4" fmla="*/ 1084237 h 1587157"/>
              <a:gd name="connsiteX5" fmla="*/ 214671 w 511996"/>
              <a:gd name="connsiteY5" fmla="*/ 1236637 h 1587157"/>
              <a:gd name="connsiteX6" fmla="*/ 31791 w 511996"/>
              <a:gd name="connsiteY6" fmla="*/ 1442377 h 1587157"/>
              <a:gd name="connsiteX7" fmla="*/ 1311 w 511996"/>
              <a:gd name="connsiteY7" fmla="*/ 1587157 h 15871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11996" h="1587157">
                <a:moveTo>
                  <a:pt x="363207" y="0"/>
                </a:moveTo>
                <a:cubicBezTo>
                  <a:pt x="393052" y="73025"/>
                  <a:pt x="452335" y="168202"/>
                  <a:pt x="477133" y="256198"/>
                </a:cubicBezTo>
                <a:cubicBezTo>
                  <a:pt x="501931" y="344194"/>
                  <a:pt x="511940" y="437213"/>
                  <a:pt x="511996" y="527977"/>
                </a:cubicBezTo>
                <a:cubicBezTo>
                  <a:pt x="512052" y="618741"/>
                  <a:pt x="505432" y="708074"/>
                  <a:pt x="477468" y="800784"/>
                </a:cubicBezTo>
                <a:cubicBezTo>
                  <a:pt x="449504" y="893494"/>
                  <a:pt x="388011" y="1011595"/>
                  <a:pt x="344211" y="1084237"/>
                </a:cubicBezTo>
                <a:cubicBezTo>
                  <a:pt x="300412" y="1156879"/>
                  <a:pt x="266741" y="1176947"/>
                  <a:pt x="214671" y="1236637"/>
                </a:cubicBezTo>
                <a:cubicBezTo>
                  <a:pt x="162601" y="1296327"/>
                  <a:pt x="67351" y="1383957"/>
                  <a:pt x="31791" y="1442377"/>
                </a:cubicBezTo>
                <a:cubicBezTo>
                  <a:pt x="-3769" y="1500797"/>
                  <a:pt x="-1229" y="1543977"/>
                  <a:pt x="1311" y="1587157"/>
                </a:cubicBezTo>
              </a:path>
            </a:pathLst>
          </a:custGeom>
          <a:noFill/>
          <a:ln w="57150" cap="rnd">
            <a:solidFill>
              <a:srgbClr val="FFC0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35" name="Down Arrow 1134"/>
          <p:cNvSpPr/>
          <p:nvPr/>
        </p:nvSpPr>
        <p:spPr>
          <a:xfrm rot="18355026">
            <a:off x="4914572" y="1684748"/>
            <a:ext cx="342221" cy="342221"/>
          </a:xfrm>
          <a:prstGeom prst="downArrow">
            <a:avLst/>
          </a:prstGeom>
          <a:solidFill>
            <a:srgbClr val="FFC000"/>
          </a:solidFill>
          <a:ln w="38100">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203" name="Down Arrow 202"/>
          <p:cNvSpPr/>
          <p:nvPr/>
        </p:nvSpPr>
        <p:spPr>
          <a:xfrm rot="20058679">
            <a:off x="6260577" y="1579067"/>
            <a:ext cx="342221" cy="342221"/>
          </a:xfrm>
          <a:prstGeom prst="downArrow">
            <a:avLst/>
          </a:prstGeom>
          <a:solidFill>
            <a:srgbClr val="FFC000"/>
          </a:solidFill>
          <a:ln w="38100">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204" name="Down Arrow 203"/>
          <p:cNvSpPr/>
          <p:nvPr/>
        </p:nvSpPr>
        <p:spPr>
          <a:xfrm rot="18428772">
            <a:off x="3745011" y="2792757"/>
            <a:ext cx="342221" cy="342221"/>
          </a:xfrm>
          <a:prstGeom prst="downArrow">
            <a:avLst/>
          </a:prstGeom>
          <a:solidFill>
            <a:srgbClr val="FFC000"/>
          </a:solidFill>
          <a:ln w="38100">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86" name="Rectangle 1119"/>
          <p:cNvSpPr txBox="1"/>
          <p:nvPr/>
        </p:nvSpPr>
        <p:spPr>
          <a:xfrm>
            <a:off x="6750008" y="2904042"/>
            <a:ext cx="1164927" cy="518345"/>
          </a:xfrm>
          <a:prstGeom prst="rect">
            <a:avLst/>
          </a:prstGeom>
        </p:spPr>
        <p:txBody>
          <a:bodyPr vert="horz" wrap="square" lIns="91440" tIns="45720" rIns="91440" bIns="45720" rtlCol="0">
            <a:spAutoFit/>
          </a:bodyPr>
          <a:lstStyle>
            <a:lvl1pPr marL="342900" lvl="0" indent="-342900">
              <a:spcBef>
                <a:spcPct val="20000"/>
              </a:spcBef>
              <a:buFont typeface="Arial" pitchFamily="34" charset="0"/>
              <a:buChar char="•"/>
              <a:defRPr sz="3200"/>
            </a:lvl1pPr>
            <a:lvl2pPr marL="742950" lvl="1" indent="-285750">
              <a:spcBef>
                <a:spcPct val="20000"/>
              </a:spcBef>
              <a:buFont typeface="Arial" pitchFamily="34" charset="0"/>
              <a:buChar char="–"/>
              <a:defRPr sz="2800"/>
            </a:lvl2pPr>
            <a:lvl3pPr marL="1143000" lvl="2" indent="-228600">
              <a:spcBef>
                <a:spcPct val="20000"/>
              </a:spcBef>
              <a:buFont typeface="Arial" pitchFamily="34" charset="0"/>
              <a:buChar char="•"/>
              <a:defRPr sz="2400"/>
            </a:lvl3pPr>
            <a:lvl4pPr marL="1600200" lvl="3" indent="-228600">
              <a:spcBef>
                <a:spcPct val="20000"/>
              </a:spcBef>
              <a:buFont typeface="Arial" pitchFamily="34" charset="0"/>
              <a:buChar char="–"/>
              <a:defRPr sz="2000"/>
            </a:lvl4pPr>
            <a:lvl5pPr marL="2057400" lvl="4" indent="-228600">
              <a:spcBef>
                <a:spcPct val="20000"/>
              </a:spcBef>
              <a:buFont typeface="Arial" pitchFamily="34" charset="0"/>
              <a:buChar char="»"/>
              <a:defRPr sz="20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indent="0" algn="ctr">
              <a:buNone/>
            </a:pPr>
            <a:r>
              <a:rPr lang="en-US" sz="1200" b="1" dirty="0" smtClean="0"/>
              <a:t>MAINE </a:t>
            </a:r>
            <a:br>
              <a:rPr lang="en-US" sz="1200" b="1" dirty="0" smtClean="0"/>
            </a:br>
            <a:r>
              <a:rPr lang="en-US" sz="1200" b="1" dirty="0" smtClean="0"/>
              <a:t>GREEN LINE</a:t>
            </a:r>
            <a:endParaRPr lang="en-US" sz="1200" b="1" dirty="0"/>
          </a:p>
        </p:txBody>
      </p:sp>
      <p:sp>
        <p:nvSpPr>
          <p:cNvPr id="1121" name="Rounded Rectangle 1120"/>
          <p:cNvSpPr/>
          <p:nvPr/>
        </p:nvSpPr>
        <p:spPr>
          <a:xfrm>
            <a:off x="4613987" y="3973960"/>
            <a:ext cx="1277064" cy="702930"/>
          </a:xfrm>
          <a:prstGeom prst="roundRect">
            <a:avLst/>
          </a:prstGeom>
          <a:solidFill>
            <a:srgbClr val="FFC000"/>
          </a:solidFill>
          <a:ln>
            <a:solidFill>
              <a:schemeClr val="bg1"/>
            </a:solidFill>
          </a:ln>
        </p:spPr>
        <p:style>
          <a:lnRef idx="2">
            <a:schemeClr val="accent2"/>
          </a:lnRef>
          <a:fillRef idx="1">
            <a:schemeClr val="lt1"/>
          </a:fillRef>
          <a:effectRef idx="0">
            <a:schemeClr val="accent2"/>
          </a:effectRef>
          <a:fontRef idx="minor">
            <a:schemeClr val="dk1"/>
          </a:fontRef>
        </p:style>
        <p:txBody>
          <a:bodyPr rtlCol="0" anchor="ctr"/>
          <a:lstStyle/>
          <a:p>
            <a:pPr algn="ctr"/>
            <a:r>
              <a:rPr lang="en-US" sz="1200" b="1" dirty="0" smtClean="0">
                <a:solidFill>
                  <a:schemeClr val="tx1"/>
                </a:solidFill>
              </a:rPr>
              <a:t>GREATEST ENERGY NEED</a:t>
            </a:r>
            <a:endParaRPr lang="en-US" sz="1200" b="1" dirty="0">
              <a:solidFill>
                <a:schemeClr val="tx1"/>
              </a:solidFill>
            </a:endParaRPr>
          </a:p>
        </p:txBody>
      </p:sp>
    </p:spTree>
    <p:extLst>
      <p:ext uri="{BB962C8B-B14F-4D97-AF65-F5344CB8AC3E}">
        <p14:creationId xmlns:p14="http://schemas.microsoft.com/office/powerpoint/2010/main" val="2777731623"/>
      </p:ext>
    </p:extLst>
  </p:cSld>
  <p:clrMapOvr>
    <a:masterClrMapping/>
  </p:clrMapOvr>
  <mc:AlternateContent xmlns:mc="http://schemas.openxmlformats.org/markup-compatibility/2006" xmlns:p14="http://schemas.microsoft.com/office/powerpoint/2010/main">
    <mc:Choice Requires="p14">
      <p:transition spd="slow" p14:dur="1200">
        <p14:prism dir="d"/>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6" presetClass="entr" presetSubtype="37"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barn(outVertical)">
                                      <p:cBhvr>
                                        <p:cTn id="7" dur="1000"/>
                                        <p:tgtEl>
                                          <p:spTgt spid="6"/>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1" fill="hold" grpId="0" nodeType="clickEffect">
                                  <p:stCondLst>
                                    <p:cond delay="0"/>
                                  </p:stCondLst>
                                  <p:childTnLst>
                                    <p:set>
                                      <p:cBhvr>
                                        <p:cTn id="11" dur="1" fill="hold">
                                          <p:stCondLst>
                                            <p:cond delay="0"/>
                                          </p:stCondLst>
                                        </p:cTn>
                                        <p:tgtEl>
                                          <p:spTgt spid="1123"/>
                                        </p:tgtEl>
                                        <p:attrNameLst>
                                          <p:attrName>style.visibility</p:attrName>
                                        </p:attrNameLst>
                                      </p:cBhvr>
                                      <p:to>
                                        <p:strVal val="visible"/>
                                      </p:to>
                                    </p:set>
                                    <p:animEffect transition="in" filter="wipe(up)">
                                      <p:cBhvr>
                                        <p:cTn id="12" dur="1250"/>
                                        <p:tgtEl>
                                          <p:spTgt spid="1123"/>
                                        </p:tgtEl>
                                      </p:cBhvr>
                                    </p:animEffect>
                                  </p:childTnLst>
                                </p:cTn>
                              </p:par>
                              <p:par>
                                <p:cTn id="13" presetID="22" presetClass="entr" presetSubtype="1" fill="hold" grpId="0" nodeType="withEffect">
                                  <p:stCondLst>
                                    <p:cond delay="500"/>
                                  </p:stCondLst>
                                  <p:childTnLst>
                                    <p:set>
                                      <p:cBhvr>
                                        <p:cTn id="14" dur="1" fill="hold">
                                          <p:stCondLst>
                                            <p:cond delay="0"/>
                                          </p:stCondLst>
                                        </p:cTn>
                                        <p:tgtEl>
                                          <p:spTgt spid="1124"/>
                                        </p:tgtEl>
                                        <p:attrNameLst>
                                          <p:attrName>style.visibility</p:attrName>
                                        </p:attrNameLst>
                                      </p:cBhvr>
                                      <p:to>
                                        <p:strVal val="visible"/>
                                      </p:to>
                                    </p:set>
                                    <p:animEffect transition="in" filter="wipe(up)">
                                      <p:cBhvr>
                                        <p:cTn id="15" dur="1250"/>
                                        <p:tgtEl>
                                          <p:spTgt spid="1124"/>
                                        </p:tgtEl>
                                      </p:cBhvr>
                                    </p:animEffect>
                                  </p:childTnLst>
                                </p:cTn>
                              </p:par>
                              <p:par>
                                <p:cTn id="16" presetID="6" presetClass="entr" presetSubtype="32" fill="hold" nodeType="withEffect">
                                  <p:stCondLst>
                                    <p:cond delay="1000"/>
                                  </p:stCondLst>
                                  <p:childTnLst>
                                    <p:set>
                                      <p:cBhvr>
                                        <p:cTn id="17" dur="1" fill="hold">
                                          <p:stCondLst>
                                            <p:cond delay="0"/>
                                          </p:stCondLst>
                                        </p:cTn>
                                        <p:tgtEl>
                                          <p:spTgt spid="1146"/>
                                        </p:tgtEl>
                                        <p:attrNameLst>
                                          <p:attrName>style.visibility</p:attrName>
                                        </p:attrNameLst>
                                      </p:cBhvr>
                                      <p:to>
                                        <p:strVal val="visible"/>
                                      </p:to>
                                    </p:set>
                                    <p:animEffect transition="in" filter="circle(out)">
                                      <p:cBhvr>
                                        <p:cTn id="18" dur="750"/>
                                        <p:tgtEl>
                                          <p:spTgt spid="1146"/>
                                        </p:tgtEl>
                                      </p:cBhvr>
                                    </p:animEffect>
                                  </p:childTnLst>
                                </p:cTn>
                              </p:par>
                              <p:par>
                                <p:cTn id="19" presetID="6" presetClass="entr" presetSubtype="32" fill="hold" nodeType="withEffect">
                                  <p:stCondLst>
                                    <p:cond delay="1000"/>
                                  </p:stCondLst>
                                  <p:childTnLst>
                                    <p:set>
                                      <p:cBhvr>
                                        <p:cTn id="20" dur="1" fill="hold">
                                          <p:stCondLst>
                                            <p:cond delay="0"/>
                                          </p:stCondLst>
                                        </p:cTn>
                                        <p:tgtEl>
                                          <p:spTgt spid="1145"/>
                                        </p:tgtEl>
                                        <p:attrNameLst>
                                          <p:attrName>style.visibility</p:attrName>
                                        </p:attrNameLst>
                                      </p:cBhvr>
                                      <p:to>
                                        <p:strVal val="visible"/>
                                      </p:to>
                                    </p:set>
                                    <p:animEffect transition="in" filter="circle(out)">
                                      <p:cBhvr>
                                        <p:cTn id="21" dur="750"/>
                                        <p:tgtEl>
                                          <p:spTgt spid="1145"/>
                                        </p:tgtEl>
                                      </p:cBhvr>
                                    </p:animEffect>
                                  </p:childTnLst>
                                </p:cTn>
                              </p:par>
                            </p:childTnLst>
                          </p:cTn>
                        </p:par>
                      </p:childTnLst>
                    </p:cTn>
                  </p:par>
                  <p:par>
                    <p:cTn id="22" fill="hold">
                      <p:stCondLst>
                        <p:cond delay="indefinite"/>
                      </p:stCondLst>
                      <p:childTnLst>
                        <p:par>
                          <p:cTn id="23" fill="hold">
                            <p:stCondLst>
                              <p:cond delay="0"/>
                            </p:stCondLst>
                            <p:childTnLst>
                              <p:par>
                                <p:cTn id="24" presetID="22" presetClass="entr" presetSubtype="1" fill="hold" grpId="0" nodeType="clickEffect">
                                  <p:stCondLst>
                                    <p:cond delay="0"/>
                                  </p:stCondLst>
                                  <p:childTnLst>
                                    <p:set>
                                      <p:cBhvr>
                                        <p:cTn id="25" dur="1" fill="hold">
                                          <p:stCondLst>
                                            <p:cond delay="0"/>
                                          </p:stCondLst>
                                        </p:cTn>
                                        <p:tgtEl>
                                          <p:spTgt spid="1142"/>
                                        </p:tgtEl>
                                        <p:attrNameLst>
                                          <p:attrName>style.visibility</p:attrName>
                                        </p:attrNameLst>
                                      </p:cBhvr>
                                      <p:to>
                                        <p:strVal val="visible"/>
                                      </p:to>
                                    </p:set>
                                    <p:animEffect transition="in" filter="wipe(up)">
                                      <p:cBhvr>
                                        <p:cTn id="26" dur="1000"/>
                                        <p:tgtEl>
                                          <p:spTgt spid="1142"/>
                                        </p:tgtEl>
                                      </p:cBhvr>
                                    </p:animEffect>
                                  </p:childTnLst>
                                </p:cTn>
                              </p:par>
                              <p:par>
                                <p:cTn id="27" presetID="10" presetClass="entr" presetSubtype="0" fill="hold" grpId="0" nodeType="withEffect">
                                  <p:stCondLst>
                                    <p:cond delay="0"/>
                                  </p:stCondLst>
                                  <p:childTnLst>
                                    <p:set>
                                      <p:cBhvr>
                                        <p:cTn id="28" dur="1" fill="hold">
                                          <p:stCondLst>
                                            <p:cond delay="0"/>
                                          </p:stCondLst>
                                        </p:cTn>
                                        <p:tgtEl>
                                          <p:spTgt spid="186"/>
                                        </p:tgtEl>
                                        <p:attrNameLst>
                                          <p:attrName>style.visibility</p:attrName>
                                        </p:attrNameLst>
                                      </p:cBhvr>
                                      <p:to>
                                        <p:strVal val="visible"/>
                                      </p:to>
                                    </p:set>
                                    <p:animEffect transition="in" filter="fade">
                                      <p:cBhvr>
                                        <p:cTn id="29" dur="500"/>
                                        <p:tgtEl>
                                          <p:spTgt spid="186"/>
                                        </p:tgtEl>
                                      </p:cBhvr>
                                    </p:animEffect>
                                  </p:childTnLst>
                                </p:cTn>
                              </p:par>
                            </p:childTnLst>
                          </p:cTn>
                        </p:par>
                      </p:childTnLst>
                    </p:cTn>
                  </p:par>
                  <p:par>
                    <p:cTn id="30" fill="hold">
                      <p:stCondLst>
                        <p:cond delay="indefinite"/>
                      </p:stCondLst>
                      <p:childTnLst>
                        <p:par>
                          <p:cTn id="31" fill="hold">
                            <p:stCondLst>
                              <p:cond delay="0"/>
                            </p:stCondLst>
                            <p:childTnLst>
                              <p:par>
                                <p:cTn id="32" presetID="22" presetClass="entr" presetSubtype="8" fill="hold" grpId="0" nodeType="clickEffect">
                                  <p:stCondLst>
                                    <p:cond delay="0"/>
                                  </p:stCondLst>
                                  <p:childTnLst>
                                    <p:set>
                                      <p:cBhvr>
                                        <p:cTn id="33" dur="1" fill="hold">
                                          <p:stCondLst>
                                            <p:cond delay="0"/>
                                          </p:stCondLst>
                                        </p:cTn>
                                        <p:tgtEl>
                                          <p:spTgt spid="212"/>
                                        </p:tgtEl>
                                        <p:attrNameLst>
                                          <p:attrName>style.visibility</p:attrName>
                                        </p:attrNameLst>
                                      </p:cBhvr>
                                      <p:to>
                                        <p:strVal val="visible"/>
                                      </p:to>
                                    </p:set>
                                    <p:animEffect transition="in" filter="wipe(left)">
                                      <p:cBhvr>
                                        <p:cTn id="34" dur="1000"/>
                                        <p:tgtEl>
                                          <p:spTgt spid="212"/>
                                        </p:tgtEl>
                                      </p:cBhvr>
                                    </p:animEffect>
                                  </p:childTnLst>
                                </p:cTn>
                              </p:par>
                              <p:par>
                                <p:cTn id="35" presetID="10" presetClass="entr" presetSubtype="0" fill="hold" grpId="0" nodeType="withEffect">
                                  <p:stCondLst>
                                    <p:cond delay="0"/>
                                  </p:stCondLst>
                                  <p:childTnLst>
                                    <p:set>
                                      <p:cBhvr>
                                        <p:cTn id="36" dur="1" fill="hold">
                                          <p:stCondLst>
                                            <p:cond delay="0"/>
                                          </p:stCondLst>
                                        </p:cTn>
                                        <p:tgtEl>
                                          <p:spTgt spid="157"/>
                                        </p:tgtEl>
                                        <p:attrNameLst>
                                          <p:attrName>style.visibility</p:attrName>
                                        </p:attrNameLst>
                                      </p:cBhvr>
                                      <p:to>
                                        <p:strVal val="visible"/>
                                      </p:to>
                                    </p:set>
                                    <p:animEffect transition="in" filter="fade">
                                      <p:cBhvr>
                                        <p:cTn id="37" dur="500"/>
                                        <p:tgtEl>
                                          <p:spTgt spid="157"/>
                                        </p:tgtEl>
                                      </p:cBhvr>
                                    </p:animEffect>
                                  </p:childTnLst>
                                </p:cTn>
                              </p:par>
                            </p:childTnLst>
                          </p:cTn>
                        </p:par>
                      </p:childTnLst>
                    </p:cTn>
                  </p:par>
                  <p:par>
                    <p:cTn id="38" fill="hold">
                      <p:stCondLst>
                        <p:cond delay="indefinite"/>
                      </p:stCondLst>
                      <p:childTnLst>
                        <p:par>
                          <p:cTn id="39" fill="hold">
                            <p:stCondLst>
                              <p:cond delay="0"/>
                            </p:stCondLst>
                            <p:childTnLst>
                              <p:par>
                                <p:cTn id="40" presetID="22" presetClass="entr" presetSubtype="1" fill="hold" grpId="0" nodeType="clickEffect">
                                  <p:stCondLst>
                                    <p:cond delay="0"/>
                                  </p:stCondLst>
                                  <p:childTnLst>
                                    <p:set>
                                      <p:cBhvr>
                                        <p:cTn id="41" dur="1" fill="hold">
                                          <p:stCondLst>
                                            <p:cond delay="0"/>
                                          </p:stCondLst>
                                        </p:cTn>
                                        <p:tgtEl>
                                          <p:spTgt spid="1126"/>
                                        </p:tgtEl>
                                        <p:attrNameLst>
                                          <p:attrName>style.visibility</p:attrName>
                                        </p:attrNameLst>
                                      </p:cBhvr>
                                      <p:to>
                                        <p:strVal val="visible"/>
                                      </p:to>
                                    </p:set>
                                    <p:animEffect transition="in" filter="wipe(up)">
                                      <p:cBhvr>
                                        <p:cTn id="42" dur="1000"/>
                                        <p:tgtEl>
                                          <p:spTgt spid="1126"/>
                                        </p:tgtEl>
                                      </p:cBhvr>
                                    </p:animEffect>
                                  </p:childTnLst>
                                </p:cTn>
                              </p:par>
                            </p:childTnLst>
                          </p:cTn>
                        </p:par>
                        <p:par>
                          <p:cTn id="43" fill="hold">
                            <p:stCondLst>
                              <p:cond delay="1000"/>
                            </p:stCondLst>
                            <p:childTnLst>
                              <p:par>
                                <p:cTn id="44" presetID="10" presetClass="entr" presetSubtype="0" fill="hold" grpId="0" nodeType="afterEffect">
                                  <p:stCondLst>
                                    <p:cond delay="0"/>
                                  </p:stCondLst>
                                  <p:childTnLst>
                                    <p:set>
                                      <p:cBhvr>
                                        <p:cTn id="45" dur="1" fill="hold">
                                          <p:stCondLst>
                                            <p:cond delay="0"/>
                                          </p:stCondLst>
                                        </p:cTn>
                                        <p:tgtEl>
                                          <p:spTgt spid="204"/>
                                        </p:tgtEl>
                                        <p:attrNameLst>
                                          <p:attrName>style.visibility</p:attrName>
                                        </p:attrNameLst>
                                      </p:cBhvr>
                                      <p:to>
                                        <p:strVal val="visible"/>
                                      </p:to>
                                    </p:set>
                                    <p:animEffect transition="in" filter="fade">
                                      <p:cBhvr>
                                        <p:cTn id="46" dur="500"/>
                                        <p:tgtEl>
                                          <p:spTgt spid="204"/>
                                        </p:tgtEl>
                                      </p:cBhvr>
                                    </p:animEffect>
                                  </p:childTnLst>
                                </p:cTn>
                              </p:par>
                            </p:childTnLst>
                          </p:cTn>
                        </p:par>
                        <p:par>
                          <p:cTn id="47" fill="hold">
                            <p:stCondLst>
                              <p:cond delay="1500"/>
                            </p:stCondLst>
                            <p:childTnLst>
                              <p:par>
                                <p:cTn id="48" presetID="22" presetClass="entr" presetSubtype="1" fill="hold" grpId="0" nodeType="afterEffect">
                                  <p:stCondLst>
                                    <p:cond delay="0"/>
                                  </p:stCondLst>
                                  <p:childTnLst>
                                    <p:set>
                                      <p:cBhvr>
                                        <p:cTn id="49" dur="1" fill="hold">
                                          <p:stCondLst>
                                            <p:cond delay="0"/>
                                          </p:stCondLst>
                                        </p:cTn>
                                        <p:tgtEl>
                                          <p:spTgt spid="1127"/>
                                        </p:tgtEl>
                                        <p:attrNameLst>
                                          <p:attrName>style.visibility</p:attrName>
                                        </p:attrNameLst>
                                      </p:cBhvr>
                                      <p:to>
                                        <p:strVal val="visible"/>
                                      </p:to>
                                    </p:set>
                                    <p:animEffect transition="in" filter="wipe(up)">
                                      <p:cBhvr>
                                        <p:cTn id="50" dur="1000"/>
                                        <p:tgtEl>
                                          <p:spTgt spid="1127"/>
                                        </p:tgtEl>
                                      </p:cBhvr>
                                    </p:animEffect>
                                  </p:childTnLst>
                                </p:cTn>
                              </p:par>
                            </p:childTnLst>
                          </p:cTn>
                        </p:par>
                      </p:childTnLst>
                    </p:cTn>
                  </p:par>
                  <p:par>
                    <p:cTn id="51" fill="hold">
                      <p:stCondLst>
                        <p:cond delay="indefinite"/>
                      </p:stCondLst>
                      <p:childTnLst>
                        <p:par>
                          <p:cTn id="52" fill="hold">
                            <p:stCondLst>
                              <p:cond delay="0"/>
                            </p:stCondLst>
                            <p:childTnLst>
                              <p:par>
                                <p:cTn id="53" presetID="22" presetClass="entr" presetSubtype="1" fill="hold" grpId="0" nodeType="clickEffect">
                                  <p:stCondLst>
                                    <p:cond delay="0"/>
                                  </p:stCondLst>
                                  <p:childTnLst>
                                    <p:set>
                                      <p:cBhvr>
                                        <p:cTn id="54" dur="1" fill="hold">
                                          <p:stCondLst>
                                            <p:cond delay="0"/>
                                          </p:stCondLst>
                                        </p:cTn>
                                        <p:tgtEl>
                                          <p:spTgt spid="1128"/>
                                        </p:tgtEl>
                                        <p:attrNameLst>
                                          <p:attrName>style.visibility</p:attrName>
                                        </p:attrNameLst>
                                      </p:cBhvr>
                                      <p:to>
                                        <p:strVal val="visible"/>
                                      </p:to>
                                    </p:set>
                                    <p:animEffect transition="in" filter="wipe(up)">
                                      <p:cBhvr>
                                        <p:cTn id="55" dur="1000"/>
                                        <p:tgtEl>
                                          <p:spTgt spid="1128"/>
                                        </p:tgtEl>
                                      </p:cBhvr>
                                    </p:animEffect>
                                  </p:childTnLst>
                                </p:cTn>
                              </p:par>
                              <p:par>
                                <p:cTn id="56" presetID="22" presetClass="entr" presetSubtype="1" fill="hold" grpId="0" nodeType="withEffect">
                                  <p:stCondLst>
                                    <p:cond delay="0"/>
                                  </p:stCondLst>
                                  <p:childTnLst>
                                    <p:set>
                                      <p:cBhvr>
                                        <p:cTn id="57" dur="1" fill="hold">
                                          <p:stCondLst>
                                            <p:cond delay="0"/>
                                          </p:stCondLst>
                                        </p:cTn>
                                        <p:tgtEl>
                                          <p:spTgt spid="1130"/>
                                        </p:tgtEl>
                                        <p:attrNameLst>
                                          <p:attrName>style.visibility</p:attrName>
                                        </p:attrNameLst>
                                      </p:cBhvr>
                                      <p:to>
                                        <p:strVal val="visible"/>
                                      </p:to>
                                    </p:set>
                                    <p:animEffect transition="in" filter="wipe(up)">
                                      <p:cBhvr>
                                        <p:cTn id="58" dur="1000"/>
                                        <p:tgtEl>
                                          <p:spTgt spid="1130"/>
                                        </p:tgtEl>
                                      </p:cBhvr>
                                    </p:animEffect>
                                  </p:childTnLst>
                                </p:cTn>
                              </p:par>
                            </p:childTnLst>
                          </p:cTn>
                        </p:par>
                        <p:par>
                          <p:cTn id="59" fill="hold">
                            <p:stCondLst>
                              <p:cond delay="1000"/>
                            </p:stCondLst>
                            <p:childTnLst>
                              <p:par>
                                <p:cTn id="60" presetID="10" presetClass="entr" presetSubtype="0" fill="hold" grpId="0" nodeType="afterEffect">
                                  <p:stCondLst>
                                    <p:cond delay="0"/>
                                  </p:stCondLst>
                                  <p:childTnLst>
                                    <p:set>
                                      <p:cBhvr>
                                        <p:cTn id="61" dur="1" fill="hold">
                                          <p:stCondLst>
                                            <p:cond delay="0"/>
                                          </p:stCondLst>
                                        </p:cTn>
                                        <p:tgtEl>
                                          <p:spTgt spid="1135"/>
                                        </p:tgtEl>
                                        <p:attrNameLst>
                                          <p:attrName>style.visibility</p:attrName>
                                        </p:attrNameLst>
                                      </p:cBhvr>
                                      <p:to>
                                        <p:strVal val="visible"/>
                                      </p:to>
                                    </p:set>
                                    <p:animEffect transition="in" filter="fade">
                                      <p:cBhvr>
                                        <p:cTn id="62" dur="500"/>
                                        <p:tgtEl>
                                          <p:spTgt spid="1135"/>
                                        </p:tgtEl>
                                      </p:cBhvr>
                                    </p:animEffect>
                                  </p:childTnLst>
                                </p:cTn>
                              </p:par>
                              <p:par>
                                <p:cTn id="63" presetID="10" presetClass="entr" presetSubtype="0" fill="hold" grpId="0" nodeType="withEffect">
                                  <p:stCondLst>
                                    <p:cond delay="0"/>
                                  </p:stCondLst>
                                  <p:childTnLst>
                                    <p:set>
                                      <p:cBhvr>
                                        <p:cTn id="64" dur="1" fill="hold">
                                          <p:stCondLst>
                                            <p:cond delay="0"/>
                                          </p:stCondLst>
                                        </p:cTn>
                                        <p:tgtEl>
                                          <p:spTgt spid="203"/>
                                        </p:tgtEl>
                                        <p:attrNameLst>
                                          <p:attrName>style.visibility</p:attrName>
                                        </p:attrNameLst>
                                      </p:cBhvr>
                                      <p:to>
                                        <p:strVal val="visible"/>
                                      </p:to>
                                    </p:set>
                                    <p:animEffect transition="in" filter="fade">
                                      <p:cBhvr>
                                        <p:cTn id="65" dur="500"/>
                                        <p:tgtEl>
                                          <p:spTgt spid="203"/>
                                        </p:tgtEl>
                                      </p:cBhvr>
                                    </p:animEffect>
                                  </p:childTnLst>
                                </p:cTn>
                              </p:par>
                            </p:childTnLst>
                          </p:cTn>
                        </p:par>
                      </p:childTnLst>
                    </p:cTn>
                  </p:par>
                  <p:par>
                    <p:cTn id="66" fill="hold">
                      <p:stCondLst>
                        <p:cond delay="indefinite"/>
                      </p:stCondLst>
                      <p:childTnLst>
                        <p:par>
                          <p:cTn id="67" fill="hold">
                            <p:stCondLst>
                              <p:cond delay="0"/>
                            </p:stCondLst>
                            <p:childTnLst>
                              <p:par>
                                <p:cTn id="68" presetID="22" presetClass="entr" presetSubtype="1" fill="hold" grpId="0" nodeType="clickEffect">
                                  <p:stCondLst>
                                    <p:cond delay="0"/>
                                  </p:stCondLst>
                                  <p:childTnLst>
                                    <p:set>
                                      <p:cBhvr>
                                        <p:cTn id="69" dur="1" fill="hold">
                                          <p:stCondLst>
                                            <p:cond delay="0"/>
                                          </p:stCondLst>
                                        </p:cTn>
                                        <p:tgtEl>
                                          <p:spTgt spid="1129"/>
                                        </p:tgtEl>
                                        <p:attrNameLst>
                                          <p:attrName>style.visibility</p:attrName>
                                        </p:attrNameLst>
                                      </p:cBhvr>
                                      <p:to>
                                        <p:strVal val="visible"/>
                                      </p:to>
                                    </p:set>
                                    <p:animEffect transition="in" filter="wipe(up)">
                                      <p:cBhvr>
                                        <p:cTn id="70" dur="1000"/>
                                        <p:tgtEl>
                                          <p:spTgt spid="1129"/>
                                        </p:tgtEl>
                                      </p:cBhvr>
                                    </p:animEffect>
                                  </p:childTnLst>
                                </p:cTn>
                              </p:par>
                              <p:par>
                                <p:cTn id="71" presetID="22" presetClass="entr" presetSubtype="1" fill="hold" grpId="0" nodeType="withEffect">
                                  <p:stCondLst>
                                    <p:cond delay="250"/>
                                  </p:stCondLst>
                                  <p:childTnLst>
                                    <p:set>
                                      <p:cBhvr>
                                        <p:cTn id="72" dur="1" fill="hold">
                                          <p:stCondLst>
                                            <p:cond delay="0"/>
                                          </p:stCondLst>
                                        </p:cTn>
                                        <p:tgtEl>
                                          <p:spTgt spid="1131"/>
                                        </p:tgtEl>
                                        <p:attrNameLst>
                                          <p:attrName>style.visibility</p:attrName>
                                        </p:attrNameLst>
                                      </p:cBhvr>
                                      <p:to>
                                        <p:strVal val="visible"/>
                                      </p:to>
                                    </p:set>
                                    <p:animEffect transition="in" filter="wipe(up)">
                                      <p:cBhvr>
                                        <p:cTn id="73" dur="1250"/>
                                        <p:tgtEl>
                                          <p:spTgt spid="1131"/>
                                        </p:tgtEl>
                                      </p:cBhvr>
                                    </p:animEffect>
                                  </p:childTnLst>
                                </p:cTn>
                              </p:par>
                              <p:par>
                                <p:cTn id="74" presetID="53" presetClass="entr" presetSubtype="16" fill="hold" grpId="0" nodeType="withEffect">
                                  <p:stCondLst>
                                    <p:cond delay="1000"/>
                                  </p:stCondLst>
                                  <p:childTnLst>
                                    <p:set>
                                      <p:cBhvr>
                                        <p:cTn id="75" dur="1" fill="hold">
                                          <p:stCondLst>
                                            <p:cond delay="0"/>
                                          </p:stCondLst>
                                        </p:cTn>
                                        <p:tgtEl>
                                          <p:spTgt spid="1121"/>
                                        </p:tgtEl>
                                        <p:attrNameLst>
                                          <p:attrName>style.visibility</p:attrName>
                                        </p:attrNameLst>
                                      </p:cBhvr>
                                      <p:to>
                                        <p:strVal val="visible"/>
                                      </p:to>
                                    </p:set>
                                    <p:anim calcmode="lin" valueType="num">
                                      <p:cBhvr>
                                        <p:cTn id="76" dur="500" fill="hold"/>
                                        <p:tgtEl>
                                          <p:spTgt spid="1121"/>
                                        </p:tgtEl>
                                        <p:attrNameLst>
                                          <p:attrName>ppt_w</p:attrName>
                                        </p:attrNameLst>
                                      </p:cBhvr>
                                      <p:tavLst>
                                        <p:tav tm="0">
                                          <p:val>
                                            <p:fltVal val="0"/>
                                          </p:val>
                                        </p:tav>
                                        <p:tav tm="100000">
                                          <p:val>
                                            <p:strVal val="#ppt_w"/>
                                          </p:val>
                                        </p:tav>
                                      </p:tavLst>
                                    </p:anim>
                                    <p:anim calcmode="lin" valueType="num">
                                      <p:cBhvr>
                                        <p:cTn id="77" dur="500" fill="hold"/>
                                        <p:tgtEl>
                                          <p:spTgt spid="1121"/>
                                        </p:tgtEl>
                                        <p:attrNameLst>
                                          <p:attrName>ppt_h</p:attrName>
                                        </p:attrNameLst>
                                      </p:cBhvr>
                                      <p:tavLst>
                                        <p:tav tm="0">
                                          <p:val>
                                            <p:fltVal val="0"/>
                                          </p:val>
                                        </p:tav>
                                        <p:tav tm="100000">
                                          <p:val>
                                            <p:strVal val="#ppt_h"/>
                                          </p:val>
                                        </p:tav>
                                      </p:tavLst>
                                    </p:anim>
                                    <p:animEffect transition="in" filter="fade">
                                      <p:cBhvr>
                                        <p:cTn id="78" dur="500"/>
                                        <p:tgtEl>
                                          <p:spTgt spid="112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12" grpId="0" animBg="1"/>
      <p:bldP spid="1142" grpId="0" animBg="1"/>
      <p:bldP spid="157" grpId="0"/>
      <p:bldP spid="6" grpId="0"/>
      <p:bldP spid="1123" grpId="0" animBg="1"/>
      <p:bldP spid="1124" grpId="0" animBg="1"/>
      <p:bldP spid="1126" grpId="0" animBg="1"/>
      <p:bldP spid="1127" grpId="0" animBg="1"/>
      <p:bldP spid="1128" grpId="0" animBg="1"/>
      <p:bldP spid="1129" grpId="0" animBg="1"/>
      <p:bldP spid="1130" grpId="0" animBg="1"/>
      <p:bldP spid="1131" grpId="0" animBg="1"/>
      <p:bldP spid="1135" grpId="0" animBg="1"/>
      <p:bldP spid="203" grpId="0" animBg="1"/>
      <p:bldP spid="204" grpId="0" animBg="1"/>
      <p:bldP spid="186" grpId="0"/>
      <p:bldP spid="1121"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Blank Template (Microsoft)">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38100">
          <a:solidFill>
            <a:srgbClr val="C00000"/>
          </a:solid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Blank Template (Microsoft)</Template>
  <TotalTime>10225</TotalTime>
  <Words>1167</Words>
  <Application>Microsoft Office PowerPoint</Application>
  <PresentationFormat>On-screen Show (16:9)</PresentationFormat>
  <Paragraphs>83</Paragraphs>
  <Slides>11</Slides>
  <Notes>11</Notes>
  <HiddenSlides>0</HiddenSlides>
  <MMClips>0</MMClips>
  <ScaleCrop>false</ScaleCrop>
  <HeadingPairs>
    <vt:vector size="8" baseType="variant">
      <vt:variant>
        <vt:lpstr>Fonts Used</vt:lpstr>
      </vt:variant>
      <vt:variant>
        <vt:i4>3</vt:i4>
      </vt:variant>
      <vt:variant>
        <vt:lpstr>Theme</vt:lpstr>
      </vt:variant>
      <vt:variant>
        <vt:i4>1</vt:i4>
      </vt:variant>
      <vt:variant>
        <vt:lpstr>Embedded OLE Servers</vt:lpstr>
      </vt:variant>
      <vt:variant>
        <vt:i4>1</vt:i4>
      </vt:variant>
      <vt:variant>
        <vt:lpstr>Slide Titles</vt:lpstr>
      </vt:variant>
      <vt:variant>
        <vt:i4>11</vt:i4>
      </vt:variant>
    </vt:vector>
  </HeadingPairs>
  <TitlesOfParts>
    <vt:vector size="16" baseType="lpstr">
      <vt:lpstr>Arial</vt:lpstr>
      <vt:lpstr>Calibri</vt:lpstr>
      <vt:lpstr>Bookman Old Style</vt:lpstr>
      <vt:lpstr>Blank Template (Microsoft)</vt:lpstr>
      <vt:lpstr>think-cell Slide</vt:lpstr>
      <vt:lpstr>(Re)building  New England's Grid for Cleaner Electric Energy</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argaret Anderson</dc:creator>
  <cp:lastModifiedBy>Edward Krapels</cp:lastModifiedBy>
  <cp:revision>140</cp:revision>
  <dcterms:created xsi:type="dcterms:W3CDTF">2015-04-07T15:03:20Z</dcterms:created>
  <dcterms:modified xsi:type="dcterms:W3CDTF">2015-04-16T14:22:5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Office2010EditCount">
    <vt:lpwstr>1</vt:lpwstr>
  </property>
  <property fmtid="{D5CDD505-2E9C-101B-9397-08002B2CF9AE}" pid="3" name="Office2003EditCount">
    <vt:lpwstr>0</vt:lpwstr>
  </property>
  <property fmtid="{D5CDD505-2E9C-101B-9397-08002B2CF9AE}" pid="4" name="LastEditedOfficeVersion">
    <vt:lpwstr>Office2010</vt:lpwstr>
  </property>
  <property fmtid="{D5CDD505-2E9C-101B-9397-08002B2CF9AE}" pid="5" name="Office2010WasSaved">
    <vt:lpwstr>1</vt:lpwstr>
  </property>
</Properties>
</file>